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wdp" ContentType="image/vnd.ms-photo"/>
  <Default Extension="gif" ContentType="image/gif"/>
  <Default Extension="png" ContentType="image/p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6"/>
  </p:notesMasterIdLst>
  <p:handoutMasterIdLst>
    <p:handoutMasterId r:id="rId47"/>
  </p:handoutMasterIdLst>
  <p:sldIdLst>
    <p:sldId id="966" r:id="rId2"/>
    <p:sldId id="1013" r:id="rId3"/>
    <p:sldId id="1022" r:id="rId4"/>
    <p:sldId id="1021" r:id="rId5"/>
    <p:sldId id="972" r:id="rId6"/>
    <p:sldId id="971" r:id="rId7"/>
    <p:sldId id="982" r:id="rId8"/>
    <p:sldId id="1020" r:id="rId9"/>
    <p:sldId id="899" r:id="rId10"/>
    <p:sldId id="985" r:id="rId11"/>
    <p:sldId id="1024" r:id="rId12"/>
    <p:sldId id="991" r:id="rId13"/>
    <p:sldId id="1003" r:id="rId14"/>
    <p:sldId id="1004" r:id="rId15"/>
    <p:sldId id="984" r:id="rId16"/>
    <p:sldId id="1000" r:id="rId17"/>
    <p:sldId id="1001" r:id="rId18"/>
    <p:sldId id="986" r:id="rId19"/>
    <p:sldId id="998" r:id="rId20"/>
    <p:sldId id="983" r:id="rId21"/>
    <p:sldId id="1018" r:id="rId22"/>
    <p:sldId id="974" r:id="rId23"/>
    <p:sldId id="995" r:id="rId24"/>
    <p:sldId id="987" r:id="rId25"/>
    <p:sldId id="975" r:id="rId26"/>
    <p:sldId id="976" r:id="rId27"/>
    <p:sldId id="989" r:id="rId28"/>
    <p:sldId id="1019" r:id="rId29"/>
    <p:sldId id="994" r:id="rId30"/>
    <p:sldId id="990" r:id="rId31"/>
    <p:sldId id="1023" r:id="rId32"/>
    <p:sldId id="1002" r:id="rId33"/>
    <p:sldId id="988" r:id="rId34"/>
    <p:sldId id="1005" r:id="rId35"/>
    <p:sldId id="1006" r:id="rId36"/>
    <p:sldId id="1007" r:id="rId37"/>
    <p:sldId id="1016" r:id="rId38"/>
    <p:sldId id="1008" r:id="rId39"/>
    <p:sldId id="1009" r:id="rId40"/>
    <p:sldId id="1017" r:id="rId41"/>
    <p:sldId id="1010" r:id="rId42"/>
    <p:sldId id="996" r:id="rId43"/>
    <p:sldId id="1025" r:id="rId44"/>
    <p:sldId id="1015" r:id="rId45"/>
  </p:sldIdLst>
  <p:sldSz cx="9144000" cy="5143500" type="screen16x9"/>
  <p:notesSz cx="6858000" cy="9144000"/>
  <p:defaultTextStyle>
    <a:defPPr>
      <a:defRPr lang="en-US"/>
    </a:defPPr>
    <a:lvl1pPr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348389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696777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045165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393554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1741943" algn="l" defTabSz="696777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090332" algn="l" defTabSz="696777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2438721" algn="l" defTabSz="696777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2787109" algn="l" defTabSz="696777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56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nielle Claude" initials="DC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CA"/>
    <a:srgbClr val="E9E9E9"/>
    <a:srgbClr val="FFF852"/>
    <a:srgbClr val="FFFFFF"/>
    <a:srgbClr val="CF0072"/>
    <a:srgbClr val="ABABAB"/>
    <a:srgbClr val="6639B7"/>
    <a:srgbClr val="F4F4F4"/>
    <a:srgbClr val="D30547"/>
    <a:srgbClr val="00B2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Style moyen 3 - 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E171933-4619-4E11-9A3F-F7608DF75F80}" styleName="Style moyen 1 - Accentuatio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386" autoAdjust="0"/>
    <p:restoredTop sz="86061" autoAdjust="0"/>
  </p:normalViewPr>
  <p:slideViewPr>
    <p:cSldViewPr snapToGrid="0">
      <p:cViewPr varScale="1">
        <p:scale>
          <a:sx n="210" d="100"/>
          <a:sy n="210" d="100"/>
        </p:scale>
        <p:origin x="1280" y="176"/>
      </p:cViewPr>
      <p:guideLst>
        <p:guide orient="horz" pos="1620"/>
        <p:guide pos="56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896"/>
    </p:cViewPr>
  </p:sorterViewPr>
  <p:notesViewPr>
    <p:cSldViewPr snapToGrid="0">
      <p:cViewPr varScale="1">
        <p:scale>
          <a:sx n="140" d="100"/>
          <a:sy n="140" d="100"/>
        </p:scale>
        <p:origin x="-5312" y="-96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notesMaster" Target="notesMasters/notesMaster1.xml"/><Relationship Id="rId47" Type="http://schemas.openxmlformats.org/officeDocument/2006/relationships/handoutMaster" Target="handoutMasters/handoutMaster1.xml"/><Relationship Id="rId48" Type="http://schemas.openxmlformats.org/officeDocument/2006/relationships/commentAuthors" Target="commentAuthors.xml"/><Relationship Id="rId49" Type="http://schemas.openxmlformats.org/officeDocument/2006/relationships/presProps" Target="presProp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50" Type="http://schemas.openxmlformats.org/officeDocument/2006/relationships/viewProps" Target="viewProps.xml"/><Relationship Id="rId51" Type="http://schemas.openxmlformats.org/officeDocument/2006/relationships/theme" Target="theme/theme1.xml"/><Relationship Id="rId5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 txBox="1">
            <a:spLocks/>
          </p:cNvSpPr>
          <p:nvPr/>
        </p:nvSpPr>
        <p:spPr>
          <a:xfrm>
            <a:off x="3175000" y="8660041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6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3609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40005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7200" y="3971925"/>
            <a:ext cx="5943600" cy="4648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" name="Footer Placeholder 2"/>
          <p:cNvSpPr txBox="1">
            <a:spLocks/>
          </p:cNvSpPr>
          <p:nvPr/>
        </p:nvSpPr>
        <p:spPr>
          <a:xfrm>
            <a:off x="3165476" y="8677637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6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138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87097" indent="-87097" algn="l" rtl="0" fontAlgn="base">
      <a:spcBef>
        <a:spcPct val="30000"/>
      </a:spcBef>
      <a:spcAft>
        <a:spcPct val="0"/>
      </a:spcAft>
      <a:buClr>
        <a:srgbClr val="404040"/>
      </a:buClr>
      <a:buFont typeface="Arial" pitchFamily="34" charset="0"/>
      <a:buChar char="•"/>
      <a:defRPr sz="800"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174194" indent="-87097" algn="l" rtl="0" fontAlgn="base">
      <a:spcBef>
        <a:spcPts val="0"/>
      </a:spcBef>
      <a:spcAft>
        <a:spcPct val="0"/>
      </a:spcAft>
      <a:buClr>
        <a:srgbClr val="404040"/>
      </a:buClr>
      <a:buFont typeface="Lucida Grande"/>
      <a:buChar char="‒"/>
      <a:defRPr sz="800"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261291" indent="-87097" algn="l" rtl="0" fontAlgn="base">
      <a:spcBef>
        <a:spcPts val="0"/>
      </a:spcBef>
      <a:spcAft>
        <a:spcPct val="0"/>
      </a:spcAft>
      <a:buClr>
        <a:srgbClr val="404040"/>
      </a:buClr>
      <a:buFont typeface="Lucida Grande"/>
      <a:buChar char="–"/>
      <a:defRPr sz="800"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348389" indent="-87097" algn="l" rtl="0" fontAlgn="base">
      <a:spcBef>
        <a:spcPts val="0"/>
      </a:spcBef>
      <a:spcAft>
        <a:spcPct val="0"/>
      </a:spcAft>
      <a:buClr>
        <a:srgbClr val="404040"/>
      </a:buClr>
      <a:buFont typeface="Lucida Grande"/>
      <a:buChar char="–"/>
      <a:defRPr sz="700"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435485" indent="-87097" algn="l" rtl="0" fontAlgn="base">
      <a:spcBef>
        <a:spcPts val="0"/>
      </a:spcBef>
      <a:spcAft>
        <a:spcPct val="0"/>
      </a:spcAft>
      <a:buClr>
        <a:srgbClr val="404040"/>
      </a:buClr>
      <a:buFont typeface="Lucida Grande"/>
      <a:buChar char="–"/>
      <a:defRPr sz="600"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1741943" algn="l" defTabSz="6967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90332" algn="l" defTabSz="6967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38721" algn="l" defTabSz="6967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87109" algn="l" defTabSz="6967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DB09DE73-AC47-4E3D-A51E-DF1C0081E28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26415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55010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5343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68138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11614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46866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66682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1215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6582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9011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0358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2573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43573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20316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42010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37794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1316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07975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56752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701160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978967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0305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99779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713358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22878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61876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028991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990136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837912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794890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417050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0317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2279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13004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082198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53749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41625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549755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48376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4641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02025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7097" marR="0" lvl="0" indent="-87097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404040"/>
              </a:buClr>
              <a:buSzTx/>
              <a:buFont typeface="Arial" pitchFamily="34" charset="0"/>
              <a:buNone/>
              <a:tabLst/>
              <a:defRPr/>
            </a:pPr>
            <a:endParaRPr lang="en-GB" baseline="0" dirty="0" smtClean="0"/>
          </a:p>
        </p:txBody>
      </p:sp>
    </p:spTree>
    <p:extLst>
      <p:ext uri="{BB962C8B-B14F-4D97-AF65-F5344CB8AC3E}">
        <p14:creationId xmlns:p14="http://schemas.microsoft.com/office/powerpoint/2010/main" val="18476012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44211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619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LE_Title and 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89994" y="3157420"/>
            <a:ext cx="8723472" cy="804859"/>
          </a:xfrm>
        </p:spPr>
        <p:txBody>
          <a:bodyPr anchor="b"/>
          <a:lstStyle>
            <a:lvl1pPr>
              <a:defRPr b="0" cap="none">
                <a:latin typeface="Trebuchet MS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9993" y="3969094"/>
            <a:ext cx="8725407" cy="463154"/>
          </a:xfrm>
        </p:spPr>
        <p:txBody>
          <a:bodyPr lIns="69677" tIns="34839" rIns="69677" bIns="34839"/>
          <a:lstStyle>
            <a:lvl1pPr marL="0" indent="0">
              <a:buFont typeface="Arial" pitchFamily="34" charset="0"/>
              <a:buNone/>
              <a:defRPr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68187" y="4609226"/>
            <a:ext cx="8629317" cy="0"/>
          </a:xfrm>
          <a:prstGeom prst="line">
            <a:avLst/>
          </a:prstGeom>
          <a:ln w="12700" cmpd="sng">
            <a:solidFill>
              <a:srgbClr val="CCCCC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9542" y="4726966"/>
            <a:ext cx="1112188" cy="30609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E_Footer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68187" y="4609226"/>
            <a:ext cx="8629317" cy="0"/>
          </a:xfrm>
          <a:prstGeom prst="line">
            <a:avLst/>
          </a:prstGeom>
          <a:ln w="12700" cmpd="sng">
            <a:solidFill>
              <a:srgbClr val="CCCCC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9542" y="4726966"/>
            <a:ext cx="1112188" cy="30609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L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Title with copyr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2840528" y="4727622"/>
            <a:ext cx="3487418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9668" tIns="34835" rIns="69668" bIns="34835" anchor="t" anchorCtr="0"/>
          <a:lstStyle/>
          <a:p>
            <a:pPr algn="ctr"/>
            <a:r>
              <a:rPr lang="en-US" sz="500" dirty="0" smtClean="0">
                <a:solidFill>
                  <a:srgbClr val="D30547"/>
                </a:solidFill>
                <a:latin typeface="Trebuchet MS" pitchFamily="34" charset="0"/>
                <a:cs typeface="Arial" pitchFamily="34" charset="0"/>
              </a:rPr>
              <a:t>COPYRIGHT © 2015 ALCATEL-LUCENT</a:t>
            </a:r>
            <a:r>
              <a:rPr lang="en-US" sz="500" baseline="0" dirty="0" smtClean="0">
                <a:solidFill>
                  <a:srgbClr val="D30547"/>
                </a:solidFill>
                <a:latin typeface="Trebuchet MS" pitchFamily="34" charset="0"/>
                <a:cs typeface="Arial" pitchFamily="34" charset="0"/>
              </a:rPr>
              <a:t> ENTERPRISE</a:t>
            </a:r>
            <a:r>
              <a:rPr lang="en-US" sz="500" dirty="0" smtClean="0">
                <a:solidFill>
                  <a:srgbClr val="D30547"/>
                </a:solidFill>
                <a:latin typeface="Trebuchet MS" pitchFamily="34" charset="0"/>
                <a:cs typeface="Arial" pitchFamily="34" charset="0"/>
              </a:rPr>
              <a:t>.</a:t>
            </a:r>
            <a:r>
              <a:rPr lang="en-US" sz="500" baseline="0" dirty="0" smtClean="0">
                <a:solidFill>
                  <a:srgbClr val="D30547"/>
                </a:solidFill>
                <a:latin typeface="Trebuchet MS" pitchFamily="34" charset="0"/>
                <a:cs typeface="Arial" pitchFamily="34" charset="0"/>
              </a:rPr>
              <a:t> </a:t>
            </a:r>
            <a:r>
              <a:rPr lang="en-US" sz="500" dirty="0" smtClean="0">
                <a:solidFill>
                  <a:srgbClr val="D30547"/>
                </a:solidFill>
                <a:latin typeface="Trebuchet MS" pitchFamily="34" charset="0"/>
                <a:cs typeface="Arial" pitchFamily="34" charset="0"/>
              </a:rPr>
              <a:t>ALL RIGHTS RESERVED.</a:t>
            </a:r>
            <a:endParaRPr lang="en-US" sz="500" dirty="0">
              <a:solidFill>
                <a:srgbClr val="D30547"/>
              </a:solidFill>
              <a:latin typeface="Trebuchet MS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68187" y="4609226"/>
            <a:ext cx="8629317" cy="0"/>
          </a:xfrm>
          <a:prstGeom prst="line">
            <a:avLst/>
          </a:prstGeom>
          <a:ln w="12700" cmpd="sng">
            <a:solidFill>
              <a:srgbClr val="CCCCC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9542" y="4726966"/>
            <a:ext cx="1112188" cy="30609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2511" y="170260"/>
            <a:ext cx="8716596" cy="79295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27" name="AutoShape 3"/>
          <p:cNvSpPr>
            <a:spLocks noChangeAspect="1" noChangeArrowheads="1" noTextEdit="1"/>
          </p:cNvSpPr>
          <p:nvPr/>
        </p:nvSpPr>
        <p:spPr bwMode="auto">
          <a:xfrm>
            <a:off x="251558" y="4720830"/>
            <a:ext cx="9144000" cy="29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9686" tIns="34843" rIns="69686" bIns="3484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AutoShape 3"/>
          <p:cNvSpPr>
            <a:spLocks noChangeAspect="1" noChangeArrowheads="1" noTextEdit="1"/>
          </p:cNvSpPr>
          <p:nvPr/>
        </p:nvSpPr>
        <p:spPr bwMode="auto">
          <a:xfrm>
            <a:off x="251558" y="4720830"/>
            <a:ext cx="9144000" cy="29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9686" tIns="34843" rIns="69686" bIns="3484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70293" y="584522"/>
            <a:ext cx="8721969" cy="367903"/>
          </a:xfrm>
        </p:spPr>
        <p:txBody>
          <a:bodyPr lIns="68589" tIns="35666" rIns="68589" bIns="35666"/>
          <a:lstStyle>
            <a:lvl1pPr>
              <a:buNone/>
              <a:defRPr sz="1800"/>
            </a:lvl1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7" name="Footer Placeholder 2"/>
          <p:cNvSpPr txBox="1">
            <a:spLocks/>
          </p:cNvSpPr>
          <p:nvPr userDrawn="1"/>
        </p:nvSpPr>
        <p:spPr>
          <a:xfrm>
            <a:off x="4398011" y="47944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745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511" y="3099398"/>
            <a:ext cx="8716596" cy="86036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b" anchorCtr="0" compatLnSpc="1">
            <a:prstTxWarp prst="textNoShape">
              <a:avLst/>
            </a:prstTxWarp>
          </a:bodyPr>
          <a:lstStyle>
            <a:lvl1pPr>
              <a:defRPr lang="en-US" b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80060" y="4708121"/>
            <a:ext cx="1322913" cy="347357"/>
          </a:xfrm>
          <a:prstGeom prst="rect">
            <a:avLst/>
          </a:prstGeom>
          <a:solidFill>
            <a:srgbClr val="FFFFFF"/>
          </a:solidFill>
          <a:ln w="12700" cmpd="sng">
            <a:solidFill>
              <a:schemeClr val="accent2"/>
            </a:solidFill>
            <a:prstDash val="sysDash"/>
          </a:ln>
        </p:spPr>
        <p:txBody>
          <a:bodyPr rot="0" spcFirstLastPara="0" vertOverflow="overflow" horzOverflow="overflow" vert="horz" wrap="square" lIns="69677" tIns="34839" rIns="69677" bIns="3483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92231" y="3969234"/>
            <a:ext cx="8731250" cy="44125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t" anchorCtr="0" compatLnSpc="1">
            <a:prstTxWarp prst="textNoShape">
              <a:avLst/>
            </a:prstTxWarp>
          </a:bodyPr>
          <a:lstStyle>
            <a:lvl1pPr marL="0" indent="0">
              <a:buFontTx/>
              <a:buNone/>
              <a:defRPr lang="en-US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80059" y="4767692"/>
            <a:ext cx="1322912" cy="246312"/>
          </a:xfrm>
          <a:prstGeom prst="rect">
            <a:avLst/>
          </a:prstGeom>
          <a:noFill/>
        </p:spPr>
        <p:txBody>
          <a:bodyPr wrap="square" lIns="69677" tIns="34839" rIns="69677" bIns="34839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00" smtClean="0">
                <a:latin typeface="Trebuchet MS"/>
                <a:cs typeface="Trebuchet MS"/>
              </a:rPr>
              <a:t>Insert co-brand company logo here on master – delete box</a:t>
            </a:r>
          </a:p>
        </p:txBody>
      </p:sp>
      <p:sp>
        <p:nvSpPr>
          <p:cNvPr id="18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268187" y="4609226"/>
            <a:ext cx="8629317" cy="0"/>
          </a:xfrm>
          <a:prstGeom prst="line">
            <a:avLst/>
          </a:prstGeom>
          <a:ln w="12700" cmpd="sng">
            <a:solidFill>
              <a:srgbClr val="CCCCC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9542" y="4726966"/>
            <a:ext cx="1112188" cy="306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956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511" y="170260"/>
            <a:ext cx="8716596" cy="792956"/>
          </a:xfrm>
        </p:spPr>
        <p:txBody>
          <a:bodyPr>
            <a:noAutofit/>
          </a:bodyPr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11387" y="977504"/>
            <a:ext cx="8690952" cy="29086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4839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391937" indent="-391937" algn="l" defTabSz="696777" rtl="0" eaLnBrk="1" fontAlgn="base" latinLnBrk="0" hangingPunct="1">
              <a:spcAft>
                <a:spcPts val="457"/>
              </a:spcAft>
              <a:buClrTx/>
              <a:buFont typeface="+mj-lt"/>
              <a:buAutoNum type="arabicPeriod"/>
              <a:defRPr lang="en-US" sz="2100" kern="1200" smtClean="0">
                <a:solidFill>
                  <a:srgbClr val="000000"/>
                </a:solidFill>
                <a:latin typeface="Trebuchet MS" pitchFamily="34" charset="0"/>
                <a:ea typeface="+mn-ea"/>
                <a:cs typeface="+mn-cs"/>
              </a:defRPr>
            </a:lvl1pPr>
            <a:lvl2pPr marL="477825" indent="-129437" algn="l" defTabSz="696777" rtl="0" eaLnBrk="1" fontAlgn="base" latinLnBrk="0" hangingPunct="1">
              <a:spcAft>
                <a:spcPts val="457"/>
              </a:spcAft>
              <a:buFont typeface="+mj-lt"/>
              <a:buNone/>
              <a:defRPr lang="en-US" sz="1500" kern="1200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ea typeface="+mn-ea"/>
                <a:cs typeface="+mn-cs"/>
              </a:defRPr>
            </a:lvl2pPr>
            <a:lvl3pPr marL="348389" algn="l" defTabSz="696777" rtl="0" eaLnBrk="1" fontAlgn="base" latinLnBrk="0" hangingPunct="1">
              <a:spcAft>
                <a:spcPts val="457"/>
              </a:spcAft>
              <a:defRPr lang="en-US" sz="21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48389" algn="l" defTabSz="696777" rtl="0" eaLnBrk="1" fontAlgn="base" latinLnBrk="0" hangingPunct="1">
              <a:spcAft>
                <a:spcPts val="457"/>
              </a:spcAft>
              <a:defRPr lang="en-US" sz="21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48389" algn="l" defTabSz="696777" rtl="0" eaLnBrk="1" fontAlgn="base" latinLnBrk="0" hangingPunct="1">
              <a:spcAft>
                <a:spcPts val="457"/>
              </a:spcAft>
              <a:defRPr lang="en-US" sz="21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348389" lvl="0" indent="-348389" algn="l" defTabSz="696777" rtl="0" eaLnBrk="1" fontAlgn="base" latinLnBrk="0" hangingPunct="1">
              <a:spcBef>
                <a:spcPts val="915"/>
              </a:spcBef>
              <a:spcAft>
                <a:spcPts val="457"/>
              </a:spcAft>
              <a:buClr>
                <a:schemeClr val="tx1">
                  <a:lumMod val="75000"/>
                  <a:lumOff val="25000"/>
                </a:schemeClr>
              </a:buClr>
              <a:buFont typeface="+mj-lt"/>
              <a:buAutoNum type="arabicPeriod"/>
            </a:pPr>
            <a:r>
              <a:rPr lang="en-US" smtClean="0"/>
              <a:t>Click to edit Master text styles</a:t>
            </a:r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68187" y="4609226"/>
            <a:ext cx="8629317" cy="0"/>
          </a:xfrm>
          <a:prstGeom prst="line">
            <a:avLst/>
          </a:prstGeom>
          <a:ln w="12700" cmpd="sng">
            <a:solidFill>
              <a:srgbClr val="CCCCC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9542" y="4726966"/>
            <a:ext cx="1112188" cy="30609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LE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511" y="170260"/>
            <a:ext cx="8716596" cy="79295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24184" y="1021558"/>
            <a:ext cx="8686068" cy="3394472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68187" y="4609226"/>
            <a:ext cx="8629317" cy="0"/>
          </a:xfrm>
          <a:prstGeom prst="line">
            <a:avLst/>
          </a:prstGeom>
          <a:ln w="12700" cmpd="sng">
            <a:solidFill>
              <a:srgbClr val="CCCCC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9542" y="4726966"/>
            <a:ext cx="1112188" cy="306091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ALE_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511" y="170260"/>
            <a:ext cx="8716596" cy="79295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4184" y="1021558"/>
            <a:ext cx="4283808" cy="3394472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rebuchet MS" pitchFamily="34" charset="0"/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  <a:latin typeface="Trebuchet MS" pitchFamily="34" charset="0"/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  <a:latin typeface="Trebuchet MS" pitchFamily="34" charset="0"/>
              </a:defRPr>
            </a:lvl3pPr>
            <a:lvl4pPr>
              <a:spcAft>
                <a:spcPts val="0"/>
              </a:spcAft>
              <a:defRPr sz="1100">
                <a:solidFill>
                  <a:schemeClr val="tx1"/>
                </a:solidFill>
                <a:latin typeface="Trebuchet MS" pitchFamily="34" charset="0"/>
              </a:defRPr>
            </a:lvl4pPr>
            <a:lvl5pPr>
              <a:spcAft>
                <a:spcPts val="0"/>
              </a:spcAft>
              <a:defRPr sz="1100">
                <a:solidFill>
                  <a:schemeClr val="tx1"/>
                </a:solidFill>
                <a:latin typeface="Trebuchet MS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3982" y="1021558"/>
            <a:ext cx="4285029" cy="3394472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  <a:latin typeface="Trebuchet MS" pitchFamily="34" charset="0"/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  <a:latin typeface="Trebuchet MS" pitchFamily="34" charset="0"/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  <a:latin typeface="Trebuchet MS" pitchFamily="34" charset="0"/>
              </a:defRPr>
            </a:lvl3pPr>
            <a:lvl4pPr>
              <a:spcAft>
                <a:spcPts val="0"/>
              </a:spcAft>
              <a:defRPr sz="1100">
                <a:solidFill>
                  <a:schemeClr val="tx1"/>
                </a:solidFill>
                <a:latin typeface="Trebuchet MS" pitchFamily="34" charset="0"/>
              </a:defRPr>
            </a:lvl4pPr>
            <a:lvl5pPr>
              <a:spcAft>
                <a:spcPts val="0"/>
              </a:spcAft>
              <a:defRPr sz="1100">
                <a:solidFill>
                  <a:schemeClr val="tx1"/>
                </a:solidFill>
                <a:latin typeface="Trebuchet MS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68187" y="4609226"/>
            <a:ext cx="8629317" cy="0"/>
          </a:xfrm>
          <a:prstGeom prst="line">
            <a:avLst/>
          </a:prstGeom>
          <a:ln w="12700" cmpd="sng">
            <a:solidFill>
              <a:srgbClr val="CCCCC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9542" y="4726966"/>
            <a:ext cx="1112188" cy="30609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511" y="170260"/>
            <a:ext cx="8716596" cy="792956"/>
          </a:xfr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68187" y="4609226"/>
            <a:ext cx="8629317" cy="0"/>
          </a:xfrm>
          <a:prstGeom prst="line">
            <a:avLst/>
          </a:prstGeom>
          <a:ln w="12700" cmpd="sng">
            <a:solidFill>
              <a:srgbClr val="CCCCC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9542" y="4726966"/>
            <a:ext cx="1112188" cy="30609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511" y="170260"/>
            <a:ext cx="8716596" cy="792956"/>
          </a:xfr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  <p:pic>
        <p:nvPicPr>
          <p:cNvPr id="11" name="Picture 10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9542" y="4726966"/>
            <a:ext cx="1112188" cy="306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587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511" y="170260"/>
            <a:ext cx="8716596" cy="792956"/>
          </a:xfrm>
        </p:spPr>
        <p:txBody>
          <a:bodyPr/>
          <a:lstStyle>
            <a:lvl1pPr>
              <a:defRPr>
                <a:latin typeface="Trebuchet M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63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INT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800" smtClean="0">
                <a:solidFill>
                  <a:schemeClr val="tx1"/>
                </a:solidFill>
                <a:latin typeface="Trebuchet MS" pitchFamily="34" charset="0"/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Trebuchet M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9612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2667" y="170260"/>
            <a:ext cx="8716596" cy="7929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9301" y="1021558"/>
            <a:ext cx="8686068" cy="33944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4839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7" r:id="rId3"/>
    <p:sldLayoutId id="2147483650" r:id="rId4"/>
    <p:sldLayoutId id="2147483652" r:id="rId5"/>
    <p:sldLayoutId id="2147483654" r:id="rId6"/>
    <p:sldLayoutId id="2147483666" r:id="rId7"/>
    <p:sldLayoutId id="2147483667" r:id="rId8"/>
    <p:sldLayoutId id="2147483665" r:id="rId9"/>
    <p:sldLayoutId id="2147483660" r:id="rId10"/>
    <p:sldLayoutId id="2147483655" r:id="rId11"/>
    <p:sldLayoutId id="2147483656" r:id="rId12"/>
    <p:sldLayoutId id="2147483664" r:id="rId1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cap="none">
          <a:solidFill>
            <a:schemeClr val="tx1"/>
          </a:solidFill>
          <a:latin typeface="Trebuchet MS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ahoma" pitchFamily="34" charset="0"/>
        </a:defRPr>
      </a:lvl5pPr>
      <a:lvl6pPr marL="348389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ahoma" pitchFamily="34" charset="0"/>
        </a:defRPr>
      </a:lvl6pPr>
      <a:lvl7pPr marL="696777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ahoma" pitchFamily="34" charset="0"/>
        </a:defRPr>
      </a:lvl7pPr>
      <a:lvl8pPr marL="1045165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ahoma" pitchFamily="34" charset="0"/>
        </a:defRPr>
      </a:lvl8pPr>
      <a:lvl9pPr marL="1393554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ahoma" pitchFamily="34" charset="0"/>
        </a:defRPr>
      </a:lvl9pPr>
    </p:titleStyle>
    <p:bodyStyle>
      <a:lvl1pPr marL="130646" indent="-130646" algn="l" rtl="0" eaLnBrk="1" fontAlgn="base" hangingPunct="1">
        <a:spcBef>
          <a:spcPct val="20000"/>
        </a:spcBef>
        <a:spcAft>
          <a:spcPct val="30000"/>
        </a:spcAft>
        <a:buClrTx/>
        <a:buFont typeface="Arial" pitchFamily="34" charset="0"/>
        <a:buChar char="•"/>
        <a:defRPr sz="1500">
          <a:solidFill>
            <a:schemeClr val="tx1"/>
          </a:solidFill>
          <a:latin typeface="Trebuchet MS" pitchFamily="34" charset="0"/>
          <a:ea typeface="+mn-ea"/>
          <a:cs typeface="+mn-cs"/>
        </a:defRPr>
      </a:lvl1pPr>
      <a:lvl2pPr marL="263711" indent="-131855" algn="l" rtl="0" eaLnBrk="1" fontAlgn="base" hangingPunct="1">
        <a:spcBef>
          <a:spcPct val="20000"/>
        </a:spcBef>
        <a:spcAft>
          <a:spcPts val="0"/>
        </a:spcAft>
        <a:buClrTx/>
        <a:buFont typeface="Arial" pitchFamily="34" charset="0"/>
        <a:buChar char="­"/>
        <a:defRPr sz="1400">
          <a:solidFill>
            <a:schemeClr val="tx1"/>
          </a:solidFill>
          <a:latin typeface="Trebuchet MS" pitchFamily="34" charset="0"/>
        </a:defRPr>
      </a:lvl2pPr>
      <a:lvl3pPr marL="396775" indent="-133066" algn="l" rtl="0" eaLnBrk="1" fontAlgn="base" hangingPunct="1">
        <a:spcBef>
          <a:spcPts val="329"/>
        </a:spcBef>
        <a:spcAft>
          <a:spcPts val="0"/>
        </a:spcAft>
        <a:buClrTx/>
        <a:buFont typeface="Arial" pitchFamily="34" charset="0"/>
        <a:buChar char="­"/>
        <a:defRPr sz="1200">
          <a:solidFill>
            <a:schemeClr val="tx1"/>
          </a:solidFill>
          <a:latin typeface="Trebuchet MS" pitchFamily="34" charset="0"/>
        </a:defRPr>
      </a:lvl3pPr>
      <a:lvl4pPr marL="480244" indent="-87097" algn="l" rtl="0" eaLnBrk="1" fontAlgn="base" hangingPunct="1">
        <a:spcBef>
          <a:spcPct val="20000"/>
        </a:spcBef>
        <a:spcAft>
          <a:spcPct val="30000"/>
        </a:spcAft>
        <a:buClrTx/>
        <a:buFont typeface="Arial" pitchFamily="34" charset="0"/>
        <a:buChar char="­"/>
        <a:defRPr sz="1100">
          <a:solidFill>
            <a:schemeClr val="tx1"/>
          </a:solidFill>
          <a:latin typeface="Trebuchet MS" pitchFamily="34" charset="0"/>
        </a:defRPr>
      </a:lvl4pPr>
      <a:lvl5pPr marL="564923" indent="-84678" algn="l" rtl="0" eaLnBrk="1" fontAlgn="base" hangingPunct="1">
        <a:spcBef>
          <a:spcPct val="20000"/>
        </a:spcBef>
        <a:spcAft>
          <a:spcPct val="30000"/>
        </a:spcAft>
        <a:buClrTx/>
        <a:buFont typeface="Arial" pitchFamily="34" charset="0"/>
        <a:buChar char="­"/>
        <a:defRPr sz="1100">
          <a:solidFill>
            <a:schemeClr val="tx1"/>
          </a:solidFill>
          <a:latin typeface="Trebuchet MS" pitchFamily="34" charset="0"/>
        </a:defRPr>
      </a:lvl5pPr>
      <a:lvl6pPr marL="1093553" indent="-174194" algn="l" rtl="0" eaLnBrk="1" fontAlgn="base" hangingPunct="1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100">
          <a:solidFill>
            <a:schemeClr val="tx1"/>
          </a:solidFill>
          <a:latin typeface="+mn-lt"/>
        </a:defRPr>
      </a:lvl6pPr>
      <a:lvl7pPr marL="1441942" indent="-174194" algn="l" rtl="0" eaLnBrk="1" fontAlgn="base" hangingPunct="1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100">
          <a:solidFill>
            <a:schemeClr val="tx1"/>
          </a:solidFill>
          <a:latin typeface="+mn-lt"/>
        </a:defRPr>
      </a:lvl7pPr>
      <a:lvl8pPr marL="1790331" indent="-174194" algn="l" rtl="0" eaLnBrk="1" fontAlgn="base" hangingPunct="1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100">
          <a:solidFill>
            <a:schemeClr val="tx1"/>
          </a:solidFill>
          <a:latin typeface="+mn-lt"/>
        </a:defRPr>
      </a:lvl8pPr>
      <a:lvl9pPr marL="2138719" indent="-174194" algn="l" rtl="0" eaLnBrk="1" fontAlgn="base" hangingPunct="1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6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8389" algn="l" defTabSz="696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6777" algn="l" defTabSz="696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5165" algn="l" defTabSz="696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3554" algn="l" defTabSz="696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1943" algn="l" defTabSz="696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0332" algn="l" defTabSz="696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38721" algn="l" defTabSz="696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87109" algn="l" defTabSz="696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4" Type="http://schemas.openxmlformats.org/officeDocument/2006/relationships/image" Target="../media/image4.emf"/><Relationship Id="rId5" Type="http://schemas.openxmlformats.org/officeDocument/2006/relationships/image" Target="../media/image5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4" Type="http://schemas.openxmlformats.org/officeDocument/2006/relationships/image" Target="../media/image43.tiff"/><Relationship Id="rId5" Type="http://schemas.openxmlformats.org/officeDocument/2006/relationships/image" Target="../media/image44.tiff"/><Relationship Id="rId6" Type="http://schemas.openxmlformats.org/officeDocument/2006/relationships/image" Target="../media/image45.tiff"/><Relationship Id="rId7" Type="http://schemas.openxmlformats.org/officeDocument/2006/relationships/image" Target="../media/image46.tiff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4" Type="http://schemas.openxmlformats.org/officeDocument/2006/relationships/image" Target="../media/image5.png"/><Relationship Id="rId5" Type="http://schemas.openxmlformats.org/officeDocument/2006/relationships/hyperlink" Target="https://hub.openrainbow.net/" TargetMode="External"/><Relationship Id="rId6" Type="http://schemas.openxmlformats.org/officeDocument/2006/relationships/image" Target="../media/image41.png"/><Relationship Id="rId7" Type="http://schemas.openxmlformats.org/officeDocument/2006/relationships/image" Target="../media/image47.tiff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4.tiff"/><Relationship Id="rId12" Type="http://schemas.openxmlformats.org/officeDocument/2006/relationships/image" Target="../media/image55.tiff"/><Relationship Id="rId13" Type="http://schemas.openxmlformats.org/officeDocument/2006/relationships/image" Target="../media/image56.tiff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6.png"/><Relationship Id="rId4" Type="http://schemas.openxmlformats.org/officeDocument/2006/relationships/image" Target="../media/image42.jpeg"/><Relationship Id="rId5" Type="http://schemas.openxmlformats.org/officeDocument/2006/relationships/image" Target="../media/image48.tiff"/><Relationship Id="rId6" Type="http://schemas.openxmlformats.org/officeDocument/2006/relationships/image" Target="../media/image49.tiff"/><Relationship Id="rId7" Type="http://schemas.openxmlformats.org/officeDocument/2006/relationships/image" Target="../media/image50.tiff"/><Relationship Id="rId8" Type="http://schemas.openxmlformats.org/officeDocument/2006/relationships/image" Target="../media/image51.tiff"/><Relationship Id="rId9" Type="http://schemas.openxmlformats.org/officeDocument/2006/relationships/image" Target="../media/image52.tiff"/><Relationship Id="rId10" Type="http://schemas.openxmlformats.org/officeDocument/2006/relationships/image" Target="../media/image53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tiff"/><Relationship Id="rId4" Type="http://schemas.openxmlformats.org/officeDocument/2006/relationships/image" Target="../media/image57.tiff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emf"/><Relationship Id="rId5" Type="http://schemas.openxmlformats.org/officeDocument/2006/relationships/image" Target="../media/image8.tiff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58.png"/><Relationship Id="rId5" Type="http://schemas.openxmlformats.org/officeDocument/2006/relationships/hyperlink" Target="https://hub.openrainbow.net/" TargetMode="External"/><Relationship Id="rId6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42.jpeg"/><Relationship Id="rId5" Type="http://schemas.openxmlformats.org/officeDocument/2006/relationships/image" Target="../media/image59.emf"/><Relationship Id="rId6" Type="http://schemas.openxmlformats.org/officeDocument/2006/relationships/image" Target="../media/image7.emf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emf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0.xml"/><Relationship Id="rId3" Type="http://schemas.openxmlformats.org/officeDocument/2006/relationships/image" Target="../media/image6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61.png"/><Relationship Id="rId5" Type="http://schemas.openxmlformats.org/officeDocument/2006/relationships/image" Target="../media/image62.tif"/><Relationship Id="rId6" Type="http://schemas.openxmlformats.org/officeDocument/2006/relationships/image" Target="../media/image63.tif"/><Relationship Id="rId7" Type="http://schemas.openxmlformats.org/officeDocument/2006/relationships/image" Target="../media/image64.png"/><Relationship Id="rId8" Type="http://schemas.openxmlformats.org/officeDocument/2006/relationships/image" Target="../media/image65.tif"/><Relationship Id="rId9" Type="http://schemas.openxmlformats.org/officeDocument/2006/relationships/image" Target="../media/image42.jpe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42.jpe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4" Type="http://schemas.openxmlformats.org/officeDocument/2006/relationships/image" Target="../media/image67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6.png"/><Relationship Id="rId7" Type="http://schemas.openxmlformats.org/officeDocument/2006/relationships/image" Target="../media/image13.emf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.png"/><Relationship Id="rId20" Type="http://schemas.openxmlformats.org/officeDocument/2006/relationships/image" Target="../media/image29.png"/><Relationship Id="rId21" Type="http://schemas.openxmlformats.org/officeDocument/2006/relationships/image" Target="../media/image30.png"/><Relationship Id="rId22" Type="http://schemas.openxmlformats.org/officeDocument/2006/relationships/image" Target="../media/image31.png"/><Relationship Id="rId23" Type="http://schemas.openxmlformats.org/officeDocument/2006/relationships/image" Target="../media/image5.png"/><Relationship Id="rId10" Type="http://schemas.openxmlformats.org/officeDocument/2006/relationships/image" Target="../media/image20.png"/><Relationship Id="rId11" Type="http://schemas.openxmlformats.org/officeDocument/2006/relationships/image" Target="../media/image21.png"/><Relationship Id="rId12" Type="http://schemas.microsoft.com/office/2007/relationships/hdphoto" Target="../media/hdphoto1.wdp"/><Relationship Id="rId13" Type="http://schemas.openxmlformats.org/officeDocument/2006/relationships/image" Target="../media/image22.png"/><Relationship Id="rId14" Type="http://schemas.openxmlformats.org/officeDocument/2006/relationships/image" Target="../media/image23.png"/><Relationship Id="rId15" Type="http://schemas.openxmlformats.org/officeDocument/2006/relationships/image" Target="../media/image24.jpeg"/><Relationship Id="rId16" Type="http://schemas.openxmlformats.org/officeDocument/2006/relationships/image" Target="../media/image25.jpeg"/><Relationship Id="rId17" Type="http://schemas.openxmlformats.org/officeDocument/2006/relationships/image" Target="../media/image26.png"/><Relationship Id="rId18" Type="http://schemas.openxmlformats.org/officeDocument/2006/relationships/image" Target="../media/image27.gif"/><Relationship Id="rId19" Type="http://schemas.openxmlformats.org/officeDocument/2006/relationships/image" Target="../media/image28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3" Type="http://schemas.openxmlformats.org/officeDocument/2006/relationships/notesSlide" Target="../notesSlides/notesSlide6.xml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jpeg"/><Relationship Id="rId7" Type="http://schemas.openxmlformats.org/officeDocument/2006/relationships/image" Target="../media/image17.png"/><Relationship Id="rId8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4" Type="http://schemas.openxmlformats.org/officeDocument/2006/relationships/image" Target="../media/image33.png"/><Relationship Id="rId5" Type="http://schemas.openxmlformats.org/officeDocument/2006/relationships/image" Target="../media/image15.png"/><Relationship Id="rId6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4" Type="http://schemas.openxmlformats.org/officeDocument/2006/relationships/image" Target="../media/image7.emf"/><Relationship Id="rId5" Type="http://schemas.openxmlformats.org/officeDocument/2006/relationships/image" Target="../media/image35.tiff"/><Relationship Id="rId6" Type="http://schemas.openxmlformats.org/officeDocument/2006/relationships/image" Target="../media/image36.png"/><Relationship Id="rId7" Type="http://schemas.openxmlformats.org/officeDocument/2006/relationships/image" Target="../media/image37.png"/><Relationship Id="rId8" Type="http://schemas.openxmlformats.org/officeDocument/2006/relationships/image" Target="../media/image9.png"/><Relationship Id="rId9" Type="http://schemas.openxmlformats.org/officeDocument/2006/relationships/image" Target="../media/image38.png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4" Type="http://schemas.openxmlformats.org/officeDocument/2006/relationships/image" Target="../media/image40.png"/><Relationship Id="rId5" Type="http://schemas.openxmlformats.org/officeDocument/2006/relationships/image" Target="../media/image6.png"/><Relationship Id="rId6" Type="http://schemas.openxmlformats.org/officeDocument/2006/relationships/hyperlink" Target="https://hub.openrainbow.net/" TargetMode="External"/><Relationship Id="rId7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6" t="12118" r="3777" b="16266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2924175" y="923925"/>
            <a:ext cx="3295650" cy="3295650"/>
          </a:xfrm>
          <a:prstGeom prst="ellipse">
            <a:avLst/>
          </a:prstGeom>
          <a:solidFill>
            <a:schemeClr val="accent6">
              <a:alpha val="80000"/>
            </a:schemeClr>
          </a:solidFill>
        </p:spPr>
        <p:txBody>
          <a:bodyPr wrap="none" lIns="68580" tIns="34290" rIns="68580" bIns="34290" rtlCol="0" anchor="ctr">
            <a:noAutofit/>
          </a:bodyPr>
          <a:lstStyle/>
          <a:p>
            <a:pPr algn="ctr"/>
            <a:endParaRPr lang="en-GB" dirty="0">
              <a:latin typeface="+mj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150" y="2208019"/>
            <a:ext cx="2933700" cy="727463"/>
          </a:xfrm>
          <a:prstGeom prst="rect">
            <a:avLst/>
          </a:prstGeom>
        </p:spPr>
      </p:pic>
      <p:pic>
        <p:nvPicPr>
          <p:cNvPr id="6" name="Image 23" descr="256256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264455" y="1285248"/>
            <a:ext cx="622895" cy="62289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ZoneTexte 7"/>
          <p:cNvSpPr txBox="1"/>
          <p:nvPr/>
        </p:nvSpPr>
        <p:spPr>
          <a:xfrm>
            <a:off x="2322348" y="3349753"/>
            <a:ext cx="4499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2400" b="1" dirty="0" smtClean="0">
                <a:solidFill>
                  <a:schemeClr val="bg1"/>
                </a:solidFill>
                <a:latin typeface="+mj-lt"/>
                <a:ea typeface="Kozuka Gothic Pr6N EL" pitchFamily="34" charset="-128"/>
              </a:rPr>
              <a:t>RAINBOW </a:t>
            </a:r>
          </a:p>
          <a:p>
            <a:pPr algn="ctr">
              <a:spcBef>
                <a:spcPts val="0"/>
              </a:spcBef>
            </a:pPr>
            <a:r>
              <a:rPr lang="fr-FR" sz="2400" b="1" dirty="0" smtClean="0">
                <a:solidFill>
                  <a:schemeClr val="bg1"/>
                </a:solidFill>
                <a:latin typeface="+mj-lt"/>
                <a:ea typeface="Kozuka Gothic Pr6N EL" pitchFamily="34" charset="-128"/>
              </a:rPr>
              <a:t>API HUB</a:t>
            </a:r>
            <a:endParaRPr lang="en-US" sz="2400" b="1" dirty="0" smtClean="0">
              <a:solidFill>
                <a:schemeClr val="bg1"/>
              </a:solidFill>
              <a:latin typeface="+mj-lt"/>
              <a:ea typeface="Kozuka Gothic Pr6N EL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89945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sp>
        <p:nvSpPr>
          <p:cNvPr id="10" name="Freeform 72"/>
          <p:cNvSpPr>
            <a:spLocks noEditPoints="1"/>
          </p:cNvSpPr>
          <p:nvPr/>
        </p:nvSpPr>
        <p:spPr bwMode="auto">
          <a:xfrm>
            <a:off x="3315328" y="296927"/>
            <a:ext cx="2487288" cy="1435437"/>
          </a:xfrm>
          <a:custGeom>
            <a:avLst/>
            <a:gdLst/>
            <a:ahLst/>
            <a:cxnLst>
              <a:cxn ang="0">
                <a:pos x="869" y="243"/>
              </a:cxn>
              <a:cxn ang="0">
                <a:pos x="737" y="147"/>
              </a:cxn>
              <a:cxn ang="0">
                <a:pos x="588" y="0"/>
              </a:cxn>
              <a:cxn ang="0">
                <a:pos x="453" y="87"/>
              </a:cxn>
              <a:cxn ang="0">
                <a:pos x="361" y="64"/>
              </a:cxn>
              <a:cxn ang="0">
                <a:pos x="305" y="72"/>
              </a:cxn>
              <a:cxn ang="0">
                <a:pos x="320" y="115"/>
              </a:cxn>
              <a:cxn ang="0">
                <a:pos x="250" y="185"/>
              </a:cxn>
              <a:cxn ang="0">
                <a:pos x="195" y="159"/>
              </a:cxn>
              <a:cxn ang="0">
                <a:pos x="168" y="257"/>
              </a:cxn>
              <a:cxn ang="0">
                <a:pos x="170" y="277"/>
              </a:cxn>
              <a:cxn ang="0">
                <a:pos x="0" y="424"/>
              </a:cxn>
              <a:cxn ang="0">
                <a:pos x="264" y="581"/>
              </a:cxn>
              <a:cxn ang="0">
                <a:pos x="431" y="545"/>
              </a:cxn>
              <a:cxn ang="0">
                <a:pos x="592" y="635"/>
              </a:cxn>
              <a:cxn ang="0">
                <a:pos x="758" y="534"/>
              </a:cxn>
              <a:cxn ang="0">
                <a:pos x="776" y="535"/>
              </a:cxn>
              <a:cxn ang="0">
                <a:pos x="811" y="533"/>
              </a:cxn>
              <a:cxn ang="0">
                <a:pos x="844" y="535"/>
              </a:cxn>
              <a:cxn ang="0">
                <a:pos x="1088" y="388"/>
              </a:cxn>
              <a:cxn ang="0">
                <a:pos x="869" y="243"/>
              </a:cxn>
              <a:cxn ang="0">
                <a:pos x="250" y="141"/>
              </a:cxn>
              <a:cxn ang="0">
                <a:pos x="278" y="113"/>
              </a:cxn>
              <a:cxn ang="0">
                <a:pos x="250" y="84"/>
              </a:cxn>
              <a:cxn ang="0">
                <a:pos x="221" y="113"/>
              </a:cxn>
              <a:cxn ang="0">
                <a:pos x="250" y="141"/>
              </a:cxn>
            </a:cxnLst>
            <a:rect l="0" t="0" r="r" b="b"/>
            <a:pathLst>
              <a:path w="1088" h="635">
                <a:moveTo>
                  <a:pt x="869" y="243"/>
                </a:moveTo>
                <a:cubicBezTo>
                  <a:pt x="848" y="189"/>
                  <a:pt x="797" y="150"/>
                  <a:pt x="737" y="147"/>
                </a:cubicBezTo>
                <a:cubicBezTo>
                  <a:pt x="736" y="66"/>
                  <a:pt x="670" y="0"/>
                  <a:pt x="588" y="0"/>
                </a:cubicBezTo>
                <a:cubicBezTo>
                  <a:pt x="528" y="0"/>
                  <a:pt x="477" y="36"/>
                  <a:pt x="453" y="87"/>
                </a:cubicBezTo>
                <a:cubicBezTo>
                  <a:pt x="426" y="72"/>
                  <a:pt x="394" y="64"/>
                  <a:pt x="361" y="64"/>
                </a:cubicBezTo>
                <a:cubicBezTo>
                  <a:pt x="342" y="64"/>
                  <a:pt x="323" y="67"/>
                  <a:pt x="305" y="72"/>
                </a:cubicBezTo>
                <a:cubicBezTo>
                  <a:pt x="314" y="84"/>
                  <a:pt x="320" y="99"/>
                  <a:pt x="320" y="115"/>
                </a:cubicBezTo>
                <a:cubicBezTo>
                  <a:pt x="320" y="154"/>
                  <a:pt x="288" y="185"/>
                  <a:pt x="250" y="185"/>
                </a:cubicBezTo>
                <a:cubicBezTo>
                  <a:pt x="228" y="185"/>
                  <a:pt x="208" y="175"/>
                  <a:pt x="195" y="159"/>
                </a:cubicBezTo>
                <a:cubicBezTo>
                  <a:pt x="178" y="187"/>
                  <a:pt x="168" y="221"/>
                  <a:pt x="168" y="257"/>
                </a:cubicBezTo>
                <a:cubicBezTo>
                  <a:pt x="168" y="263"/>
                  <a:pt x="169" y="270"/>
                  <a:pt x="170" y="277"/>
                </a:cubicBezTo>
                <a:cubicBezTo>
                  <a:pt x="71" y="300"/>
                  <a:pt x="0" y="357"/>
                  <a:pt x="0" y="424"/>
                </a:cubicBezTo>
                <a:cubicBezTo>
                  <a:pt x="0" y="511"/>
                  <a:pt x="118" y="581"/>
                  <a:pt x="264" y="581"/>
                </a:cubicBezTo>
                <a:cubicBezTo>
                  <a:pt x="327" y="581"/>
                  <a:pt x="385" y="568"/>
                  <a:pt x="431" y="545"/>
                </a:cubicBezTo>
                <a:cubicBezTo>
                  <a:pt x="460" y="598"/>
                  <a:pt x="521" y="635"/>
                  <a:pt x="592" y="635"/>
                </a:cubicBezTo>
                <a:cubicBezTo>
                  <a:pt x="667" y="635"/>
                  <a:pt x="732" y="593"/>
                  <a:pt x="758" y="534"/>
                </a:cubicBezTo>
                <a:cubicBezTo>
                  <a:pt x="764" y="535"/>
                  <a:pt x="770" y="535"/>
                  <a:pt x="776" y="535"/>
                </a:cubicBezTo>
                <a:cubicBezTo>
                  <a:pt x="788" y="535"/>
                  <a:pt x="800" y="534"/>
                  <a:pt x="811" y="533"/>
                </a:cubicBezTo>
                <a:cubicBezTo>
                  <a:pt x="822" y="534"/>
                  <a:pt x="833" y="535"/>
                  <a:pt x="844" y="535"/>
                </a:cubicBezTo>
                <a:cubicBezTo>
                  <a:pt x="979" y="535"/>
                  <a:pt x="1088" y="469"/>
                  <a:pt x="1088" y="388"/>
                </a:cubicBezTo>
                <a:cubicBezTo>
                  <a:pt x="1088" y="312"/>
                  <a:pt x="992" y="250"/>
                  <a:pt x="869" y="243"/>
                </a:cubicBezTo>
                <a:close/>
                <a:moveTo>
                  <a:pt x="250" y="141"/>
                </a:moveTo>
                <a:cubicBezTo>
                  <a:pt x="266" y="141"/>
                  <a:pt x="278" y="129"/>
                  <a:pt x="278" y="113"/>
                </a:cubicBezTo>
                <a:cubicBezTo>
                  <a:pt x="278" y="97"/>
                  <a:pt x="266" y="84"/>
                  <a:pt x="250" y="84"/>
                </a:cubicBezTo>
                <a:cubicBezTo>
                  <a:pt x="234" y="84"/>
                  <a:pt x="221" y="97"/>
                  <a:pt x="221" y="113"/>
                </a:cubicBezTo>
                <a:cubicBezTo>
                  <a:pt x="221" y="129"/>
                  <a:pt x="234" y="141"/>
                  <a:pt x="250" y="141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3503943" y="1187910"/>
            <a:ext cx="1980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REGISTER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3" name="Oval 79"/>
          <p:cNvSpPr/>
          <p:nvPr/>
        </p:nvSpPr>
        <p:spPr>
          <a:xfrm>
            <a:off x="898423" y="2466254"/>
            <a:ext cx="916401" cy="890193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4" name="Group 69"/>
          <p:cNvGrpSpPr/>
          <p:nvPr/>
        </p:nvGrpSpPr>
        <p:grpSpPr>
          <a:xfrm>
            <a:off x="1151291" y="2552320"/>
            <a:ext cx="415897" cy="689431"/>
            <a:chOff x="0" y="0"/>
            <a:chExt cx="847666" cy="1429440"/>
          </a:xfrm>
        </p:grpSpPr>
        <p:sp>
          <p:nvSpPr>
            <p:cNvPr id="15" name="Freeform 59"/>
            <p:cNvSpPr/>
            <p:nvPr/>
          </p:nvSpPr>
          <p:spPr>
            <a:xfrm>
              <a:off x="95962" y="0"/>
              <a:ext cx="645080" cy="6237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16835" y="21600"/>
                    <a:pt x="21600" y="16764"/>
                    <a:pt x="21600" y="10961"/>
                  </a:cubicBezTo>
                  <a:cubicBezTo>
                    <a:pt x="21600" y="4836"/>
                    <a:pt x="16835" y="0"/>
                    <a:pt x="10800" y="0"/>
                  </a:cubicBezTo>
                  <a:cubicBezTo>
                    <a:pt x="5082" y="0"/>
                    <a:pt x="0" y="4836"/>
                    <a:pt x="0" y="10961"/>
                  </a:cubicBezTo>
                  <a:cubicBezTo>
                    <a:pt x="0" y="16764"/>
                    <a:pt x="5082" y="21600"/>
                    <a:pt x="10800" y="21600"/>
                  </a:cubicBezTo>
                  <a:close/>
                  <a:moveTo>
                    <a:pt x="4447" y="10961"/>
                  </a:moveTo>
                  <a:cubicBezTo>
                    <a:pt x="5082" y="10961"/>
                    <a:pt x="5718" y="11284"/>
                    <a:pt x="5718" y="11928"/>
                  </a:cubicBezTo>
                  <a:cubicBezTo>
                    <a:pt x="6035" y="13863"/>
                    <a:pt x="9212" y="14830"/>
                    <a:pt x="11118" y="14830"/>
                  </a:cubicBezTo>
                  <a:cubicBezTo>
                    <a:pt x="13024" y="14830"/>
                    <a:pt x="15882" y="13863"/>
                    <a:pt x="16200" y="11928"/>
                  </a:cubicBezTo>
                  <a:cubicBezTo>
                    <a:pt x="16518" y="11284"/>
                    <a:pt x="16835" y="10961"/>
                    <a:pt x="17471" y="10961"/>
                  </a:cubicBezTo>
                  <a:cubicBezTo>
                    <a:pt x="18106" y="10961"/>
                    <a:pt x="18424" y="11606"/>
                    <a:pt x="18424" y="12251"/>
                  </a:cubicBezTo>
                  <a:cubicBezTo>
                    <a:pt x="17788" y="15475"/>
                    <a:pt x="13659" y="17087"/>
                    <a:pt x="11118" y="17087"/>
                  </a:cubicBezTo>
                  <a:cubicBezTo>
                    <a:pt x="8259" y="17087"/>
                    <a:pt x="4129" y="15475"/>
                    <a:pt x="3812" y="12251"/>
                  </a:cubicBezTo>
                  <a:cubicBezTo>
                    <a:pt x="3494" y="11606"/>
                    <a:pt x="4129" y="10961"/>
                    <a:pt x="4447" y="109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6" name="Freeform 60"/>
            <p:cNvSpPr/>
            <p:nvPr/>
          </p:nvSpPr>
          <p:spPr>
            <a:xfrm>
              <a:off x="28867" y="730081"/>
              <a:ext cx="171508" cy="17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54" h="19854" extrusionOk="0">
                  <a:moveTo>
                    <a:pt x="7767" y="19647"/>
                  </a:moveTo>
                  <a:cubicBezTo>
                    <a:pt x="12087" y="20727"/>
                    <a:pt x="17487" y="17487"/>
                    <a:pt x="19647" y="12087"/>
                  </a:cubicBezTo>
                  <a:cubicBezTo>
                    <a:pt x="20727" y="6687"/>
                    <a:pt x="17487" y="1287"/>
                    <a:pt x="12087" y="207"/>
                  </a:cubicBezTo>
                  <a:cubicBezTo>
                    <a:pt x="6687" y="-873"/>
                    <a:pt x="1287" y="2367"/>
                    <a:pt x="207" y="7767"/>
                  </a:cubicBezTo>
                  <a:cubicBezTo>
                    <a:pt x="-873" y="13167"/>
                    <a:pt x="2367" y="18567"/>
                    <a:pt x="7767" y="1964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7" name="Freeform 61"/>
            <p:cNvSpPr/>
            <p:nvPr/>
          </p:nvSpPr>
          <p:spPr>
            <a:xfrm>
              <a:off x="-1" y="712121"/>
              <a:ext cx="847668" cy="7173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46" y="561"/>
                  </a:moveTo>
                  <a:cubicBezTo>
                    <a:pt x="16746" y="561"/>
                    <a:pt x="16746" y="561"/>
                    <a:pt x="16746" y="561"/>
                  </a:cubicBezTo>
                  <a:cubicBezTo>
                    <a:pt x="16503" y="281"/>
                    <a:pt x="16261" y="281"/>
                    <a:pt x="16018" y="281"/>
                  </a:cubicBezTo>
                  <a:cubicBezTo>
                    <a:pt x="16018" y="281"/>
                    <a:pt x="15775" y="281"/>
                    <a:pt x="15775" y="281"/>
                  </a:cubicBezTo>
                  <a:cubicBezTo>
                    <a:pt x="15533" y="0"/>
                    <a:pt x="15290" y="0"/>
                    <a:pt x="15047" y="0"/>
                  </a:cubicBezTo>
                  <a:cubicBezTo>
                    <a:pt x="15047" y="0"/>
                    <a:pt x="15047" y="0"/>
                    <a:pt x="14804" y="0"/>
                  </a:cubicBezTo>
                  <a:cubicBezTo>
                    <a:pt x="14562" y="0"/>
                    <a:pt x="14319" y="0"/>
                    <a:pt x="14076" y="0"/>
                  </a:cubicBezTo>
                  <a:cubicBezTo>
                    <a:pt x="7766" y="0"/>
                    <a:pt x="7766" y="0"/>
                    <a:pt x="7766" y="0"/>
                  </a:cubicBezTo>
                  <a:cubicBezTo>
                    <a:pt x="8494" y="1403"/>
                    <a:pt x="8980" y="3086"/>
                    <a:pt x="8494" y="5049"/>
                  </a:cubicBezTo>
                  <a:cubicBezTo>
                    <a:pt x="7766" y="8696"/>
                    <a:pt x="4611" y="10940"/>
                    <a:pt x="1456" y="10099"/>
                  </a:cubicBezTo>
                  <a:cubicBezTo>
                    <a:pt x="971" y="9818"/>
                    <a:pt x="485" y="9538"/>
                    <a:pt x="0" y="9257"/>
                  </a:cubicBezTo>
                  <a:cubicBezTo>
                    <a:pt x="0" y="12343"/>
                    <a:pt x="0" y="12343"/>
                    <a:pt x="0" y="12343"/>
                  </a:cubicBezTo>
                  <a:cubicBezTo>
                    <a:pt x="0" y="19075"/>
                    <a:pt x="0" y="19075"/>
                    <a:pt x="0" y="19075"/>
                  </a:cubicBezTo>
                  <a:cubicBezTo>
                    <a:pt x="0" y="20478"/>
                    <a:pt x="1213" y="21600"/>
                    <a:pt x="2670" y="21600"/>
                  </a:cubicBezTo>
                  <a:cubicBezTo>
                    <a:pt x="18930" y="21600"/>
                    <a:pt x="18930" y="21600"/>
                    <a:pt x="18930" y="21600"/>
                  </a:cubicBezTo>
                  <a:cubicBezTo>
                    <a:pt x="20387" y="21600"/>
                    <a:pt x="21600" y="20478"/>
                    <a:pt x="21600" y="19075"/>
                  </a:cubicBezTo>
                  <a:cubicBezTo>
                    <a:pt x="21600" y="8696"/>
                    <a:pt x="21600" y="8696"/>
                    <a:pt x="21600" y="8696"/>
                  </a:cubicBezTo>
                  <a:cubicBezTo>
                    <a:pt x="21600" y="5049"/>
                    <a:pt x="19658" y="1964"/>
                    <a:pt x="16746" y="5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8" name="ZoneTexte 17"/>
          <p:cNvSpPr txBox="1"/>
          <p:nvPr/>
        </p:nvSpPr>
        <p:spPr>
          <a:xfrm>
            <a:off x="309329" y="3428574"/>
            <a:ext cx="21214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ASK AN ACCOUNT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9" name="Titre 15"/>
          <p:cNvSpPr txBox="1">
            <a:spLocks/>
          </p:cNvSpPr>
          <p:nvPr/>
        </p:nvSpPr>
        <p:spPr>
          <a:xfrm>
            <a:off x="463381" y="3832074"/>
            <a:ext cx="2426000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Free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21" name="Titre 15"/>
          <p:cNvSpPr txBox="1">
            <a:spLocks/>
          </p:cNvSpPr>
          <p:nvPr/>
        </p:nvSpPr>
        <p:spPr>
          <a:xfrm>
            <a:off x="463380" y="4218551"/>
            <a:ext cx="2494731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From user to developer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40" name="Oval 79"/>
          <p:cNvSpPr/>
          <p:nvPr/>
        </p:nvSpPr>
        <p:spPr>
          <a:xfrm>
            <a:off x="4126499" y="2468174"/>
            <a:ext cx="916401" cy="89019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5" name="Freeform 6"/>
          <p:cNvSpPr/>
          <p:nvPr/>
        </p:nvSpPr>
        <p:spPr>
          <a:xfrm>
            <a:off x="4241419" y="2569360"/>
            <a:ext cx="703494" cy="686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5" h="21153" extrusionOk="0">
                <a:moveTo>
                  <a:pt x="20206" y="10311"/>
                </a:moveTo>
                <a:cubicBezTo>
                  <a:pt x="19413" y="10081"/>
                  <a:pt x="18565" y="10512"/>
                  <a:pt x="18237" y="11288"/>
                </a:cubicBezTo>
                <a:cubicBezTo>
                  <a:pt x="15858" y="10656"/>
                  <a:pt x="15858" y="10656"/>
                  <a:pt x="15858" y="10656"/>
                </a:cubicBezTo>
                <a:cubicBezTo>
                  <a:pt x="15913" y="10368"/>
                  <a:pt x="15940" y="10081"/>
                  <a:pt x="15940" y="9794"/>
                </a:cubicBezTo>
                <a:cubicBezTo>
                  <a:pt x="15940" y="7554"/>
                  <a:pt x="14546" y="5629"/>
                  <a:pt x="12605" y="4940"/>
                </a:cubicBezTo>
                <a:cubicBezTo>
                  <a:pt x="13206" y="3130"/>
                  <a:pt x="13206" y="3130"/>
                  <a:pt x="13206" y="3130"/>
                </a:cubicBezTo>
                <a:cubicBezTo>
                  <a:pt x="13944" y="3245"/>
                  <a:pt x="14655" y="2786"/>
                  <a:pt x="14874" y="2010"/>
                </a:cubicBezTo>
                <a:cubicBezTo>
                  <a:pt x="15093" y="1177"/>
                  <a:pt x="14628" y="287"/>
                  <a:pt x="13835" y="57"/>
                </a:cubicBezTo>
                <a:cubicBezTo>
                  <a:pt x="13042" y="-173"/>
                  <a:pt x="12194" y="315"/>
                  <a:pt x="11976" y="1148"/>
                </a:cubicBezTo>
                <a:cubicBezTo>
                  <a:pt x="11784" y="1866"/>
                  <a:pt x="12085" y="2613"/>
                  <a:pt x="12687" y="2958"/>
                </a:cubicBezTo>
                <a:cubicBezTo>
                  <a:pt x="12085" y="4796"/>
                  <a:pt x="12085" y="4796"/>
                  <a:pt x="12085" y="4796"/>
                </a:cubicBezTo>
                <a:cubicBezTo>
                  <a:pt x="11757" y="4739"/>
                  <a:pt x="11429" y="4681"/>
                  <a:pt x="11073" y="4681"/>
                </a:cubicBezTo>
                <a:cubicBezTo>
                  <a:pt x="10745" y="4681"/>
                  <a:pt x="10445" y="4710"/>
                  <a:pt x="10144" y="4767"/>
                </a:cubicBezTo>
                <a:cubicBezTo>
                  <a:pt x="10226" y="5026"/>
                  <a:pt x="10281" y="5284"/>
                  <a:pt x="10281" y="5572"/>
                </a:cubicBezTo>
                <a:cubicBezTo>
                  <a:pt x="10281" y="6692"/>
                  <a:pt x="9406" y="7611"/>
                  <a:pt x="8339" y="7611"/>
                </a:cubicBezTo>
                <a:cubicBezTo>
                  <a:pt x="7820" y="7611"/>
                  <a:pt x="7328" y="7381"/>
                  <a:pt x="6972" y="7037"/>
                </a:cubicBezTo>
                <a:cubicBezTo>
                  <a:pt x="6808" y="7295"/>
                  <a:pt x="6699" y="7554"/>
                  <a:pt x="6589" y="7841"/>
                </a:cubicBezTo>
                <a:cubicBezTo>
                  <a:pt x="4894" y="7266"/>
                  <a:pt x="4894" y="7266"/>
                  <a:pt x="4894" y="7266"/>
                </a:cubicBezTo>
                <a:cubicBezTo>
                  <a:pt x="4949" y="7094"/>
                  <a:pt x="4949" y="6922"/>
                  <a:pt x="4949" y="6721"/>
                </a:cubicBezTo>
                <a:cubicBezTo>
                  <a:pt x="4949" y="5284"/>
                  <a:pt x="3855" y="4136"/>
                  <a:pt x="2488" y="4136"/>
                </a:cubicBezTo>
                <a:cubicBezTo>
                  <a:pt x="1121" y="4136"/>
                  <a:pt x="0" y="5284"/>
                  <a:pt x="0" y="6721"/>
                </a:cubicBezTo>
                <a:cubicBezTo>
                  <a:pt x="0" y="8186"/>
                  <a:pt x="1121" y="9334"/>
                  <a:pt x="2488" y="9334"/>
                </a:cubicBezTo>
                <a:cubicBezTo>
                  <a:pt x="3472" y="9334"/>
                  <a:pt x="4320" y="8703"/>
                  <a:pt x="4730" y="7812"/>
                </a:cubicBezTo>
                <a:cubicBezTo>
                  <a:pt x="6398" y="8387"/>
                  <a:pt x="6398" y="8387"/>
                  <a:pt x="6398" y="8387"/>
                </a:cubicBezTo>
                <a:cubicBezTo>
                  <a:pt x="6261" y="8846"/>
                  <a:pt x="6207" y="9306"/>
                  <a:pt x="6207" y="9794"/>
                </a:cubicBezTo>
                <a:cubicBezTo>
                  <a:pt x="6207" y="10570"/>
                  <a:pt x="6371" y="11316"/>
                  <a:pt x="6671" y="11977"/>
                </a:cubicBezTo>
                <a:cubicBezTo>
                  <a:pt x="4074" y="13729"/>
                  <a:pt x="4074" y="13729"/>
                  <a:pt x="4074" y="13729"/>
                </a:cubicBezTo>
                <a:cubicBezTo>
                  <a:pt x="3965" y="13614"/>
                  <a:pt x="3828" y="13528"/>
                  <a:pt x="3664" y="13471"/>
                </a:cubicBezTo>
                <a:cubicBezTo>
                  <a:pt x="3117" y="13298"/>
                  <a:pt x="2543" y="13643"/>
                  <a:pt x="2379" y="14217"/>
                </a:cubicBezTo>
                <a:cubicBezTo>
                  <a:pt x="2215" y="14792"/>
                  <a:pt x="2543" y="15395"/>
                  <a:pt x="3090" y="15567"/>
                </a:cubicBezTo>
                <a:cubicBezTo>
                  <a:pt x="3636" y="15740"/>
                  <a:pt x="4211" y="15395"/>
                  <a:pt x="4375" y="14821"/>
                </a:cubicBezTo>
                <a:cubicBezTo>
                  <a:pt x="4429" y="14620"/>
                  <a:pt x="4402" y="14390"/>
                  <a:pt x="4347" y="14189"/>
                </a:cubicBezTo>
                <a:cubicBezTo>
                  <a:pt x="6945" y="12494"/>
                  <a:pt x="6945" y="12494"/>
                  <a:pt x="6945" y="12494"/>
                </a:cubicBezTo>
                <a:cubicBezTo>
                  <a:pt x="7710" y="13787"/>
                  <a:pt x="8995" y="14677"/>
                  <a:pt x="10472" y="14849"/>
                </a:cubicBezTo>
                <a:cubicBezTo>
                  <a:pt x="10445" y="17262"/>
                  <a:pt x="10445" y="17262"/>
                  <a:pt x="10445" y="17262"/>
                </a:cubicBezTo>
                <a:cubicBezTo>
                  <a:pt x="10253" y="17291"/>
                  <a:pt x="10062" y="17348"/>
                  <a:pt x="9870" y="17463"/>
                </a:cubicBezTo>
                <a:cubicBezTo>
                  <a:pt x="8941" y="17951"/>
                  <a:pt x="8585" y="19129"/>
                  <a:pt x="9050" y="20106"/>
                </a:cubicBezTo>
                <a:cubicBezTo>
                  <a:pt x="9515" y="21054"/>
                  <a:pt x="10663" y="21427"/>
                  <a:pt x="11566" y="20939"/>
                </a:cubicBezTo>
                <a:cubicBezTo>
                  <a:pt x="12495" y="20450"/>
                  <a:pt x="12851" y="19273"/>
                  <a:pt x="12386" y="18296"/>
                </a:cubicBezTo>
                <a:cubicBezTo>
                  <a:pt x="12085" y="17722"/>
                  <a:pt x="11566" y="17348"/>
                  <a:pt x="10991" y="17262"/>
                </a:cubicBezTo>
                <a:cubicBezTo>
                  <a:pt x="11019" y="14907"/>
                  <a:pt x="11019" y="14907"/>
                  <a:pt x="11019" y="14907"/>
                </a:cubicBezTo>
                <a:cubicBezTo>
                  <a:pt x="11046" y="14907"/>
                  <a:pt x="11046" y="14907"/>
                  <a:pt x="11073" y="14907"/>
                </a:cubicBezTo>
                <a:cubicBezTo>
                  <a:pt x="13288" y="14907"/>
                  <a:pt x="15147" y="13356"/>
                  <a:pt x="15749" y="11201"/>
                </a:cubicBezTo>
                <a:cubicBezTo>
                  <a:pt x="18100" y="11833"/>
                  <a:pt x="18100" y="11833"/>
                  <a:pt x="18100" y="11833"/>
                </a:cubicBezTo>
                <a:cubicBezTo>
                  <a:pt x="18046" y="12666"/>
                  <a:pt x="18538" y="13442"/>
                  <a:pt x="19303" y="13672"/>
                </a:cubicBezTo>
                <a:cubicBezTo>
                  <a:pt x="20178" y="13930"/>
                  <a:pt x="21108" y="13384"/>
                  <a:pt x="21354" y="12465"/>
                </a:cubicBezTo>
                <a:cubicBezTo>
                  <a:pt x="21600" y="11546"/>
                  <a:pt x="21081" y="10570"/>
                  <a:pt x="20206" y="10311"/>
                </a:cubicBezTo>
                <a:close/>
                <a:moveTo>
                  <a:pt x="10308" y="13126"/>
                </a:moveTo>
                <a:cubicBezTo>
                  <a:pt x="8148" y="9536"/>
                  <a:pt x="8148" y="9536"/>
                  <a:pt x="8148" y="9536"/>
                </a:cubicBezTo>
                <a:cubicBezTo>
                  <a:pt x="9378" y="9536"/>
                  <a:pt x="9378" y="9536"/>
                  <a:pt x="9378" y="9536"/>
                </a:cubicBezTo>
                <a:cubicBezTo>
                  <a:pt x="10198" y="11230"/>
                  <a:pt x="10198" y="11230"/>
                  <a:pt x="10198" y="11230"/>
                </a:cubicBezTo>
                <a:cubicBezTo>
                  <a:pt x="10226" y="11230"/>
                  <a:pt x="10226" y="11230"/>
                  <a:pt x="10226" y="11230"/>
                </a:cubicBezTo>
                <a:cubicBezTo>
                  <a:pt x="12605" y="7381"/>
                  <a:pt x="12605" y="7381"/>
                  <a:pt x="12605" y="7381"/>
                </a:cubicBezTo>
                <a:cubicBezTo>
                  <a:pt x="13808" y="7381"/>
                  <a:pt x="13808" y="7381"/>
                  <a:pt x="13808" y="7381"/>
                </a:cubicBezTo>
                <a:lnTo>
                  <a:pt x="10308" y="13126"/>
                </a:ln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t">
            <a:noAutofit/>
          </a:bodyPr>
          <a:lstStyle/>
          <a:p>
            <a:pPr>
              <a:defRPr sz="3600" b="1"/>
            </a:pPr>
            <a:endParaRPr sz="1350"/>
          </a:p>
        </p:txBody>
      </p:sp>
      <p:sp>
        <p:nvSpPr>
          <p:cNvPr id="48" name="Titre 15"/>
          <p:cNvSpPr txBox="1">
            <a:spLocks/>
          </p:cNvSpPr>
          <p:nvPr/>
        </p:nvSpPr>
        <p:spPr>
          <a:xfrm>
            <a:off x="3802158" y="3838690"/>
            <a:ext cx="1885279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SDK Browser </a:t>
            </a:r>
            <a:r>
              <a:rPr lang="en-US" sz="1200" smtClean="0">
                <a:solidFill>
                  <a:srgbClr val="FFFFFF"/>
                </a:solidFill>
              </a:rPr>
              <a:t>&amp; Server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0" name="Titre 15"/>
          <p:cNvSpPr txBox="1">
            <a:spLocks/>
          </p:cNvSpPr>
          <p:nvPr/>
        </p:nvSpPr>
        <p:spPr>
          <a:xfrm>
            <a:off x="3802157" y="4210300"/>
            <a:ext cx="2000459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SDK IOS &amp; Android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3447586" y="3444290"/>
            <a:ext cx="2291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DISCOVER POSSIBILITIES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3" name="Oval 79"/>
          <p:cNvSpPr/>
          <p:nvPr/>
        </p:nvSpPr>
        <p:spPr>
          <a:xfrm>
            <a:off x="6989707" y="2500825"/>
            <a:ext cx="916401" cy="890193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4" name="Freeform 22"/>
          <p:cNvSpPr/>
          <p:nvPr/>
        </p:nvSpPr>
        <p:spPr>
          <a:xfrm>
            <a:off x="7196750" y="2663994"/>
            <a:ext cx="502314" cy="463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50" y="7706"/>
                </a:moveTo>
                <a:cubicBezTo>
                  <a:pt x="20688" y="7706"/>
                  <a:pt x="20559" y="7843"/>
                  <a:pt x="20430" y="7979"/>
                </a:cubicBezTo>
                <a:cubicBezTo>
                  <a:pt x="13921" y="7156"/>
                  <a:pt x="13921" y="7156"/>
                  <a:pt x="13921" y="7156"/>
                </a:cubicBezTo>
                <a:cubicBezTo>
                  <a:pt x="11060" y="1101"/>
                  <a:pt x="11060" y="1101"/>
                  <a:pt x="11060" y="1101"/>
                </a:cubicBezTo>
                <a:cubicBezTo>
                  <a:pt x="11060" y="960"/>
                  <a:pt x="11189" y="823"/>
                  <a:pt x="11189" y="687"/>
                </a:cubicBezTo>
                <a:cubicBezTo>
                  <a:pt x="11189" y="273"/>
                  <a:pt x="10927" y="0"/>
                  <a:pt x="10673" y="0"/>
                </a:cubicBezTo>
                <a:cubicBezTo>
                  <a:pt x="10282" y="0"/>
                  <a:pt x="10023" y="273"/>
                  <a:pt x="10023" y="550"/>
                </a:cubicBezTo>
                <a:cubicBezTo>
                  <a:pt x="10023" y="823"/>
                  <a:pt x="10152" y="960"/>
                  <a:pt x="10282" y="1101"/>
                </a:cubicBezTo>
                <a:cubicBezTo>
                  <a:pt x="9240" y="3439"/>
                  <a:pt x="9240" y="3439"/>
                  <a:pt x="9240" y="3439"/>
                </a:cubicBezTo>
                <a:cubicBezTo>
                  <a:pt x="9761" y="4404"/>
                  <a:pt x="9890" y="5505"/>
                  <a:pt x="9370" y="6601"/>
                </a:cubicBezTo>
                <a:cubicBezTo>
                  <a:pt x="8720" y="8257"/>
                  <a:pt x="6767" y="8944"/>
                  <a:pt x="5205" y="8257"/>
                </a:cubicBezTo>
                <a:cubicBezTo>
                  <a:pt x="4947" y="8116"/>
                  <a:pt x="4685" y="7979"/>
                  <a:pt x="4427" y="7706"/>
                </a:cubicBezTo>
                <a:cubicBezTo>
                  <a:pt x="1174" y="8257"/>
                  <a:pt x="1174" y="8257"/>
                  <a:pt x="1174" y="8257"/>
                </a:cubicBezTo>
                <a:cubicBezTo>
                  <a:pt x="1174" y="7979"/>
                  <a:pt x="912" y="7843"/>
                  <a:pt x="654" y="7706"/>
                </a:cubicBezTo>
                <a:cubicBezTo>
                  <a:pt x="391" y="7706"/>
                  <a:pt x="133" y="7979"/>
                  <a:pt x="0" y="8393"/>
                </a:cubicBezTo>
                <a:cubicBezTo>
                  <a:pt x="0" y="8666"/>
                  <a:pt x="262" y="9080"/>
                  <a:pt x="654" y="9080"/>
                </a:cubicBezTo>
                <a:cubicBezTo>
                  <a:pt x="783" y="9080"/>
                  <a:pt x="912" y="8944"/>
                  <a:pt x="912" y="8944"/>
                </a:cubicBezTo>
                <a:cubicBezTo>
                  <a:pt x="5597" y="13616"/>
                  <a:pt x="5597" y="13616"/>
                  <a:pt x="5597" y="13616"/>
                </a:cubicBezTo>
                <a:cubicBezTo>
                  <a:pt x="4556" y="20363"/>
                  <a:pt x="4556" y="20363"/>
                  <a:pt x="4556" y="20363"/>
                </a:cubicBezTo>
                <a:cubicBezTo>
                  <a:pt x="4298" y="20363"/>
                  <a:pt x="4035" y="20636"/>
                  <a:pt x="3906" y="20913"/>
                </a:cubicBezTo>
                <a:cubicBezTo>
                  <a:pt x="3906" y="21323"/>
                  <a:pt x="4164" y="21600"/>
                  <a:pt x="4556" y="21600"/>
                </a:cubicBezTo>
                <a:cubicBezTo>
                  <a:pt x="4818" y="21600"/>
                  <a:pt x="5076" y="21323"/>
                  <a:pt x="5205" y="20913"/>
                </a:cubicBezTo>
                <a:cubicBezTo>
                  <a:pt x="5205" y="20913"/>
                  <a:pt x="5205" y="20772"/>
                  <a:pt x="5076" y="20772"/>
                </a:cubicBezTo>
                <a:cubicBezTo>
                  <a:pt x="10802" y="17469"/>
                  <a:pt x="10802" y="17469"/>
                  <a:pt x="10802" y="17469"/>
                </a:cubicBezTo>
                <a:cubicBezTo>
                  <a:pt x="16653" y="20636"/>
                  <a:pt x="16653" y="20636"/>
                  <a:pt x="16653" y="20636"/>
                </a:cubicBezTo>
                <a:cubicBezTo>
                  <a:pt x="16653" y="20772"/>
                  <a:pt x="16653" y="20772"/>
                  <a:pt x="16653" y="20913"/>
                </a:cubicBezTo>
                <a:cubicBezTo>
                  <a:pt x="16653" y="21186"/>
                  <a:pt x="16915" y="21600"/>
                  <a:pt x="17173" y="21600"/>
                </a:cubicBezTo>
                <a:cubicBezTo>
                  <a:pt x="17565" y="21600"/>
                  <a:pt x="17827" y="21323"/>
                  <a:pt x="17827" y="20913"/>
                </a:cubicBezTo>
                <a:cubicBezTo>
                  <a:pt x="17827" y="20636"/>
                  <a:pt x="17565" y="20363"/>
                  <a:pt x="17307" y="20363"/>
                </a:cubicBezTo>
                <a:cubicBezTo>
                  <a:pt x="17173" y="20363"/>
                  <a:pt x="17173" y="20363"/>
                  <a:pt x="17044" y="20363"/>
                </a:cubicBezTo>
                <a:cubicBezTo>
                  <a:pt x="15874" y="13480"/>
                  <a:pt x="15874" y="13480"/>
                  <a:pt x="15874" y="13480"/>
                </a:cubicBezTo>
                <a:cubicBezTo>
                  <a:pt x="20430" y="8666"/>
                  <a:pt x="20430" y="8666"/>
                  <a:pt x="20430" y="8666"/>
                </a:cubicBezTo>
                <a:cubicBezTo>
                  <a:pt x="20559" y="8807"/>
                  <a:pt x="20688" y="8944"/>
                  <a:pt x="20950" y="8944"/>
                </a:cubicBezTo>
                <a:cubicBezTo>
                  <a:pt x="21209" y="8944"/>
                  <a:pt x="21471" y="8666"/>
                  <a:pt x="21600" y="8257"/>
                </a:cubicBezTo>
                <a:cubicBezTo>
                  <a:pt x="21600" y="7979"/>
                  <a:pt x="21338" y="7706"/>
                  <a:pt x="20950" y="7706"/>
                </a:cubicBezTo>
              </a:path>
            </a:pathLst>
          </a:custGeom>
          <a:solidFill>
            <a:srgbClr val="FFFFFF">
              <a:alpha val="85000"/>
            </a:srgbClr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ctr">
            <a:normAutofit/>
          </a:bodyPr>
          <a:lstStyle/>
          <a:p>
            <a:pPr>
              <a:spcBef>
                <a:spcPts val="0"/>
              </a:spcBef>
              <a:defRPr sz="4000">
                <a:latin typeface="Arial"/>
                <a:ea typeface="Arial"/>
                <a:cs typeface="Arial"/>
                <a:sym typeface="Arial"/>
              </a:defRPr>
            </a:pPr>
            <a:endParaRPr sz="1500"/>
          </a:p>
        </p:txBody>
      </p:sp>
      <p:sp>
        <p:nvSpPr>
          <p:cNvPr id="65" name="ZoneTexte 64"/>
          <p:cNvSpPr txBox="1"/>
          <p:nvPr/>
        </p:nvSpPr>
        <p:spPr>
          <a:xfrm>
            <a:off x="6291848" y="3444291"/>
            <a:ext cx="2312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LEVEL 1 OF ENGAGEMENT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6" name="Titre 15"/>
          <p:cNvSpPr txBox="1">
            <a:spLocks/>
          </p:cNvSpPr>
          <p:nvPr/>
        </p:nvSpPr>
        <p:spPr>
          <a:xfrm>
            <a:off x="6614502" y="3835304"/>
            <a:ext cx="2162143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Newsletter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68" name="Titre 15"/>
          <p:cNvSpPr txBox="1">
            <a:spLocks/>
          </p:cNvSpPr>
          <p:nvPr/>
        </p:nvSpPr>
        <p:spPr>
          <a:xfrm>
            <a:off x="6627109" y="4215508"/>
            <a:ext cx="1398687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Social Network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74" name="Straight Connector 112"/>
          <p:cNvSpPr/>
          <p:nvPr/>
        </p:nvSpPr>
        <p:spPr>
          <a:xfrm flipV="1">
            <a:off x="1764178" y="1546979"/>
            <a:ext cx="1732589" cy="1117015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5" name="Straight Connector 112"/>
          <p:cNvSpPr/>
          <p:nvPr/>
        </p:nvSpPr>
        <p:spPr>
          <a:xfrm flipH="1" flipV="1">
            <a:off x="4554702" y="1732163"/>
            <a:ext cx="6673" cy="681696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6" name="Straight Connector 112"/>
          <p:cNvSpPr/>
          <p:nvPr/>
        </p:nvSpPr>
        <p:spPr>
          <a:xfrm flipH="1" flipV="1">
            <a:off x="5560033" y="1527696"/>
            <a:ext cx="1534910" cy="1001489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2" name="Titre 15"/>
          <p:cNvSpPr txBox="1">
            <a:spLocks/>
          </p:cNvSpPr>
          <p:nvPr/>
        </p:nvSpPr>
        <p:spPr>
          <a:xfrm>
            <a:off x="3802157" y="4580819"/>
            <a:ext cx="2083253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REST APIs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cxnSp>
        <p:nvCxnSpPr>
          <p:cNvPr id="77" name="Connecteur droit 76"/>
          <p:cNvCxnSpPr/>
          <p:nvPr/>
        </p:nvCxnSpPr>
        <p:spPr bwMode="auto">
          <a:xfrm flipV="1">
            <a:off x="567458" y="3770581"/>
            <a:ext cx="1647918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8" name="Connecteur droit 77"/>
          <p:cNvCxnSpPr/>
          <p:nvPr/>
        </p:nvCxnSpPr>
        <p:spPr bwMode="auto">
          <a:xfrm flipV="1">
            <a:off x="3880919" y="3779879"/>
            <a:ext cx="1424494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9" name="Connecteur droit 78"/>
          <p:cNvCxnSpPr/>
          <p:nvPr/>
        </p:nvCxnSpPr>
        <p:spPr bwMode="auto">
          <a:xfrm flipV="1">
            <a:off x="6697039" y="3783212"/>
            <a:ext cx="1424494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38" name="Group 4"/>
          <p:cNvGrpSpPr/>
          <p:nvPr/>
        </p:nvGrpSpPr>
        <p:grpSpPr>
          <a:xfrm>
            <a:off x="4209129" y="523021"/>
            <a:ext cx="578966" cy="578966"/>
            <a:chOff x="4365077" y="544671"/>
            <a:chExt cx="1238248" cy="1238248"/>
          </a:xfrm>
        </p:grpSpPr>
        <p:sp>
          <p:nvSpPr>
            <p:cNvPr id="39" name="Oval 18"/>
            <p:cNvSpPr/>
            <p:nvPr/>
          </p:nvSpPr>
          <p:spPr>
            <a:xfrm>
              <a:off x="4365077" y="544671"/>
              <a:ext cx="1238248" cy="1238248"/>
            </a:xfrm>
            <a:prstGeom prst="ellipse">
              <a:avLst/>
            </a:prstGeom>
            <a:solidFill>
              <a:schemeClr val="accent5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1" name="Oval 23"/>
            <p:cNvSpPr/>
            <p:nvPr/>
          </p:nvSpPr>
          <p:spPr>
            <a:xfrm>
              <a:off x="4501382" y="680976"/>
              <a:ext cx="964237" cy="964237"/>
            </a:xfrm>
            <a:prstGeom prst="ellipse">
              <a:avLst/>
            </a:prstGeom>
            <a:solidFill>
              <a:schemeClr val="accent5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2" name="TextBox 26"/>
            <p:cNvSpPr txBox="1"/>
            <p:nvPr/>
          </p:nvSpPr>
          <p:spPr>
            <a:xfrm>
              <a:off x="4398751" y="716269"/>
              <a:ext cx="1151234" cy="430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1</a:t>
              </a:r>
            </a:p>
          </p:txBody>
        </p:sp>
      </p:grpSp>
      <p:sp>
        <p:nvSpPr>
          <p:cNvPr id="47" name="Titre 15"/>
          <p:cNvSpPr txBox="1">
            <a:spLocks/>
          </p:cNvSpPr>
          <p:nvPr/>
        </p:nvSpPr>
        <p:spPr>
          <a:xfrm>
            <a:off x="661879" y="176957"/>
            <a:ext cx="5134433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REGISTER A DEVELOPER ACCOUNT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43" name="Group 4"/>
          <p:cNvGrpSpPr/>
          <p:nvPr/>
        </p:nvGrpSpPr>
        <p:grpSpPr>
          <a:xfrm>
            <a:off x="84844" y="71930"/>
            <a:ext cx="578966" cy="578966"/>
            <a:chOff x="4365077" y="544671"/>
            <a:chExt cx="1238248" cy="1238248"/>
          </a:xfrm>
        </p:grpSpPr>
        <p:sp>
          <p:nvSpPr>
            <p:cNvPr id="44" name="Oval 18"/>
            <p:cNvSpPr/>
            <p:nvPr/>
          </p:nvSpPr>
          <p:spPr>
            <a:xfrm>
              <a:off x="4365077" y="544671"/>
              <a:ext cx="1238248" cy="1238248"/>
            </a:xfrm>
            <a:prstGeom prst="ellipse">
              <a:avLst/>
            </a:prstGeom>
            <a:solidFill>
              <a:schemeClr val="accent5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9" name="Oval 23"/>
            <p:cNvSpPr/>
            <p:nvPr/>
          </p:nvSpPr>
          <p:spPr>
            <a:xfrm>
              <a:off x="4501382" y="680976"/>
              <a:ext cx="964237" cy="964237"/>
            </a:xfrm>
            <a:prstGeom prst="ellipse">
              <a:avLst/>
            </a:prstGeom>
            <a:solidFill>
              <a:schemeClr val="accent5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51" name="TextBox 26"/>
            <p:cNvSpPr txBox="1"/>
            <p:nvPr/>
          </p:nvSpPr>
          <p:spPr>
            <a:xfrm>
              <a:off x="4398751" y="716269"/>
              <a:ext cx="1151234" cy="430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9757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val 13"/>
          <p:cNvSpPr>
            <a:spLocks noChangeAspect="1"/>
          </p:cNvSpPr>
          <p:nvPr/>
        </p:nvSpPr>
        <p:spPr>
          <a:xfrm>
            <a:off x="4722524" y="893787"/>
            <a:ext cx="4079829" cy="3977825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41" name="Oval 13"/>
          <p:cNvSpPr>
            <a:spLocks noChangeAspect="1"/>
          </p:cNvSpPr>
          <p:nvPr/>
        </p:nvSpPr>
        <p:spPr>
          <a:xfrm>
            <a:off x="332398" y="893788"/>
            <a:ext cx="4079829" cy="3977825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47" name="Titre 15"/>
          <p:cNvSpPr txBox="1">
            <a:spLocks/>
          </p:cNvSpPr>
          <p:nvPr/>
        </p:nvSpPr>
        <p:spPr>
          <a:xfrm>
            <a:off x="664913" y="176438"/>
            <a:ext cx="8224204" cy="32184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1800" b="0" dirty="0" smtClean="0">
                <a:solidFill>
                  <a:schemeClr val="bg1"/>
                </a:solidFill>
                <a:latin typeface="+mj-lt"/>
              </a:rPr>
              <a:t>DISCOVER SDK &amp; APIS</a:t>
            </a:r>
            <a:endParaRPr lang="en-US" sz="1800" b="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69" name="Group 4"/>
          <p:cNvGrpSpPr/>
          <p:nvPr/>
        </p:nvGrpSpPr>
        <p:grpSpPr>
          <a:xfrm>
            <a:off x="86400" y="72000"/>
            <a:ext cx="578966" cy="578966"/>
            <a:chOff x="4365077" y="544671"/>
            <a:chExt cx="1238248" cy="1238248"/>
          </a:xfrm>
        </p:grpSpPr>
        <p:sp>
          <p:nvSpPr>
            <p:cNvPr id="74" name="Oval 18"/>
            <p:cNvSpPr/>
            <p:nvPr/>
          </p:nvSpPr>
          <p:spPr>
            <a:xfrm>
              <a:off x="4365077" y="544671"/>
              <a:ext cx="1238248" cy="1238248"/>
            </a:xfrm>
            <a:prstGeom prst="ellipse">
              <a:avLst/>
            </a:prstGeom>
            <a:solidFill>
              <a:schemeClr val="accent5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5" name="Oval 23"/>
            <p:cNvSpPr/>
            <p:nvPr/>
          </p:nvSpPr>
          <p:spPr>
            <a:xfrm>
              <a:off x="4501382" y="680976"/>
              <a:ext cx="964237" cy="964237"/>
            </a:xfrm>
            <a:prstGeom prst="ellipse">
              <a:avLst/>
            </a:prstGeom>
            <a:solidFill>
              <a:schemeClr val="accent5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6" name="TextBox 26"/>
            <p:cNvSpPr txBox="1"/>
            <p:nvPr/>
          </p:nvSpPr>
          <p:spPr>
            <a:xfrm>
              <a:off x="4398751" y="716269"/>
              <a:ext cx="1151234" cy="430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1</a:t>
              </a:r>
            </a:p>
          </p:txBody>
        </p:sp>
      </p:grpSp>
      <p:pic>
        <p:nvPicPr>
          <p:cNvPr id="11" name="Image 10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1192196" y="2022767"/>
            <a:ext cx="946150" cy="10985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1190590" y="2054363"/>
            <a:ext cx="94615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NODE</a:t>
            </a:r>
            <a:endParaRPr lang="fr-FR" sz="1000" dirty="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2448643" y="2022767"/>
            <a:ext cx="946150" cy="10985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16" name="Rectangle 15"/>
          <p:cNvSpPr/>
          <p:nvPr/>
        </p:nvSpPr>
        <p:spPr>
          <a:xfrm>
            <a:off x="2440551" y="2054363"/>
            <a:ext cx="94615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WEB</a:t>
            </a:r>
            <a:endParaRPr lang="fr-FR" sz="1000" dirty="0"/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1192196" y="3301515"/>
            <a:ext cx="946150" cy="10985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21" name="Rectangle 20"/>
          <p:cNvSpPr/>
          <p:nvPr/>
        </p:nvSpPr>
        <p:spPr>
          <a:xfrm>
            <a:off x="1186783" y="3292892"/>
            <a:ext cx="9499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ANDROID</a:t>
            </a:r>
            <a:endParaRPr lang="fr-FR" sz="1000" dirty="0"/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6975440" y="2022767"/>
            <a:ext cx="946150" cy="10985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26" name="Rectangle 25"/>
          <p:cNvSpPr/>
          <p:nvPr/>
        </p:nvSpPr>
        <p:spPr>
          <a:xfrm>
            <a:off x="6978996" y="2048203"/>
            <a:ext cx="9461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RAINBOW CLI</a:t>
            </a:r>
            <a:endParaRPr lang="fr-FR" sz="1000" dirty="0"/>
          </a:p>
        </p:txBody>
      </p:sp>
      <p:pic>
        <p:nvPicPr>
          <p:cNvPr id="29" name="Image 28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2454056" y="3301515"/>
            <a:ext cx="946150" cy="10985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30" name="Rectangle 29"/>
          <p:cNvSpPr/>
          <p:nvPr/>
        </p:nvSpPr>
        <p:spPr>
          <a:xfrm>
            <a:off x="2448643" y="3299204"/>
            <a:ext cx="94615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IOS</a:t>
            </a:r>
            <a:endParaRPr lang="fr-FR" sz="10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8009" y="2449352"/>
            <a:ext cx="351233" cy="351233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9429" y="2449352"/>
            <a:ext cx="351233" cy="351233"/>
          </a:xfrm>
          <a:prstGeom prst="rect">
            <a:avLst/>
          </a:prstGeom>
        </p:spPr>
      </p:pic>
      <p:pic>
        <p:nvPicPr>
          <p:cNvPr id="34" name="Image 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2898" y="2473749"/>
            <a:ext cx="351233" cy="351233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5713580" y="2022767"/>
            <a:ext cx="946150" cy="109855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5713873" y="2066178"/>
            <a:ext cx="94615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REST API</a:t>
            </a:r>
            <a:endParaRPr lang="fr-FR" sz="1000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3455" y="2443814"/>
            <a:ext cx="406400" cy="4064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2665" y="3701625"/>
            <a:ext cx="455205" cy="455205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51505" y="3616404"/>
            <a:ext cx="540426" cy="540426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1194874" y="1141256"/>
            <a:ext cx="21999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  <a:latin typeface="Trebuchet MS" pitchFamily="34" charset="0"/>
              </a:rPr>
              <a:t>FOR END CUSTOMER APPLICATIONS</a:t>
            </a:r>
          </a:p>
        </p:txBody>
      </p:sp>
      <p:sp>
        <p:nvSpPr>
          <p:cNvPr id="40" name="ZoneTexte 39"/>
          <p:cNvSpPr txBox="1"/>
          <p:nvPr/>
        </p:nvSpPr>
        <p:spPr>
          <a:xfrm>
            <a:off x="5713580" y="1141256"/>
            <a:ext cx="21999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  <a:latin typeface="Trebuchet MS" pitchFamily="34" charset="0"/>
              </a:rPr>
              <a:t>FOR PROVISIONNING AND MANAGEMENT</a:t>
            </a:r>
          </a:p>
        </p:txBody>
      </p:sp>
    </p:spTree>
    <p:extLst>
      <p:ext uri="{BB962C8B-B14F-4D97-AF65-F5344CB8AC3E}">
        <p14:creationId xmlns:p14="http://schemas.microsoft.com/office/powerpoint/2010/main" val="148950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64711" y="170260"/>
            <a:ext cx="7065093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PRE-REQUISITES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256250"/>
              </p:ext>
            </p:extLst>
          </p:nvPr>
        </p:nvGraphicFramePr>
        <p:xfrm>
          <a:off x="172666" y="681540"/>
          <a:ext cx="8772552" cy="302115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82605"/>
                <a:gridCol w="1559379"/>
                <a:gridCol w="1445079"/>
                <a:gridCol w="1477735"/>
                <a:gridCol w="1510393"/>
                <a:gridCol w="1597361"/>
              </a:tblGrid>
              <a:tr h="442546">
                <a:tc gridSpan="5"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BUILD END-CUSTOMERS APPLICATIONS</a:t>
                      </a:r>
                      <a:endParaRPr lang="fr-FR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fr-FR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OPERATE WITH RAINBOW</a:t>
                      </a:r>
                      <a:endParaRPr lang="fr-FR" sz="1100" dirty="0"/>
                    </a:p>
                  </a:txBody>
                  <a:tcPr/>
                </a:tc>
              </a:tr>
              <a:tr h="384593">
                <a:tc>
                  <a:txBody>
                    <a:bodyPr/>
                    <a:lstStyle/>
                    <a:p>
                      <a:pPr algn="r"/>
                      <a:r>
                        <a:rPr lang="fr-FR" sz="110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KILLS</a:t>
                      </a:r>
                      <a:endParaRPr lang="fr-FR" sz="900" b="1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</a:t>
                      </a:r>
                      <a:r>
                        <a:rPr lang="fr-FR" sz="1100" b="1" baseline="0" dirty="0" smtClean="0">
                          <a:solidFill>
                            <a:schemeClr val="accent6"/>
                          </a:solidFill>
                        </a:rPr>
                        <a:t> WEB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 NODE.JS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 ANDROID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 IOS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REST API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</a:tr>
              <a:tr h="410935">
                <a:tc>
                  <a:txBody>
                    <a:bodyPr/>
                    <a:lstStyle/>
                    <a:p>
                      <a:pPr marL="0" algn="r" defTabSz="696777" rtl="0" eaLnBrk="1" latinLnBrk="0" hangingPunct="1"/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VELOPER</a:t>
                      </a:r>
                      <a:endParaRPr lang="fr-FR" sz="9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ront-End Web 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fr-FR" sz="9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ack-End Application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OT</a:t>
                      </a:r>
                      <a:endParaRPr lang="fr-FR" sz="9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ative Android 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fr-FR" sz="9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ative IOS 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fr-FR" sz="9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visionning</a:t>
                      </a: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nd Administrative</a:t>
                      </a:r>
                      <a:endParaRPr lang="fr-FR" sz="9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10935">
                <a:tc>
                  <a:txBody>
                    <a:bodyPr/>
                    <a:lstStyle/>
                    <a:p>
                      <a:pPr algn="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DEVELOPMENT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Front-End </a:t>
                      </a: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Web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development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kills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Back-End</a:t>
                      </a: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Node.J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development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kills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droid </a:t>
                      </a:r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velopment</a:t>
                      </a:r>
                      <a:endParaRPr lang="fr-FR" sz="900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696777" rtl="0" eaLnBrk="1" latinLnBrk="0" hangingPunct="1"/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kills</a:t>
                      </a:r>
                      <a:endParaRPr lang="fr-FR" sz="900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OS </a:t>
                      </a:r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velopment</a:t>
                      </a:r>
                      <a:endParaRPr lang="fr-FR" sz="900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696777" rtl="0" eaLnBrk="1" latinLnBrk="0" hangingPunct="1"/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kills</a:t>
                      </a:r>
                      <a:endParaRPr lang="fr-FR" sz="900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ST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API</a:t>
                      </a:r>
                    </a:p>
                    <a:p>
                      <a:pPr algn="ctr"/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kills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410935">
                <a:tc>
                  <a:txBody>
                    <a:bodyPr/>
                    <a:lstStyle/>
                    <a:p>
                      <a:pPr algn="r"/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TECHNICAL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JavaScript</a:t>
                      </a:r>
                    </a:p>
                    <a:p>
                      <a:pPr algn="ctr"/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HTML 5</a:t>
                      </a:r>
                      <a:b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SS 3</a:t>
                      </a:r>
                    </a:p>
                    <a:p>
                      <a:pPr algn="ctr"/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ngular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(</a:t>
                      </a:r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amples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JavaScrip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Java Andro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bjective 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-</a:t>
                      </a:r>
                    </a:p>
                  </a:txBody>
                  <a:tcPr anchor="ctr"/>
                </a:tc>
              </a:tr>
              <a:tr h="410935">
                <a:tc>
                  <a:txBody>
                    <a:bodyPr/>
                    <a:lstStyle/>
                    <a:p>
                      <a:pPr algn="r"/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ENVIRONMENT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Visual Studio Code </a:t>
                      </a:r>
                    </a:p>
                    <a:p>
                      <a:pPr algn="ctr"/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or </a:t>
                      </a:r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equivalent</a:t>
                      </a:r>
                      <a:endParaRPr lang="fr-FR" sz="900" baseline="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+</a:t>
                      </a:r>
                    </a:p>
                    <a:p>
                      <a:pPr algn="ctr"/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 Web serv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Visual Studio Code </a:t>
                      </a:r>
                    </a:p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or </a:t>
                      </a:r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equivalent</a:t>
                      </a:r>
                      <a:endParaRPr lang="fr-FR" sz="900" baseline="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droid Studio</a:t>
                      </a:r>
                      <a:b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</a:p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droid </a:t>
                      </a:r>
                      <a:r>
                        <a:rPr lang="fr-FR" sz="900" kern="12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vice</a:t>
                      </a: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kern="12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Xcode</a:t>
                      </a:r>
                      <a:endParaRPr lang="fr-FR" sz="900" kern="1200" baseline="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</a:p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OS </a:t>
                      </a:r>
                      <a:r>
                        <a:rPr lang="fr-FR" sz="900" kern="12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vice</a:t>
                      </a:r>
                      <a:r>
                        <a:rPr lang="fr-FR" sz="9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Depending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on </a:t>
                      </a:r>
                    </a:p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technology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used</a:t>
                      </a:r>
                      <a:endParaRPr lang="fr-FR" sz="900" baseline="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86400" y="71930"/>
            <a:ext cx="578966" cy="578966"/>
            <a:chOff x="4365077" y="544671"/>
            <a:chExt cx="1238248" cy="1238248"/>
          </a:xfrm>
        </p:grpSpPr>
        <p:sp>
          <p:nvSpPr>
            <p:cNvPr id="6" name="Oval 18"/>
            <p:cNvSpPr/>
            <p:nvPr/>
          </p:nvSpPr>
          <p:spPr>
            <a:xfrm>
              <a:off x="4365077" y="544671"/>
              <a:ext cx="1238248" cy="1238248"/>
            </a:xfrm>
            <a:prstGeom prst="ellipse">
              <a:avLst/>
            </a:prstGeom>
            <a:solidFill>
              <a:schemeClr val="accent5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" name="Oval 23"/>
            <p:cNvSpPr/>
            <p:nvPr/>
          </p:nvSpPr>
          <p:spPr>
            <a:xfrm>
              <a:off x="4501382" y="680976"/>
              <a:ext cx="964237" cy="964237"/>
            </a:xfrm>
            <a:prstGeom prst="ellipse">
              <a:avLst/>
            </a:prstGeom>
            <a:solidFill>
              <a:schemeClr val="accent5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8" name="TextBox 26"/>
            <p:cNvSpPr txBox="1"/>
            <p:nvPr/>
          </p:nvSpPr>
          <p:spPr>
            <a:xfrm>
              <a:off x="4398751" y="716269"/>
              <a:ext cx="1151234" cy="430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482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Oval 13"/>
          <p:cNvSpPr>
            <a:spLocks noChangeAspect="1"/>
          </p:cNvSpPr>
          <p:nvPr/>
        </p:nvSpPr>
        <p:spPr>
          <a:xfrm>
            <a:off x="5270155" y="961145"/>
            <a:ext cx="3524344" cy="3514132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136" name="Oval 13"/>
          <p:cNvSpPr>
            <a:spLocks noChangeAspect="1"/>
          </p:cNvSpPr>
          <p:nvPr/>
        </p:nvSpPr>
        <p:spPr>
          <a:xfrm>
            <a:off x="6183187" y="1424533"/>
            <a:ext cx="2594359" cy="2529495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47" name="Titre 15"/>
          <p:cNvSpPr txBox="1">
            <a:spLocks/>
          </p:cNvSpPr>
          <p:nvPr/>
        </p:nvSpPr>
        <p:spPr>
          <a:xfrm>
            <a:off x="664913" y="176438"/>
            <a:ext cx="8224204" cy="32184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1800" b="0" dirty="0" smtClean="0">
                <a:solidFill>
                  <a:schemeClr val="bg1"/>
                </a:solidFill>
                <a:latin typeface="+mj-lt"/>
              </a:rPr>
              <a:t>BECOME A DEVELOPER</a:t>
            </a:r>
            <a:endParaRPr lang="en-US" sz="1800" b="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69" name="Group 4"/>
          <p:cNvGrpSpPr/>
          <p:nvPr/>
        </p:nvGrpSpPr>
        <p:grpSpPr>
          <a:xfrm>
            <a:off x="86400" y="72000"/>
            <a:ext cx="578966" cy="578966"/>
            <a:chOff x="4365077" y="544671"/>
            <a:chExt cx="1238248" cy="1238248"/>
          </a:xfrm>
        </p:grpSpPr>
        <p:sp>
          <p:nvSpPr>
            <p:cNvPr id="74" name="Oval 18"/>
            <p:cNvSpPr/>
            <p:nvPr/>
          </p:nvSpPr>
          <p:spPr>
            <a:xfrm>
              <a:off x="4365077" y="544671"/>
              <a:ext cx="1238248" cy="1238248"/>
            </a:xfrm>
            <a:prstGeom prst="ellipse">
              <a:avLst/>
            </a:prstGeom>
            <a:solidFill>
              <a:schemeClr val="accent5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5" name="Oval 23"/>
            <p:cNvSpPr/>
            <p:nvPr/>
          </p:nvSpPr>
          <p:spPr>
            <a:xfrm>
              <a:off x="4501382" y="680976"/>
              <a:ext cx="964237" cy="964237"/>
            </a:xfrm>
            <a:prstGeom prst="ellipse">
              <a:avLst/>
            </a:prstGeom>
            <a:solidFill>
              <a:schemeClr val="accent5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6" name="TextBox 26"/>
            <p:cNvSpPr txBox="1"/>
            <p:nvPr/>
          </p:nvSpPr>
          <p:spPr>
            <a:xfrm>
              <a:off x="4398751" y="716269"/>
              <a:ext cx="1151234" cy="430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1</a:t>
              </a:r>
            </a:p>
          </p:txBody>
        </p:sp>
      </p:grpSp>
      <p:grpSp>
        <p:nvGrpSpPr>
          <p:cNvPr id="65" name="Groupe 18"/>
          <p:cNvGrpSpPr/>
          <p:nvPr/>
        </p:nvGrpSpPr>
        <p:grpSpPr>
          <a:xfrm>
            <a:off x="3650549" y="2504748"/>
            <a:ext cx="410703" cy="390943"/>
            <a:chOff x="7275806" y="2844969"/>
            <a:chExt cx="590592" cy="640848"/>
          </a:xfrm>
          <a:solidFill>
            <a:schemeClr val="accent3"/>
          </a:solidFill>
        </p:grpSpPr>
        <p:sp>
          <p:nvSpPr>
            <p:cNvPr id="70" name="Oval 184"/>
            <p:cNvSpPr>
              <a:spLocks noChangeArrowheads="1"/>
            </p:cNvSpPr>
            <p:nvPr/>
          </p:nvSpPr>
          <p:spPr bwMode="auto">
            <a:xfrm>
              <a:off x="7336131" y="2847303"/>
              <a:ext cx="141288" cy="141287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71" name="Oval 189"/>
            <p:cNvSpPr>
              <a:spLocks noChangeArrowheads="1"/>
            </p:cNvSpPr>
            <p:nvPr/>
          </p:nvSpPr>
          <p:spPr bwMode="auto">
            <a:xfrm>
              <a:off x="7677486" y="2844969"/>
              <a:ext cx="142875" cy="1412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72" name="Freeform 183"/>
            <p:cNvSpPr>
              <a:spLocks/>
            </p:cNvSpPr>
            <p:nvPr/>
          </p:nvSpPr>
          <p:spPr bwMode="auto">
            <a:xfrm>
              <a:off x="7278206" y="3010798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73" name="Freeform 182"/>
            <p:cNvSpPr>
              <a:spLocks/>
            </p:cNvSpPr>
            <p:nvPr/>
          </p:nvSpPr>
          <p:spPr bwMode="auto">
            <a:xfrm>
              <a:off x="7275806" y="2965436"/>
              <a:ext cx="261938" cy="514350"/>
            </a:xfrm>
            <a:custGeom>
              <a:avLst/>
              <a:gdLst>
                <a:gd name="T0" fmla="*/ 78 w 92"/>
                <a:gd name="T1" fmla="*/ 79 h 182"/>
                <a:gd name="T2" fmla="*/ 86 w 92"/>
                <a:gd name="T3" fmla="*/ 59 h 182"/>
                <a:gd name="T4" fmla="*/ 86 w 92"/>
                <a:gd name="T5" fmla="*/ 29 h 182"/>
                <a:gd name="T6" fmla="*/ 86 w 92"/>
                <a:gd name="T7" fmla="*/ 24 h 182"/>
                <a:gd name="T8" fmla="*/ 65 w 92"/>
                <a:gd name="T9" fmla="*/ 1 h 182"/>
                <a:gd name="T10" fmla="*/ 57 w 92"/>
                <a:gd name="T11" fmla="*/ 0 h 182"/>
                <a:gd name="T12" fmla="*/ 36 w 92"/>
                <a:gd name="T13" fmla="*/ 0 h 182"/>
                <a:gd name="T14" fmla="*/ 17 w 92"/>
                <a:gd name="T15" fmla="*/ 7 h 182"/>
                <a:gd name="T16" fmla="*/ 18 w 92"/>
                <a:gd name="T17" fmla="*/ 8 h 182"/>
                <a:gd name="T18" fmla="*/ 32 w 92"/>
                <a:gd name="T19" fmla="*/ 19 h 182"/>
                <a:gd name="T20" fmla="*/ 22 w 92"/>
                <a:gd name="T21" fmla="*/ 52 h 182"/>
                <a:gd name="T22" fmla="*/ 7 w 92"/>
                <a:gd name="T23" fmla="*/ 54 h 182"/>
                <a:gd name="T24" fmla="*/ 7 w 92"/>
                <a:gd name="T25" fmla="*/ 59 h 182"/>
                <a:gd name="T26" fmla="*/ 14 w 92"/>
                <a:gd name="T27" fmla="*/ 79 h 182"/>
                <a:gd name="T28" fmla="*/ 0 w 92"/>
                <a:gd name="T29" fmla="*/ 130 h 182"/>
                <a:gd name="T30" fmla="*/ 3 w 92"/>
                <a:gd name="T31" fmla="*/ 134 h 182"/>
                <a:gd name="T32" fmla="*/ 21 w 92"/>
                <a:gd name="T33" fmla="*/ 134 h 182"/>
                <a:gd name="T34" fmla="*/ 21 w 92"/>
                <a:gd name="T35" fmla="*/ 179 h 182"/>
                <a:gd name="T36" fmla="*/ 25 w 92"/>
                <a:gd name="T37" fmla="*/ 182 h 182"/>
                <a:gd name="T38" fmla="*/ 68 w 92"/>
                <a:gd name="T39" fmla="*/ 182 h 182"/>
                <a:gd name="T40" fmla="*/ 72 w 92"/>
                <a:gd name="T41" fmla="*/ 179 h 182"/>
                <a:gd name="T42" fmla="*/ 72 w 92"/>
                <a:gd name="T43" fmla="*/ 134 h 182"/>
                <a:gd name="T44" fmla="*/ 89 w 92"/>
                <a:gd name="T45" fmla="*/ 134 h 182"/>
                <a:gd name="T46" fmla="*/ 92 w 92"/>
                <a:gd name="T47" fmla="*/ 130 h 182"/>
                <a:gd name="T48" fmla="*/ 78 w 92"/>
                <a:gd name="T49" fmla="*/ 7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2" h="182">
                  <a:moveTo>
                    <a:pt x="78" y="79"/>
                  </a:moveTo>
                  <a:cubicBezTo>
                    <a:pt x="83" y="74"/>
                    <a:pt x="86" y="67"/>
                    <a:pt x="86" y="5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7"/>
                    <a:pt x="86" y="26"/>
                    <a:pt x="86" y="24"/>
                  </a:cubicBezTo>
                  <a:cubicBezTo>
                    <a:pt x="84" y="17"/>
                    <a:pt x="81" y="6"/>
                    <a:pt x="65" y="1"/>
                  </a:cubicBezTo>
                  <a:cubicBezTo>
                    <a:pt x="62" y="0"/>
                    <a:pt x="60" y="0"/>
                    <a:pt x="5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9" y="0"/>
                    <a:pt x="22" y="3"/>
                    <a:pt x="17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24" y="9"/>
                    <a:pt x="29" y="13"/>
                    <a:pt x="32" y="19"/>
                  </a:cubicBezTo>
                  <a:cubicBezTo>
                    <a:pt x="38" y="31"/>
                    <a:pt x="34" y="45"/>
                    <a:pt x="22" y="52"/>
                  </a:cubicBezTo>
                  <a:cubicBezTo>
                    <a:pt x="17" y="54"/>
                    <a:pt x="12" y="55"/>
                    <a:pt x="7" y="54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7"/>
                    <a:pt x="9" y="73"/>
                    <a:pt x="14" y="7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2"/>
                    <a:pt x="2" y="134"/>
                    <a:pt x="3" y="134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1" y="181"/>
                    <a:pt x="23" y="182"/>
                    <a:pt x="25" y="182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70" y="182"/>
                    <a:pt x="72" y="181"/>
                    <a:pt x="72" y="179"/>
                  </a:cubicBezTo>
                  <a:cubicBezTo>
                    <a:pt x="72" y="134"/>
                    <a:pt x="72" y="134"/>
                    <a:pt x="72" y="134"/>
                  </a:cubicBezTo>
                  <a:cubicBezTo>
                    <a:pt x="89" y="134"/>
                    <a:pt x="89" y="134"/>
                    <a:pt x="89" y="134"/>
                  </a:cubicBezTo>
                  <a:cubicBezTo>
                    <a:pt x="91" y="134"/>
                    <a:pt x="92" y="132"/>
                    <a:pt x="92" y="130"/>
                  </a:cubicBezTo>
                  <a:lnTo>
                    <a:pt x="78" y="7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79" name="Freeform 188"/>
            <p:cNvSpPr>
              <a:spLocks/>
            </p:cNvSpPr>
            <p:nvPr/>
          </p:nvSpPr>
          <p:spPr bwMode="auto">
            <a:xfrm>
              <a:off x="7640973" y="2971467"/>
              <a:ext cx="225425" cy="514350"/>
            </a:xfrm>
            <a:custGeom>
              <a:avLst/>
              <a:gdLst>
                <a:gd name="T0" fmla="*/ 79 w 79"/>
                <a:gd name="T1" fmla="*/ 24 h 182"/>
                <a:gd name="T2" fmla="*/ 58 w 79"/>
                <a:gd name="T3" fmla="*/ 1 h 182"/>
                <a:gd name="T4" fmla="*/ 50 w 79"/>
                <a:gd name="T5" fmla="*/ 0 h 182"/>
                <a:gd name="T6" fmla="*/ 29 w 79"/>
                <a:gd name="T7" fmla="*/ 0 h 182"/>
                <a:gd name="T8" fmla="*/ 24 w 79"/>
                <a:gd name="T9" fmla="*/ 0 h 182"/>
                <a:gd name="T10" fmla="*/ 22 w 79"/>
                <a:gd name="T11" fmla="*/ 1 h 182"/>
                <a:gd name="T12" fmla="*/ 21 w 79"/>
                <a:gd name="T13" fmla="*/ 1 h 182"/>
                <a:gd name="T14" fmla="*/ 20 w 79"/>
                <a:gd name="T15" fmla="*/ 1 h 182"/>
                <a:gd name="T16" fmla="*/ 17 w 79"/>
                <a:gd name="T17" fmla="*/ 3 h 182"/>
                <a:gd name="T18" fmla="*/ 15 w 79"/>
                <a:gd name="T19" fmla="*/ 4 h 182"/>
                <a:gd name="T20" fmla="*/ 13 w 79"/>
                <a:gd name="T21" fmla="*/ 5 h 182"/>
                <a:gd name="T22" fmla="*/ 10 w 79"/>
                <a:gd name="T23" fmla="*/ 7 h 182"/>
                <a:gd name="T24" fmla="*/ 25 w 79"/>
                <a:gd name="T25" fmla="*/ 18 h 182"/>
                <a:gd name="T26" fmla="*/ 15 w 79"/>
                <a:gd name="T27" fmla="*/ 51 h 182"/>
                <a:gd name="T28" fmla="*/ 0 w 79"/>
                <a:gd name="T29" fmla="*/ 54 h 182"/>
                <a:gd name="T30" fmla="*/ 0 w 79"/>
                <a:gd name="T31" fmla="*/ 71 h 182"/>
                <a:gd name="T32" fmla="*/ 14 w 79"/>
                <a:gd name="T33" fmla="*/ 97 h 182"/>
                <a:gd name="T34" fmla="*/ 14 w 79"/>
                <a:gd name="T35" fmla="*/ 179 h 182"/>
                <a:gd name="T36" fmla="*/ 17 w 79"/>
                <a:gd name="T37" fmla="*/ 182 h 182"/>
                <a:gd name="T38" fmla="*/ 61 w 79"/>
                <a:gd name="T39" fmla="*/ 182 h 182"/>
                <a:gd name="T40" fmla="*/ 65 w 79"/>
                <a:gd name="T41" fmla="*/ 179 h 182"/>
                <a:gd name="T42" fmla="*/ 65 w 79"/>
                <a:gd name="T43" fmla="*/ 97 h 182"/>
                <a:gd name="T44" fmla="*/ 79 w 79"/>
                <a:gd name="T45" fmla="*/ 71 h 182"/>
                <a:gd name="T46" fmla="*/ 79 w 79"/>
                <a:gd name="T47" fmla="*/ 29 h 182"/>
                <a:gd name="T48" fmla="*/ 79 w 79"/>
                <a:gd name="T49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182">
                  <a:moveTo>
                    <a:pt x="79" y="24"/>
                  </a:moveTo>
                  <a:cubicBezTo>
                    <a:pt x="77" y="17"/>
                    <a:pt x="73" y="6"/>
                    <a:pt x="58" y="1"/>
                  </a:cubicBezTo>
                  <a:cubicBezTo>
                    <a:pt x="55" y="0"/>
                    <a:pt x="53" y="0"/>
                    <a:pt x="5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0"/>
                    <a:pt x="26" y="0"/>
                    <a:pt x="24" y="0"/>
                  </a:cubicBezTo>
                  <a:cubicBezTo>
                    <a:pt x="24" y="0"/>
                    <a:pt x="23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9" y="2"/>
                    <a:pt x="18" y="2"/>
                    <a:pt x="17" y="3"/>
                  </a:cubicBezTo>
                  <a:cubicBezTo>
                    <a:pt x="16" y="3"/>
                    <a:pt x="15" y="3"/>
                    <a:pt x="15" y="4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2" y="5"/>
                    <a:pt x="11" y="6"/>
                    <a:pt x="10" y="7"/>
                  </a:cubicBezTo>
                  <a:cubicBezTo>
                    <a:pt x="16" y="8"/>
                    <a:pt x="22" y="12"/>
                    <a:pt x="25" y="18"/>
                  </a:cubicBezTo>
                  <a:cubicBezTo>
                    <a:pt x="31" y="30"/>
                    <a:pt x="27" y="45"/>
                    <a:pt x="15" y="51"/>
                  </a:cubicBezTo>
                  <a:cubicBezTo>
                    <a:pt x="10" y="54"/>
                    <a:pt x="5" y="55"/>
                    <a:pt x="0" y="5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2"/>
                    <a:pt x="5" y="91"/>
                    <a:pt x="14" y="97"/>
                  </a:cubicBezTo>
                  <a:cubicBezTo>
                    <a:pt x="14" y="179"/>
                    <a:pt x="14" y="179"/>
                    <a:pt x="14" y="179"/>
                  </a:cubicBezTo>
                  <a:cubicBezTo>
                    <a:pt x="14" y="181"/>
                    <a:pt x="16" y="182"/>
                    <a:pt x="17" y="182"/>
                  </a:cubicBezTo>
                  <a:cubicBezTo>
                    <a:pt x="61" y="182"/>
                    <a:pt x="61" y="182"/>
                    <a:pt x="61" y="182"/>
                  </a:cubicBezTo>
                  <a:cubicBezTo>
                    <a:pt x="63" y="182"/>
                    <a:pt x="65" y="181"/>
                    <a:pt x="65" y="179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74" y="91"/>
                    <a:pt x="79" y="82"/>
                    <a:pt x="79" y="71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7"/>
                    <a:pt x="79" y="26"/>
                    <a:pt x="79" y="2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80" name="Freeform 183"/>
            <p:cNvSpPr>
              <a:spLocks/>
            </p:cNvSpPr>
            <p:nvPr/>
          </p:nvSpPr>
          <p:spPr bwMode="auto">
            <a:xfrm>
              <a:off x="7620104" y="3016376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</p:grpSp>
      <p:cxnSp>
        <p:nvCxnSpPr>
          <p:cNvPr id="81" name="Connecteur droit 80"/>
          <p:cNvCxnSpPr/>
          <p:nvPr/>
        </p:nvCxnSpPr>
        <p:spPr bwMode="auto">
          <a:xfrm flipV="1">
            <a:off x="2092243" y="2701157"/>
            <a:ext cx="1368000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82" name="Image 8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73804" y="2470901"/>
            <a:ext cx="186267" cy="419100"/>
          </a:xfrm>
          <a:prstGeom prst="rect">
            <a:avLst/>
          </a:prstGeom>
          <a:ln>
            <a:noFill/>
          </a:ln>
        </p:spPr>
      </p:pic>
      <p:sp>
        <p:nvSpPr>
          <p:cNvPr id="83" name="Titre 15"/>
          <p:cNvSpPr txBox="1">
            <a:spLocks/>
          </p:cNvSpPr>
          <p:nvPr/>
        </p:nvSpPr>
        <p:spPr>
          <a:xfrm>
            <a:off x="4682861" y="2700318"/>
            <a:ext cx="1447336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Ask an account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84" name="Titre 15"/>
          <p:cNvSpPr txBox="1">
            <a:spLocks/>
          </p:cNvSpPr>
          <p:nvPr/>
        </p:nvSpPr>
        <p:spPr>
          <a:xfrm>
            <a:off x="3337584" y="3070885"/>
            <a:ext cx="1447336" cy="54481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Rainbow</a:t>
            </a:r>
            <a:br>
              <a:rPr lang="en-US" sz="1200" dirty="0" smtClean="0">
                <a:solidFill>
                  <a:srgbClr val="FFFFFF"/>
                </a:solidFill>
              </a:rPr>
            </a:br>
            <a:r>
              <a:rPr lang="en-US" sz="1200" dirty="0" smtClean="0">
                <a:solidFill>
                  <a:srgbClr val="FFFFFF"/>
                </a:solidFill>
              </a:rPr>
              <a:t>Users</a:t>
            </a:r>
            <a:endParaRPr lang="fr-FR" sz="1000" kern="0" cap="all" dirty="0">
              <a:solidFill>
                <a:srgbClr val="FFFFFF"/>
              </a:solidFill>
            </a:endParaRPr>
          </a:p>
        </p:txBody>
      </p:sp>
      <p:grpSp>
        <p:nvGrpSpPr>
          <p:cNvPr id="86" name="Groupe 18"/>
          <p:cNvGrpSpPr/>
          <p:nvPr/>
        </p:nvGrpSpPr>
        <p:grpSpPr>
          <a:xfrm>
            <a:off x="955471" y="2388400"/>
            <a:ext cx="410703" cy="390943"/>
            <a:chOff x="7275806" y="2844969"/>
            <a:chExt cx="590592" cy="640848"/>
          </a:xfrm>
          <a:solidFill>
            <a:schemeClr val="accent1"/>
          </a:solidFill>
        </p:grpSpPr>
        <p:sp>
          <p:nvSpPr>
            <p:cNvPr id="87" name="Oval 184"/>
            <p:cNvSpPr>
              <a:spLocks noChangeArrowheads="1"/>
            </p:cNvSpPr>
            <p:nvPr/>
          </p:nvSpPr>
          <p:spPr bwMode="auto">
            <a:xfrm>
              <a:off x="7336131" y="2847303"/>
              <a:ext cx="141288" cy="141287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88" name="Oval 189"/>
            <p:cNvSpPr>
              <a:spLocks noChangeArrowheads="1"/>
            </p:cNvSpPr>
            <p:nvPr/>
          </p:nvSpPr>
          <p:spPr bwMode="auto">
            <a:xfrm>
              <a:off x="7677486" y="2844969"/>
              <a:ext cx="142875" cy="1412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89" name="Freeform 183"/>
            <p:cNvSpPr>
              <a:spLocks/>
            </p:cNvSpPr>
            <p:nvPr/>
          </p:nvSpPr>
          <p:spPr bwMode="auto">
            <a:xfrm>
              <a:off x="7278206" y="3010798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90" name="Freeform 182"/>
            <p:cNvSpPr>
              <a:spLocks/>
            </p:cNvSpPr>
            <p:nvPr/>
          </p:nvSpPr>
          <p:spPr bwMode="auto">
            <a:xfrm>
              <a:off x="7275806" y="2965436"/>
              <a:ext cx="261938" cy="514350"/>
            </a:xfrm>
            <a:custGeom>
              <a:avLst/>
              <a:gdLst>
                <a:gd name="T0" fmla="*/ 78 w 92"/>
                <a:gd name="T1" fmla="*/ 79 h 182"/>
                <a:gd name="T2" fmla="*/ 86 w 92"/>
                <a:gd name="T3" fmla="*/ 59 h 182"/>
                <a:gd name="T4" fmla="*/ 86 w 92"/>
                <a:gd name="T5" fmla="*/ 29 h 182"/>
                <a:gd name="T6" fmla="*/ 86 w 92"/>
                <a:gd name="T7" fmla="*/ 24 h 182"/>
                <a:gd name="T8" fmla="*/ 65 w 92"/>
                <a:gd name="T9" fmla="*/ 1 h 182"/>
                <a:gd name="T10" fmla="*/ 57 w 92"/>
                <a:gd name="T11" fmla="*/ 0 h 182"/>
                <a:gd name="T12" fmla="*/ 36 w 92"/>
                <a:gd name="T13" fmla="*/ 0 h 182"/>
                <a:gd name="T14" fmla="*/ 17 w 92"/>
                <a:gd name="T15" fmla="*/ 7 h 182"/>
                <a:gd name="T16" fmla="*/ 18 w 92"/>
                <a:gd name="T17" fmla="*/ 8 h 182"/>
                <a:gd name="T18" fmla="*/ 32 w 92"/>
                <a:gd name="T19" fmla="*/ 19 h 182"/>
                <a:gd name="T20" fmla="*/ 22 w 92"/>
                <a:gd name="T21" fmla="*/ 52 h 182"/>
                <a:gd name="T22" fmla="*/ 7 w 92"/>
                <a:gd name="T23" fmla="*/ 54 h 182"/>
                <a:gd name="T24" fmla="*/ 7 w 92"/>
                <a:gd name="T25" fmla="*/ 59 h 182"/>
                <a:gd name="T26" fmla="*/ 14 w 92"/>
                <a:gd name="T27" fmla="*/ 79 h 182"/>
                <a:gd name="T28" fmla="*/ 0 w 92"/>
                <a:gd name="T29" fmla="*/ 130 h 182"/>
                <a:gd name="T30" fmla="*/ 3 w 92"/>
                <a:gd name="T31" fmla="*/ 134 h 182"/>
                <a:gd name="T32" fmla="*/ 21 w 92"/>
                <a:gd name="T33" fmla="*/ 134 h 182"/>
                <a:gd name="T34" fmla="*/ 21 w 92"/>
                <a:gd name="T35" fmla="*/ 179 h 182"/>
                <a:gd name="T36" fmla="*/ 25 w 92"/>
                <a:gd name="T37" fmla="*/ 182 h 182"/>
                <a:gd name="T38" fmla="*/ 68 w 92"/>
                <a:gd name="T39" fmla="*/ 182 h 182"/>
                <a:gd name="T40" fmla="*/ 72 w 92"/>
                <a:gd name="T41" fmla="*/ 179 h 182"/>
                <a:gd name="T42" fmla="*/ 72 w 92"/>
                <a:gd name="T43" fmla="*/ 134 h 182"/>
                <a:gd name="T44" fmla="*/ 89 w 92"/>
                <a:gd name="T45" fmla="*/ 134 h 182"/>
                <a:gd name="T46" fmla="*/ 92 w 92"/>
                <a:gd name="T47" fmla="*/ 130 h 182"/>
                <a:gd name="T48" fmla="*/ 78 w 92"/>
                <a:gd name="T49" fmla="*/ 7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2" h="182">
                  <a:moveTo>
                    <a:pt x="78" y="79"/>
                  </a:moveTo>
                  <a:cubicBezTo>
                    <a:pt x="83" y="74"/>
                    <a:pt x="86" y="67"/>
                    <a:pt x="86" y="5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7"/>
                    <a:pt x="86" y="26"/>
                    <a:pt x="86" y="24"/>
                  </a:cubicBezTo>
                  <a:cubicBezTo>
                    <a:pt x="84" y="17"/>
                    <a:pt x="81" y="6"/>
                    <a:pt x="65" y="1"/>
                  </a:cubicBezTo>
                  <a:cubicBezTo>
                    <a:pt x="62" y="0"/>
                    <a:pt x="60" y="0"/>
                    <a:pt x="5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9" y="0"/>
                    <a:pt x="22" y="3"/>
                    <a:pt x="17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24" y="9"/>
                    <a:pt x="29" y="13"/>
                    <a:pt x="32" y="19"/>
                  </a:cubicBezTo>
                  <a:cubicBezTo>
                    <a:pt x="38" y="31"/>
                    <a:pt x="34" y="45"/>
                    <a:pt x="22" y="52"/>
                  </a:cubicBezTo>
                  <a:cubicBezTo>
                    <a:pt x="17" y="54"/>
                    <a:pt x="12" y="55"/>
                    <a:pt x="7" y="54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7"/>
                    <a:pt x="9" y="73"/>
                    <a:pt x="14" y="7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2"/>
                    <a:pt x="2" y="134"/>
                    <a:pt x="3" y="134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1" y="181"/>
                    <a:pt x="23" y="182"/>
                    <a:pt x="25" y="182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70" y="182"/>
                    <a:pt x="72" y="181"/>
                    <a:pt x="72" y="179"/>
                  </a:cubicBezTo>
                  <a:cubicBezTo>
                    <a:pt x="72" y="134"/>
                    <a:pt x="72" y="134"/>
                    <a:pt x="72" y="134"/>
                  </a:cubicBezTo>
                  <a:cubicBezTo>
                    <a:pt x="89" y="134"/>
                    <a:pt x="89" y="134"/>
                    <a:pt x="89" y="134"/>
                  </a:cubicBezTo>
                  <a:cubicBezTo>
                    <a:pt x="91" y="134"/>
                    <a:pt x="92" y="132"/>
                    <a:pt x="92" y="130"/>
                  </a:cubicBezTo>
                  <a:lnTo>
                    <a:pt x="78" y="7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91" name="Freeform 188"/>
            <p:cNvSpPr>
              <a:spLocks/>
            </p:cNvSpPr>
            <p:nvPr/>
          </p:nvSpPr>
          <p:spPr bwMode="auto">
            <a:xfrm>
              <a:off x="7640973" y="2971467"/>
              <a:ext cx="225425" cy="514350"/>
            </a:xfrm>
            <a:custGeom>
              <a:avLst/>
              <a:gdLst>
                <a:gd name="T0" fmla="*/ 79 w 79"/>
                <a:gd name="T1" fmla="*/ 24 h 182"/>
                <a:gd name="T2" fmla="*/ 58 w 79"/>
                <a:gd name="T3" fmla="*/ 1 h 182"/>
                <a:gd name="T4" fmla="*/ 50 w 79"/>
                <a:gd name="T5" fmla="*/ 0 h 182"/>
                <a:gd name="T6" fmla="*/ 29 w 79"/>
                <a:gd name="T7" fmla="*/ 0 h 182"/>
                <a:gd name="T8" fmla="*/ 24 w 79"/>
                <a:gd name="T9" fmla="*/ 0 h 182"/>
                <a:gd name="T10" fmla="*/ 22 w 79"/>
                <a:gd name="T11" fmla="*/ 1 h 182"/>
                <a:gd name="T12" fmla="*/ 21 w 79"/>
                <a:gd name="T13" fmla="*/ 1 h 182"/>
                <a:gd name="T14" fmla="*/ 20 w 79"/>
                <a:gd name="T15" fmla="*/ 1 h 182"/>
                <a:gd name="T16" fmla="*/ 17 w 79"/>
                <a:gd name="T17" fmla="*/ 3 h 182"/>
                <a:gd name="T18" fmla="*/ 15 w 79"/>
                <a:gd name="T19" fmla="*/ 4 h 182"/>
                <a:gd name="T20" fmla="*/ 13 w 79"/>
                <a:gd name="T21" fmla="*/ 5 h 182"/>
                <a:gd name="T22" fmla="*/ 10 w 79"/>
                <a:gd name="T23" fmla="*/ 7 h 182"/>
                <a:gd name="T24" fmla="*/ 25 w 79"/>
                <a:gd name="T25" fmla="*/ 18 h 182"/>
                <a:gd name="T26" fmla="*/ 15 w 79"/>
                <a:gd name="T27" fmla="*/ 51 h 182"/>
                <a:gd name="T28" fmla="*/ 0 w 79"/>
                <a:gd name="T29" fmla="*/ 54 h 182"/>
                <a:gd name="T30" fmla="*/ 0 w 79"/>
                <a:gd name="T31" fmla="*/ 71 h 182"/>
                <a:gd name="T32" fmla="*/ 14 w 79"/>
                <a:gd name="T33" fmla="*/ 97 h 182"/>
                <a:gd name="T34" fmla="*/ 14 w 79"/>
                <a:gd name="T35" fmla="*/ 179 h 182"/>
                <a:gd name="T36" fmla="*/ 17 w 79"/>
                <a:gd name="T37" fmla="*/ 182 h 182"/>
                <a:gd name="T38" fmla="*/ 61 w 79"/>
                <a:gd name="T39" fmla="*/ 182 h 182"/>
                <a:gd name="T40" fmla="*/ 65 w 79"/>
                <a:gd name="T41" fmla="*/ 179 h 182"/>
                <a:gd name="T42" fmla="*/ 65 w 79"/>
                <a:gd name="T43" fmla="*/ 97 h 182"/>
                <a:gd name="T44" fmla="*/ 79 w 79"/>
                <a:gd name="T45" fmla="*/ 71 h 182"/>
                <a:gd name="T46" fmla="*/ 79 w 79"/>
                <a:gd name="T47" fmla="*/ 29 h 182"/>
                <a:gd name="T48" fmla="*/ 79 w 79"/>
                <a:gd name="T49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182">
                  <a:moveTo>
                    <a:pt x="79" y="24"/>
                  </a:moveTo>
                  <a:cubicBezTo>
                    <a:pt x="77" y="17"/>
                    <a:pt x="73" y="6"/>
                    <a:pt x="58" y="1"/>
                  </a:cubicBezTo>
                  <a:cubicBezTo>
                    <a:pt x="55" y="0"/>
                    <a:pt x="53" y="0"/>
                    <a:pt x="5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0"/>
                    <a:pt x="26" y="0"/>
                    <a:pt x="24" y="0"/>
                  </a:cubicBezTo>
                  <a:cubicBezTo>
                    <a:pt x="24" y="0"/>
                    <a:pt x="23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9" y="2"/>
                    <a:pt x="18" y="2"/>
                    <a:pt x="17" y="3"/>
                  </a:cubicBezTo>
                  <a:cubicBezTo>
                    <a:pt x="16" y="3"/>
                    <a:pt x="15" y="3"/>
                    <a:pt x="15" y="4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2" y="5"/>
                    <a:pt x="11" y="6"/>
                    <a:pt x="10" y="7"/>
                  </a:cubicBezTo>
                  <a:cubicBezTo>
                    <a:pt x="16" y="8"/>
                    <a:pt x="22" y="12"/>
                    <a:pt x="25" y="18"/>
                  </a:cubicBezTo>
                  <a:cubicBezTo>
                    <a:pt x="31" y="30"/>
                    <a:pt x="27" y="45"/>
                    <a:pt x="15" y="51"/>
                  </a:cubicBezTo>
                  <a:cubicBezTo>
                    <a:pt x="10" y="54"/>
                    <a:pt x="5" y="55"/>
                    <a:pt x="0" y="5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2"/>
                    <a:pt x="5" y="91"/>
                    <a:pt x="14" y="97"/>
                  </a:cubicBezTo>
                  <a:cubicBezTo>
                    <a:pt x="14" y="179"/>
                    <a:pt x="14" y="179"/>
                    <a:pt x="14" y="179"/>
                  </a:cubicBezTo>
                  <a:cubicBezTo>
                    <a:pt x="14" y="181"/>
                    <a:pt x="16" y="182"/>
                    <a:pt x="17" y="182"/>
                  </a:cubicBezTo>
                  <a:cubicBezTo>
                    <a:pt x="61" y="182"/>
                    <a:pt x="61" y="182"/>
                    <a:pt x="61" y="182"/>
                  </a:cubicBezTo>
                  <a:cubicBezTo>
                    <a:pt x="63" y="182"/>
                    <a:pt x="65" y="181"/>
                    <a:pt x="65" y="179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74" y="91"/>
                    <a:pt x="79" y="82"/>
                    <a:pt x="79" y="71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7"/>
                    <a:pt x="79" y="26"/>
                    <a:pt x="79" y="2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92" name="Freeform 183"/>
            <p:cNvSpPr>
              <a:spLocks/>
            </p:cNvSpPr>
            <p:nvPr/>
          </p:nvSpPr>
          <p:spPr bwMode="auto">
            <a:xfrm>
              <a:off x="7620104" y="3016376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</p:grpSp>
      <p:grpSp>
        <p:nvGrpSpPr>
          <p:cNvPr id="93" name="Groupe 18"/>
          <p:cNvGrpSpPr/>
          <p:nvPr/>
        </p:nvGrpSpPr>
        <p:grpSpPr>
          <a:xfrm>
            <a:off x="1429934" y="2489986"/>
            <a:ext cx="410703" cy="390943"/>
            <a:chOff x="7275806" y="2844969"/>
            <a:chExt cx="590592" cy="640848"/>
          </a:xfrm>
          <a:solidFill>
            <a:schemeClr val="accent1"/>
          </a:solidFill>
        </p:grpSpPr>
        <p:sp>
          <p:nvSpPr>
            <p:cNvPr id="94" name="Oval 184"/>
            <p:cNvSpPr>
              <a:spLocks noChangeArrowheads="1"/>
            </p:cNvSpPr>
            <p:nvPr/>
          </p:nvSpPr>
          <p:spPr bwMode="auto">
            <a:xfrm>
              <a:off x="7336131" y="2847303"/>
              <a:ext cx="141288" cy="141287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95" name="Oval 189"/>
            <p:cNvSpPr>
              <a:spLocks noChangeArrowheads="1"/>
            </p:cNvSpPr>
            <p:nvPr/>
          </p:nvSpPr>
          <p:spPr bwMode="auto">
            <a:xfrm>
              <a:off x="7677486" y="2844969"/>
              <a:ext cx="142875" cy="1412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96" name="Freeform 183"/>
            <p:cNvSpPr>
              <a:spLocks/>
            </p:cNvSpPr>
            <p:nvPr/>
          </p:nvSpPr>
          <p:spPr bwMode="auto">
            <a:xfrm>
              <a:off x="7278206" y="3010798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97" name="Freeform 182"/>
            <p:cNvSpPr>
              <a:spLocks/>
            </p:cNvSpPr>
            <p:nvPr/>
          </p:nvSpPr>
          <p:spPr bwMode="auto">
            <a:xfrm>
              <a:off x="7275806" y="2965436"/>
              <a:ext cx="261938" cy="514350"/>
            </a:xfrm>
            <a:custGeom>
              <a:avLst/>
              <a:gdLst>
                <a:gd name="T0" fmla="*/ 78 w 92"/>
                <a:gd name="T1" fmla="*/ 79 h 182"/>
                <a:gd name="T2" fmla="*/ 86 w 92"/>
                <a:gd name="T3" fmla="*/ 59 h 182"/>
                <a:gd name="T4" fmla="*/ 86 w 92"/>
                <a:gd name="T5" fmla="*/ 29 h 182"/>
                <a:gd name="T6" fmla="*/ 86 w 92"/>
                <a:gd name="T7" fmla="*/ 24 h 182"/>
                <a:gd name="T8" fmla="*/ 65 w 92"/>
                <a:gd name="T9" fmla="*/ 1 h 182"/>
                <a:gd name="T10" fmla="*/ 57 w 92"/>
                <a:gd name="T11" fmla="*/ 0 h 182"/>
                <a:gd name="T12" fmla="*/ 36 w 92"/>
                <a:gd name="T13" fmla="*/ 0 h 182"/>
                <a:gd name="T14" fmla="*/ 17 w 92"/>
                <a:gd name="T15" fmla="*/ 7 h 182"/>
                <a:gd name="T16" fmla="*/ 18 w 92"/>
                <a:gd name="T17" fmla="*/ 8 h 182"/>
                <a:gd name="T18" fmla="*/ 32 w 92"/>
                <a:gd name="T19" fmla="*/ 19 h 182"/>
                <a:gd name="T20" fmla="*/ 22 w 92"/>
                <a:gd name="T21" fmla="*/ 52 h 182"/>
                <a:gd name="T22" fmla="*/ 7 w 92"/>
                <a:gd name="T23" fmla="*/ 54 h 182"/>
                <a:gd name="T24" fmla="*/ 7 w 92"/>
                <a:gd name="T25" fmla="*/ 59 h 182"/>
                <a:gd name="T26" fmla="*/ 14 w 92"/>
                <a:gd name="T27" fmla="*/ 79 h 182"/>
                <a:gd name="T28" fmla="*/ 0 w 92"/>
                <a:gd name="T29" fmla="*/ 130 h 182"/>
                <a:gd name="T30" fmla="*/ 3 w 92"/>
                <a:gd name="T31" fmla="*/ 134 h 182"/>
                <a:gd name="T32" fmla="*/ 21 w 92"/>
                <a:gd name="T33" fmla="*/ 134 h 182"/>
                <a:gd name="T34" fmla="*/ 21 w 92"/>
                <a:gd name="T35" fmla="*/ 179 h 182"/>
                <a:gd name="T36" fmla="*/ 25 w 92"/>
                <a:gd name="T37" fmla="*/ 182 h 182"/>
                <a:gd name="T38" fmla="*/ 68 w 92"/>
                <a:gd name="T39" fmla="*/ 182 h 182"/>
                <a:gd name="T40" fmla="*/ 72 w 92"/>
                <a:gd name="T41" fmla="*/ 179 h 182"/>
                <a:gd name="T42" fmla="*/ 72 w 92"/>
                <a:gd name="T43" fmla="*/ 134 h 182"/>
                <a:gd name="T44" fmla="*/ 89 w 92"/>
                <a:gd name="T45" fmla="*/ 134 h 182"/>
                <a:gd name="T46" fmla="*/ 92 w 92"/>
                <a:gd name="T47" fmla="*/ 130 h 182"/>
                <a:gd name="T48" fmla="*/ 78 w 92"/>
                <a:gd name="T49" fmla="*/ 7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2" h="182">
                  <a:moveTo>
                    <a:pt x="78" y="79"/>
                  </a:moveTo>
                  <a:cubicBezTo>
                    <a:pt x="83" y="74"/>
                    <a:pt x="86" y="67"/>
                    <a:pt x="86" y="5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7"/>
                    <a:pt x="86" y="26"/>
                    <a:pt x="86" y="24"/>
                  </a:cubicBezTo>
                  <a:cubicBezTo>
                    <a:pt x="84" y="17"/>
                    <a:pt x="81" y="6"/>
                    <a:pt x="65" y="1"/>
                  </a:cubicBezTo>
                  <a:cubicBezTo>
                    <a:pt x="62" y="0"/>
                    <a:pt x="60" y="0"/>
                    <a:pt x="5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9" y="0"/>
                    <a:pt x="22" y="3"/>
                    <a:pt x="17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24" y="9"/>
                    <a:pt x="29" y="13"/>
                    <a:pt x="32" y="19"/>
                  </a:cubicBezTo>
                  <a:cubicBezTo>
                    <a:pt x="38" y="31"/>
                    <a:pt x="34" y="45"/>
                    <a:pt x="22" y="52"/>
                  </a:cubicBezTo>
                  <a:cubicBezTo>
                    <a:pt x="17" y="54"/>
                    <a:pt x="12" y="55"/>
                    <a:pt x="7" y="54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7"/>
                    <a:pt x="9" y="73"/>
                    <a:pt x="14" y="7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2"/>
                    <a:pt x="2" y="134"/>
                    <a:pt x="3" y="134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1" y="181"/>
                    <a:pt x="23" y="182"/>
                    <a:pt x="25" y="182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70" y="182"/>
                    <a:pt x="72" y="181"/>
                    <a:pt x="72" y="179"/>
                  </a:cubicBezTo>
                  <a:cubicBezTo>
                    <a:pt x="72" y="134"/>
                    <a:pt x="72" y="134"/>
                    <a:pt x="72" y="134"/>
                  </a:cubicBezTo>
                  <a:cubicBezTo>
                    <a:pt x="89" y="134"/>
                    <a:pt x="89" y="134"/>
                    <a:pt x="89" y="134"/>
                  </a:cubicBezTo>
                  <a:cubicBezTo>
                    <a:pt x="91" y="134"/>
                    <a:pt x="92" y="132"/>
                    <a:pt x="92" y="130"/>
                  </a:cubicBezTo>
                  <a:lnTo>
                    <a:pt x="78" y="7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98" name="Freeform 188"/>
            <p:cNvSpPr>
              <a:spLocks/>
            </p:cNvSpPr>
            <p:nvPr/>
          </p:nvSpPr>
          <p:spPr bwMode="auto">
            <a:xfrm>
              <a:off x="7640973" y="2971467"/>
              <a:ext cx="225425" cy="514350"/>
            </a:xfrm>
            <a:custGeom>
              <a:avLst/>
              <a:gdLst>
                <a:gd name="T0" fmla="*/ 79 w 79"/>
                <a:gd name="T1" fmla="*/ 24 h 182"/>
                <a:gd name="T2" fmla="*/ 58 w 79"/>
                <a:gd name="T3" fmla="*/ 1 h 182"/>
                <a:gd name="T4" fmla="*/ 50 w 79"/>
                <a:gd name="T5" fmla="*/ 0 h 182"/>
                <a:gd name="T6" fmla="*/ 29 w 79"/>
                <a:gd name="T7" fmla="*/ 0 h 182"/>
                <a:gd name="T8" fmla="*/ 24 w 79"/>
                <a:gd name="T9" fmla="*/ 0 h 182"/>
                <a:gd name="T10" fmla="*/ 22 w 79"/>
                <a:gd name="T11" fmla="*/ 1 h 182"/>
                <a:gd name="T12" fmla="*/ 21 w 79"/>
                <a:gd name="T13" fmla="*/ 1 h 182"/>
                <a:gd name="T14" fmla="*/ 20 w 79"/>
                <a:gd name="T15" fmla="*/ 1 h 182"/>
                <a:gd name="T16" fmla="*/ 17 w 79"/>
                <a:gd name="T17" fmla="*/ 3 h 182"/>
                <a:gd name="T18" fmla="*/ 15 w 79"/>
                <a:gd name="T19" fmla="*/ 4 h 182"/>
                <a:gd name="T20" fmla="*/ 13 w 79"/>
                <a:gd name="T21" fmla="*/ 5 h 182"/>
                <a:gd name="T22" fmla="*/ 10 w 79"/>
                <a:gd name="T23" fmla="*/ 7 h 182"/>
                <a:gd name="T24" fmla="*/ 25 w 79"/>
                <a:gd name="T25" fmla="*/ 18 h 182"/>
                <a:gd name="T26" fmla="*/ 15 w 79"/>
                <a:gd name="T27" fmla="*/ 51 h 182"/>
                <a:gd name="T28" fmla="*/ 0 w 79"/>
                <a:gd name="T29" fmla="*/ 54 h 182"/>
                <a:gd name="T30" fmla="*/ 0 w 79"/>
                <a:gd name="T31" fmla="*/ 71 h 182"/>
                <a:gd name="T32" fmla="*/ 14 w 79"/>
                <a:gd name="T33" fmla="*/ 97 h 182"/>
                <a:gd name="T34" fmla="*/ 14 w 79"/>
                <a:gd name="T35" fmla="*/ 179 h 182"/>
                <a:gd name="T36" fmla="*/ 17 w 79"/>
                <a:gd name="T37" fmla="*/ 182 h 182"/>
                <a:gd name="T38" fmla="*/ 61 w 79"/>
                <a:gd name="T39" fmla="*/ 182 h 182"/>
                <a:gd name="T40" fmla="*/ 65 w 79"/>
                <a:gd name="T41" fmla="*/ 179 h 182"/>
                <a:gd name="T42" fmla="*/ 65 w 79"/>
                <a:gd name="T43" fmla="*/ 97 h 182"/>
                <a:gd name="T44" fmla="*/ 79 w 79"/>
                <a:gd name="T45" fmla="*/ 71 h 182"/>
                <a:gd name="T46" fmla="*/ 79 w 79"/>
                <a:gd name="T47" fmla="*/ 29 h 182"/>
                <a:gd name="T48" fmla="*/ 79 w 79"/>
                <a:gd name="T49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182">
                  <a:moveTo>
                    <a:pt x="79" y="24"/>
                  </a:moveTo>
                  <a:cubicBezTo>
                    <a:pt x="77" y="17"/>
                    <a:pt x="73" y="6"/>
                    <a:pt x="58" y="1"/>
                  </a:cubicBezTo>
                  <a:cubicBezTo>
                    <a:pt x="55" y="0"/>
                    <a:pt x="53" y="0"/>
                    <a:pt x="5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0"/>
                    <a:pt x="26" y="0"/>
                    <a:pt x="24" y="0"/>
                  </a:cubicBezTo>
                  <a:cubicBezTo>
                    <a:pt x="24" y="0"/>
                    <a:pt x="23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9" y="2"/>
                    <a:pt x="18" y="2"/>
                    <a:pt x="17" y="3"/>
                  </a:cubicBezTo>
                  <a:cubicBezTo>
                    <a:pt x="16" y="3"/>
                    <a:pt x="15" y="3"/>
                    <a:pt x="15" y="4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2" y="5"/>
                    <a:pt x="11" y="6"/>
                    <a:pt x="10" y="7"/>
                  </a:cubicBezTo>
                  <a:cubicBezTo>
                    <a:pt x="16" y="8"/>
                    <a:pt x="22" y="12"/>
                    <a:pt x="25" y="18"/>
                  </a:cubicBezTo>
                  <a:cubicBezTo>
                    <a:pt x="31" y="30"/>
                    <a:pt x="27" y="45"/>
                    <a:pt x="15" y="51"/>
                  </a:cubicBezTo>
                  <a:cubicBezTo>
                    <a:pt x="10" y="54"/>
                    <a:pt x="5" y="55"/>
                    <a:pt x="0" y="5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2"/>
                    <a:pt x="5" y="91"/>
                    <a:pt x="14" y="97"/>
                  </a:cubicBezTo>
                  <a:cubicBezTo>
                    <a:pt x="14" y="179"/>
                    <a:pt x="14" y="179"/>
                    <a:pt x="14" y="179"/>
                  </a:cubicBezTo>
                  <a:cubicBezTo>
                    <a:pt x="14" y="181"/>
                    <a:pt x="16" y="182"/>
                    <a:pt x="17" y="182"/>
                  </a:cubicBezTo>
                  <a:cubicBezTo>
                    <a:pt x="61" y="182"/>
                    <a:pt x="61" y="182"/>
                    <a:pt x="61" y="182"/>
                  </a:cubicBezTo>
                  <a:cubicBezTo>
                    <a:pt x="63" y="182"/>
                    <a:pt x="65" y="181"/>
                    <a:pt x="65" y="179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74" y="91"/>
                    <a:pt x="79" y="82"/>
                    <a:pt x="79" y="71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7"/>
                    <a:pt x="79" y="26"/>
                    <a:pt x="79" y="2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99" name="Freeform 183"/>
            <p:cNvSpPr>
              <a:spLocks/>
            </p:cNvSpPr>
            <p:nvPr/>
          </p:nvSpPr>
          <p:spPr bwMode="auto">
            <a:xfrm>
              <a:off x="7620104" y="3016376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</p:grpSp>
      <p:grpSp>
        <p:nvGrpSpPr>
          <p:cNvPr id="115" name="Groupe 18"/>
          <p:cNvGrpSpPr/>
          <p:nvPr/>
        </p:nvGrpSpPr>
        <p:grpSpPr>
          <a:xfrm>
            <a:off x="471897" y="2617049"/>
            <a:ext cx="410703" cy="390943"/>
            <a:chOff x="7275806" y="2844969"/>
            <a:chExt cx="590592" cy="640848"/>
          </a:xfrm>
          <a:solidFill>
            <a:schemeClr val="accent1"/>
          </a:solidFill>
        </p:grpSpPr>
        <p:sp>
          <p:nvSpPr>
            <p:cNvPr id="116" name="Oval 184"/>
            <p:cNvSpPr>
              <a:spLocks noChangeArrowheads="1"/>
            </p:cNvSpPr>
            <p:nvPr/>
          </p:nvSpPr>
          <p:spPr bwMode="auto">
            <a:xfrm>
              <a:off x="7336131" y="2847303"/>
              <a:ext cx="141288" cy="141287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17" name="Oval 189"/>
            <p:cNvSpPr>
              <a:spLocks noChangeArrowheads="1"/>
            </p:cNvSpPr>
            <p:nvPr/>
          </p:nvSpPr>
          <p:spPr bwMode="auto">
            <a:xfrm>
              <a:off x="7677486" y="2844969"/>
              <a:ext cx="142875" cy="1412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18" name="Freeform 183"/>
            <p:cNvSpPr>
              <a:spLocks/>
            </p:cNvSpPr>
            <p:nvPr/>
          </p:nvSpPr>
          <p:spPr bwMode="auto">
            <a:xfrm>
              <a:off x="7278206" y="3010798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19" name="Freeform 182"/>
            <p:cNvSpPr>
              <a:spLocks/>
            </p:cNvSpPr>
            <p:nvPr/>
          </p:nvSpPr>
          <p:spPr bwMode="auto">
            <a:xfrm>
              <a:off x="7275806" y="2965436"/>
              <a:ext cx="261938" cy="514350"/>
            </a:xfrm>
            <a:custGeom>
              <a:avLst/>
              <a:gdLst>
                <a:gd name="T0" fmla="*/ 78 w 92"/>
                <a:gd name="T1" fmla="*/ 79 h 182"/>
                <a:gd name="T2" fmla="*/ 86 w 92"/>
                <a:gd name="T3" fmla="*/ 59 h 182"/>
                <a:gd name="T4" fmla="*/ 86 w 92"/>
                <a:gd name="T5" fmla="*/ 29 h 182"/>
                <a:gd name="T6" fmla="*/ 86 w 92"/>
                <a:gd name="T7" fmla="*/ 24 h 182"/>
                <a:gd name="T8" fmla="*/ 65 w 92"/>
                <a:gd name="T9" fmla="*/ 1 h 182"/>
                <a:gd name="T10" fmla="*/ 57 w 92"/>
                <a:gd name="T11" fmla="*/ 0 h 182"/>
                <a:gd name="T12" fmla="*/ 36 w 92"/>
                <a:gd name="T13" fmla="*/ 0 h 182"/>
                <a:gd name="T14" fmla="*/ 17 w 92"/>
                <a:gd name="T15" fmla="*/ 7 h 182"/>
                <a:gd name="T16" fmla="*/ 18 w 92"/>
                <a:gd name="T17" fmla="*/ 8 h 182"/>
                <a:gd name="T18" fmla="*/ 32 w 92"/>
                <a:gd name="T19" fmla="*/ 19 h 182"/>
                <a:gd name="T20" fmla="*/ 22 w 92"/>
                <a:gd name="T21" fmla="*/ 52 h 182"/>
                <a:gd name="T22" fmla="*/ 7 w 92"/>
                <a:gd name="T23" fmla="*/ 54 h 182"/>
                <a:gd name="T24" fmla="*/ 7 w 92"/>
                <a:gd name="T25" fmla="*/ 59 h 182"/>
                <a:gd name="T26" fmla="*/ 14 w 92"/>
                <a:gd name="T27" fmla="*/ 79 h 182"/>
                <a:gd name="T28" fmla="*/ 0 w 92"/>
                <a:gd name="T29" fmla="*/ 130 h 182"/>
                <a:gd name="T30" fmla="*/ 3 w 92"/>
                <a:gd name="T31" fmla="*/ 134 h 182"/>
                <a:gd name="T32" fmla="*/ 21 w 92"/>
                <a:gd name="T33" fmla="*/ 134 h 182"/>
                <a:gd name="T34" fmla="*/ 21 w 92"/>
                <a:gd name="T35" fmla="*/ 179 h 182"/>
                <a:gd name="T36" fmla="*/ 25 w 92"/>
                <a:gd name="T37" fmla="*/ 182 h 182"/>
                <a:gd name="T38" fmla="*/ 68 w 92"/>
                <a:gd name="T39" fmla="*/ 182 h 182"/>
                <a:gd name="T40" fmla="*/ 72 w 92"/>
                <a:gd name="T41" fmla="*/ 179 h 182"/>
                <a:gd name="T42" fmla="*/ 72 w 92"/>
                <a:gd name="T43" fmla="*/ 134 h 182"/>
                <a:gd name="T44" fmla="*/ 89 w 92"/>
                <a:gd name="T45" fmla="*/ 134 h 182"/>
                <a:gd name="T46" fmla="*/ 92 w 92"/>
                <a:gd name="T47" fmla="*/ 130 h 182"/>
                <a:gd name="T48" fmla="*/ 78 w 92"/>
                <a:gd name="T49" fmla="*/ 7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2" h="182">
                  <a:moveTo>
                    <a:pt x="78" y="79"/>
                  </a:moveTo>
                  <a:cubicBezTo>
                    <a:pt x="83" y="74"/>
                    <a:pt x="86" y="67"/>
                    <a:pt x="86" y="5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7"/>
                    <a:pt x="86" y="26"/>
                    <a:pt x="86" y="24"/>
                  </a:cubicBezTo>
                  <a:cubicBezTo>
                    <a:pt x="84" y="17"/>
                    <a:pt x="81" y="6"/>
                    <a:pt x="65" y="1"/>
                  </a:cubicBezTo>
                  <a:cubicBezTo>
                    <a:pt x="62" y="0"/>
                    <a:pt x="60" y="0"/>
                    <a:pt x="5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9" y="0"/>
                    <a:pt x="22" y="3"/>
                    <a:pt x="17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24" y="9"/>
                    <a:pt x="29" y="13"/>
                    <a:pt x="32" y="19"/>
                  </a:cubicBezTo>
                  <a:cubicBezTo>
                    <a:pt x="38" y="31"/>
                    <a:pt x="34" y="45"/>
                    <a:pt x="22" y="52"/>
                  </a:cubicBezTo>
                  <a:cubicBezTo>
                    <a:pt x="17" y="54"/>
                    <a:pt x="12" y="55"/>
                    <a:pt x="7" y="54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7"/>
                    <a:pt x="9" y="73"/>
                    <a:pt x="14" y="7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2"/>
                    <a:pt x="2" y="134"/>
                    <a:pt x="3" y="134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1" y="181"/>
                    <a:pt x="23" y="182"/>
                    <a:pt x="25" y="182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70" y="182"/>
                    <a:pt x="72" y="181"/>
                    <a:pt x="72" y="179"/>
                  </a:cubicBezTo>
                  <a:cubicBezTo>
                    <a:pt x="72" y="134"/>
                    <a:pt x="72" y="134"/>
                    <a:pt x="72" y="134"/>
                  </a:cubicBezTo>
                  <a:cubicBezTo>
                    <a:pt x="89" y="134"/>
                    <a:pt x="89" y="134"/>
                    <a:pt x="89" y="134"/>
                  </a:cubicBezTo>
                  <a:cubicBezTo>
                    <a:pt x="91" y="134"/>
                    <a:pt x="92" y="132"/>
                    <a:pt x="92" y="130"/>
                  </a:cubicBezTo>
                  <a:lnTo>
                    <a:pt x="78" y="7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20" name="Freeform 188"/>
            <p:cNvSpPr>
              <a:spLocks/>
            </p:cNvSpPr>
            <p:nvPr/>
          </p:nvSpPr>
          <p:spPr bwMode="auto">
            <a:xfrm>
              <a:off x="7640973" y="2971467"/>
              <a:ext cx="225425" cy="514350"/>
            </a:xfrm>
            <a:custGeom>
              <a:avLst/>
              <a:gdLst>
                <a:gd name="T0" fmla="*/ 79 w 79"/>
                <a:gd name="T1" fmla="*/ 24 h 182"/>
                <a:gd name="T2" fmla="*/ 58 w 79"/>
                <a:gd name="T3" fmla="*/ 1 h 182"/>
                <a:gd name="T4" fmla="*/ 50 w 79"/>
                <a:gd name="T5" fmla="*/ 0 h 182"/>
                <a:gd name="T6" fmla="*/ 29 w 79"/>
                <a:gd name="T7" fmla="*/ 0 h 182"/>
                <a:gd name="T8" fmla="*/ 24 w 79"/>
                <a:gd name="T9" fmla="*/ 0 h 182"/>
                <a:gd name="T10" fmla="*/ 22 w 79"/>
                <a:gd name="T11" fmla="*/ 1 h 182"/>
                <a:gd name="T12" fmla="*/ 21 w 79"/>
                <a:gd name="T13" fmla="*/ 1 h 182"/>
                <a:gd name="T14" fmla="*/ 20 w 79"/>
                <a:gd name="T15" fmla="*/ 1 h 182"/>
                <a:gd name="T16" fmla="*/ 17 w 79"/>
                <a:gd name="T17" fmla="*/ 3 h 182"/>
                <a:gd name="T18" fmla="*/ 15 w 79"/>
                <a:gd name="T19" fmla="*/ 4 h 182"/>
                <a:gd name="T20" fmla="*/ 13 w 79"/>
                <a:gd name="T21" fmla="*/ 5 h 182"/>
                <a:gd name="T22" fmla="*/ 10 w 79"/>
                <a:gd name="T23" fmla="*/ 7 h 182"/>
                <a:gd name="T24" fmla="*/ 25 w 79"/>
                <a:gd name="T25" fmla="*/ 18 h 182"/>
                <a:gd name="T26" fmla="*/ 15 w 79"/>
                <a:gd name="T27" fmla="*/ 51 h 182"/>
                <a:gd name="T28" fmla="*/ 0 w 79"/>
                <a:gd name="T29" fmla="*/ 54 h 182"/>
                <a:gd name="T30" fmla="*/ 0 w 79"/>
                <a:gd name="T31" fmla="*/ 71 h 182"/>
                <a:gd name="T32" fmla="*/ 14 w 79"/>
                <a:gd name="T33" fmla="*/ 97 h 182"/>
                <a:gd name="T34" fmla="*/ 14 w 79"/>
                <a:gd name="T35" fmla="*/ 179 h 182"/>
                <a:gd name="T36" fmla="*/ 17 w 79"/>
                <a:gd name="T37" fmla="*/ 182 h 182"/>
                <a:gd name="T38" fmla="*/ 61 w 79"/>
                <a:gd name="T39" fmla="*/ 182 h 182"/>
                <a:gd name="T40" fmla="*/ 65 w 79"/>
                <a:gd name="T41" fmla="*/ 179 h 182"/>
                <a:gd name="T42" fmla="*/ 65 w 79"/>
                <a:gd name="T43" fmla="*/ 97 h 182"/>
                <a:gd name="T44" fmla="*/ 79 w 79"/>
                <a:gd name="T45" fmla="*/ 71 h 182"/>
                <a:gd name="T46" fmla="*/ 79 w 79"/>
                <a:gd name="T47" fmla="*/ 29 h 182"/>
                <a:gd name="T48" fmla="*/ 79 w 79"/>
                <a:gd name="T49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182">
                  <a:moveTo>
                    <a:pt x="79" y="24"/>
                  </a:moveTo>
                  <a:cubicBezTo>
                    <a:pt x="77" y="17"/>
                    <a:pt x="73" y="6"/>
                    <a:pt x="58" y="1"/>
                  </a:cubicBezTo>
                  <a:cubicBezTo>
                    <a:pt x="55" y="0"/>
                    <a:pt x="53" y="0"/>
                    <a:pt x="5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0"/>
                    <a:pt x="26" y="0"/>
                    <a:pt x="24" y="0"/>
                  </a:cubicBezTo>
                  <a:cubicBezTo>
                    <a:pt x="24" y="0"/>
                    <a:pt x="23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9" y="2"/>
                    <a:pt x="18" y="2"/>
                    <a:pt x="17" y="3"/>
                  </a:cubicBezTo>
                  <a:cubicBezTo>
                    <a:pt x="16" y="3"/>
                    <a:pt x="15" y="3"/>
                    <a:pt x="15" y="4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2" y="5"/>
                    <a:pt x="11" y="6"/>
                    <a:pt x="10" y="7"/>
                  </a:cubicBezTo>
                  <a:cubicBezTo>
                    <a:pt x="16" y="8"/>
                    <a:pt x="22" y="12"/>
                    <a:pt x="25" y="18"/>
                  </a:cubicBezTo>
                  <a:cubicBezTo>
                    <a:pt x="31" y="30"/>
                    <a:pt x="27" y="45"/>
                    <a:pt x="15" y="51"/>
                  </a:cubicBezTo>
                  <a:cubicBezTo>
                    <a:pt x="10" y="54"/>
                    <a:pt x="5" y="55"/>
                    <a:pt x="0" y="5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2"/>
                    <a:pt x="5" y="91"/>
                    <a:pt x="14" y="97"/>
                  </a:cubicBezTo>
                  <a:cubicBezTo>
                    <a:pt x="14" y="179"/>
                    <a:pt x="14" y="179"/>
                    <a:pt x="14" y="179"/>
                  </a:cubicBezTo>
                  <a:cubicBezTo>
                    <a:pt x="14" y="181"/>
                    <a:pt x="16" y="182"/>
                    <a:pt x="17" y="182"/>
                  </a:cubicBezTo>
                  <a:cubicBezTo>
                    <a:pt x="61" y="182"/>
                    <a:pt x="61" y="182"/>
                    <a:pt x="61" y="182"/>
                  </a:cubicBezTo>
                  <a:cubicBezTo>
                    <a:pt x="63" y="182"/>
                    <a:pt x="65" y="181"/>
                    <a:pt x="65" y="179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74" y="91"/>
                    <a:pt x="79" y="82"/>
                    <a:pt x="79" y="71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7"/>
                    <a:pt x="79" y="26"/>
                    <a:pt x="79" y="2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21" name="Freeform 183"/>
            <p:cNvSpPr>
              <a:spLocks/>
            </p:cNvSpPr>
            <p:nvPr/>
          </p:nvSpPr>
          <p:spPr bwMode="auto">
            <a:xfrm>
              <a:off x="7620104" y="3016376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</p:grpSp>
      <p:grpSp>
        <p:nvGrpSpPr>
          <p:cNvPr id="122" name="Groupe 18"/>
          <p:cNvGrpSpPr/>
          <p:nvPr/>
        </p:nvGrpSpPr>
        <p:grpSpPr>
          <a:xfrm>
            <a:off x="4104808" y="2441771"/>
            <a:ext cx="410703" cy="390943"/>
            <a:chOff x="7275806" y="2844969"/>
            <a:chExt cx="590592" cy="640848"/>
          </a:xfrm>
          <a:solidFill>
            <a:schemeClr val="accent3"/>
          </a:solidFill>
        </p:grpSpPr>
        <p:sp>
          <p:nvSpPr>
            <p:cNvPr id="123" name="Oval 184"/>
            <p:cNvSpPr>
              <a:spLocks noChangeArrowheads="1"/>
            </p:cNvSpPr>
            <p:nvPr/>
          </p:nvSpPr>
          <p:spPr bwMode="auto">
            <a:xfrm>
              <a:off x="7336131" y="2847303"/>
              <a:ext cx="141288" cy="141287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24" name="Oval 189"/>
            <p:cNvSpPr>
              <a:spLocks noChangeArrowheads="1"/>
            </p:cNvSpPr>
            <p:nvPr/>
          </p:nvSpPr>
          <p:spPr bwMode="auto">
            <a:xfrm>
              <a:off x="7677486" y="2844969"/>
              <a:ext cx="142875" cy="1412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25" name="Freeform 183"/>
            <p:cNvSpPr>
              <a:spLocks/>
            </p:cNvSpPr>
            <p:nvPr/>
          </p:nvSpPr>
          <p:spPr bwMode="auto">
            <a:xfrm>
              <a:off x="7278206" y="3010798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26" name="Freeform 182"/>
            <p:cNvSpPr>
              <a:spLocks/>
            </p:cNvSpPr>
            <p:nvPr/>
          </p:nvSpPr>
          <p:spPr bwMode="auto">
            <a:xfrm>
              <a:off x="7275806" y="2965436"/>
              <a:ext cx="261938" cy="514350"/>
            </a:xfrm>
            <a:custGeom>
              <a:avLst/>
              <a:gdLst>
                <a:gd name="T0" fmla="*/ 78 w 92"/>
                <a:gd name="T1" fmla="*/ 79 h 182"/>
                <a:gd name="T2" fmla="*/ 86 w 92"/>
                <a:gd name="T3" fmla="*/ 59 h 182"/>
                <a:gd name="T4" fmla="*/ 86 w 92"/>
                <a:gd name="T5" fmla="*/ 29 h 182"/>
                <a:gd name="T6" fmla="*/ 86 w 92"/>
                <a:gd name="T7" fmla="*/ 24 h 182"/>
                <a:gd name="T8" fmla="*/ 65 w 92"/>
                <a:gd name="T9" fmla="*/ 1 h 182"/>
                <a:gd name="T10" fmla="*/ 57 w 92"/>
                <a:gd name="T11" fmla="*/ 0 h 182"/>
                <a:gd name="T12" fmla="*/ 36 w 92"/>
                <a:gd name="T13" fmla="*/ 0 h 182"/>
                <a:gd name="T14" fmla="*/ 17 w 92"/>
                <a:gd name="T15" fmla="*/ 7 h 182"/>
                <a:gd name="T16" fmla="*/ 18 w 92"/>
                <a:gd name="T17" fmla="*/ 8 h 182"/>
                <a:gd name="T18" fmla="*/ 32 w 92"/>
                <a:gd name="T19" fmla="*/ 19 h 182"/>
                <a:gd name="T20" fmla="*/ 22 w 92"/>
                <a:gd name="T21" fmla="*/ 52 h 182"/>
                <a:gd name="T22" fmla="*/ 7 w 92"/>
                <a:gd name="T23" fmla="*/ 54 h 182"/>
                <a:gd name="T24" fmla="*/ 7 w 92"/>
                <a:gd name="T25" fmla="*/ 59 h 182"/>
                <a:gd name="T26" fmla="*/ 14 w 92"/>
                <a:gd name="T27" fmla="*/ 79 h 182"/>
                <a:gd name="T28" fmla="*/ 0 w 92"/>
                <a:gd name="T29" fmla="*/ 130 h 182"/>
                <a:gd name="T30" fmla="*/ 3 w 92"/>
                <a:gd name="T31" fmla="*/ 134 h 182"/>
                <a:gd name="T32" fmla="*/ 21 w 92"/>
                <a:gd name="T33" fmla="*/ 134 h 182"/>
                <a:gd name="T34" fmla="*/ 21 w 92"/>
                <a:gd name="T35" fmla="*/ 179 h 182"/>
                <a:gd name="T36" fmla="*/ 25 w 92"/>
                <a:gd name="T37" fmla="*/ 182 h 182"/>
                <a:gd name="T38" fmla="*/ 68 w 92"/>
                <a:gd name="T39" fmla="*/ 182 h 182"/>
                <a:gd name="T40" fmla="*/ 72 w 92"/>
                <a:gd name="T41" fmla="*/ 179 h 182"/>
                <a:gd name="T42" fmla="*/ 72 w 92"/>
                <a:gd name="T43" fmla="*/ 134 h 182"/>
                <a:gd name="T44" fmla="*/ 89 w 92"/>
                <a:gd name="T45" fmla="*/ 134 h 182"/>
                <a:gd name="T46" fmla="*/ 92 w 92"/>
                <a:gd name="T47" fmla="*/ 130 h 182"/>
                <a:gd name="T48" fmla="*/ 78 w 92"/>
                <a:gd name="T49" fmla="*/ 7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2" h="182">
                  <a:moveTo>
                    <a:pt x="78" y="79"/>
                  </a:moveTo>
                  <a:cubicBezTo>
                    <a:pt x="83" y="74"/>
                    <a:pt x="86" y="67"/>
                    <a:pt x="86" y="5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7"/>
                    <a:pt x="86" y="26"/>
                    <a:pt x="86" y="24"/>
                  </a:cubicBezTo>
                  <a:cubicBezTo>
                    <a:pt x="84" y="17"/>
                    <a:pt x="81" y="6"/>
                    <a:pt x="65" y="1"/>
                  </a:cubicBezTo>
                  <a:cubicBezTo>
                    <a:pt x="62" y="0"/>
                    <a:pt x="60" y="0"/>
                    <a:pt x="5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9" y="0"/>
                    <a:pt x="22" y="3"/>
                    <a:pt x="17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24" y="9"/>
                    <a:pt x="29" y="13"/>
                    <a:pt x="32" y="19"/>
                  </a:cubicBezTo>
                  <a:cubicBezTo>
                    <a:pt x="38" y="31"/>
                    <a:pt x="34" y="45"/>
                    <a:pt x="22" y="52"/>
                  </a:cubicBezTo>
                  <a:cubicBezTo>
                    <a:pt x="17" y="54"/>
                    <a:pt x="12" y="55"/>
                    <a:pt x="7" y="54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7"/>
                    <a:pt x="9" y="73"/>
                    <a:pt x="14" y="7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2"/>
                    <a:pt x="2" y="134"/>
                    <a:pt x="3" y="134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1" y="181"/>
                    <a:pt x="23" y="182"/>
                    <a:pt x="25" y="182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70" y="182"/>
                    <a:pt x="72" y="181"/>
                    <a:pt x="72" y="179"/>
                  </a:cubicBezTo>
                  <a:cubicBezTo>
                    <a:pt x="72" y="134"/>
                    <a:pt x="72" y="134"/>
                    <a:pt x="72" y="134"/>
                  </a:cubicBezTo>
                  <a:cubicBezTo>
                    <a:pt x="89" y="134"/>
                    <a:pt x="89" y="134"/>
                    <a:pt x="89" y="134"/>
                  </a:cubicBezTo>
                  <a:cubicBezTo>
                    <a:pt x="91" y="134"/>
                    <a:pt x="92" y="132"/>
                    <a:pt x="92" y="130"/>
                  </a:cubicBezTo>
                  <a:lnTo>
                    <a:pt x="78" y="7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27" name="Freeform 188"/>
            <p:cNvSpPr>
              <a:spLocks/>
            </p:cNvSpPr>
            <p:nvPr/>
          </p:nvSpPr>
          <p:spPr bwMode="auto">
            <a:xfrm>
              <a:off x="7640973" y="2971467"/>
              <a:ext cx="225425" cy="514350"/>
            </a:xfrm>
            <a:custGeom>
              <a:avLst/>
              <a:gdLst>
                <a:gd name="T0" fmla="*/ 79 w 79"/>
                <a:gd name="T1" fmla="*/ 24 h 182"/>
                <a:gd name="T2" fmla="*/ 58 w 79"/>
                <a:gd name="T3" fmla="*/ 1 h 182"/>
                <a:gd name="T4" fmla="*/ 50 w 79"/>
                <a:gd name="T5" fmla="*/ 0 h 182"/>
                <a:gd name="T6" fmla="*/ 29 w 79"/>
                <a:gd name="T7" fmla="*/ 0 h 182"/>
                <a:gd name="T8" fmla="*/ 24 w 79"/>
                <a:gd name="T9" fmla="*/ 0 h 182"/>
                <a:gd name="T10" fmla="*/ 22 w 79"/>
                <a:gd name="T11" fmla="*/ 1 h 182"/>
                <a:gd name="T12" fmla="*/ 21 w 79"/>
                <a:gd name="T13" fmla="*/ 1 h 182"/>
                <a:gd name="T14" fmla="*/ 20 w 79"/>
                <a:gd name="T15" fmla="*/ 1 h 182"/>
                <a:gd name="T16" fmla="*/ 17 w 79"/>
                <a:gd name="T17" fmla="*/ 3 h 182"/>
                <a:gd name="T18" fmla="*/ 15 w 79"/>
                <a:gd name="T19" fmla="*/ 4 h 182"/>
                <a:gd name="T20" fmla="*/ 13 w 79"/>
                <a:gd name="T21" fmla="*/ 5 h 182"/>
                <a:gd name="T22" fmla="*/ 10 w 79"/>
                <a:gd name="T23" fmla="*/ 7 h 182"/>
                <a:gd name="T24" fmla="*/ 25 w 79"/>
                <a:gd name="T25" fmla="*/ 18 h 182"/>
                <a:gd name="T26" fmla="*/ 15 w 79"/>
                <a:gd name="T27" fmla="*/ 51 h 182"/>
                <a:gd name="T28" fmla="*/ 0 w 79"/>
                <a:gd name="T29" fmla="*/ 54 h 182"/>
                <a:gd name="T30" fmla="*/ 0 w 79"/>
                <a:gd name="T31" fmla="*/ 71 h 182"/>
                <a:gd name="T32" fmla="*/ 14 w 79"/>
                <a:gd name="T33" fmla="*/ 97 h 182"/>
                <a:gd name="T34" fmla="*/ 14 w 79"/>
                <a:gd name="T35" fmla="*/ 179 h 182"/>
                <a:gd name="T36" fmla="*/ 17 w 79"/>
                <a:gd name="T37" fmla="*/ 182 h 182"/>
                <a:gd name="T38" fmla="*/ 61 w 79"/>
                <a:gd name="T39" fmla="*/ 182 h 182"/>
                <a:gd name="T40" fmla="*/ 65 w 79"/>
                <a:gd name="T41" fmla="*/ 179 h 182"/>
                <a:gd name="T42" fmla="*/ 65 w 79"/>
                <a:gd name="T43" fmla="*/ 97 h 182"/>
                <a:gd name="T44" fmla="*/ 79 w 79"/>
                <a:gd name="T45" fmla="*/ 71 h 182"/>
                <a:gd name="T46" fmla="*/ 79 w 79"/>
                <a:gd name="T47" fmla="*/ 29 h 182"/>
                <a:gd name="T48" fmla="*/ 79 w 79"/>
                <a:gd name="T49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182">
                  <a:moveTo>
                    <a:pt x="79" y="24"/>
                  </a:moveTo>
                  <a:cubicBezTo>
                    <a:pt x="77" y="17"/>
                    <a:pt x="73" y="6"/>
                    <a:pt x="58" y="1"/>
                  </a:cubicBezTo>
                  <a:cubicBezTo>
                    <a:pt x="55" y="0"/>
                    <a:pt x="53" y="0"/>
                    <a:pt x="5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0"/>
                    <a:pt x="26" y="0"/>
                    <a:pt x="24" y="0"/>
                  </a:cubicBezTo>
                  <a:cubicBezTo>
                    <a:pt x="24" y="0"/>
                    <a:pt x="23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9" y="2"/>
                    <a:pt x="18" y="2"/>
                    <a:pt x="17" y="3"/>
                  </a:cubicBezTo>
                  <a:cubicBezTo>
                    <a:pt x="16" y="3"/>
                    <a:pt x="15" y="3"/>
                    <a:pt x="15" y="4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2" y="5"/>
                    <a:pt x="11" y="6"/>
                    <a:pt x="10" y="7"/>
                  </a:cubicBezTo>
                  <a:cubicBezTo>
                    <a:pt x="16" y="8"/>
                    <a:pt x="22" y="12"/>
                    <a:pt x="25" y="18"/>
                  </a:cubicBezTo>
                  <a:cubicBezTo>
                    <a:pt x="31" y="30"/>
                    <a:pt x="27" y="45"/>
                    <a:pt x="15" y="51"/>
                  </a:cubicBezTo>
                  <a:cubicBezTo>
                    <a:pt x="10" y="54"/>
                    <a:pt x="5" y="55"/>
                    <a:pt x="0" y="5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2"/>
                    <a:pt x="5" y="91"/>
                    <a:pt x="14" y="97"/>
                  </a:cubicBezTo>
                  <a:cubicBezTo>
                    <a:pt x="14" y="179"/>
                    <a:pt x="14" y="179"/>
                    <a:pt x="14" y="179"/>
                  </a:cubicBezTo>
                  <a:cubicBezTo>
                    <a:pt x="14" y="181"/>
                    <a:pt x="16" y="182"/>
                    <a:pt x="17" y="182"/>
                  </a:cubicBezTo>
                  <a:cubicBezTo>
                    <a:pt x="61" y="182"/>
                    <a:pt x="61" y="182"/>
                    <a:pt x="61" y="182"/>
                  </a:cubicBezTo>
                  <a:cubicBezTo>
                    <a:pt x="63" y="182"/>
                    <a:pt x="65" y="181"/>
                    <a:pt x="65" y="179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74" y="91"/>
                    <a:pt x="79" y="82"/>
                    <a:pt x="79" y="71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7"/>
                    <a:pt x="79" y="26"/>
                    <a:pt x="79" y="2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28" name="Freeform 183"/>
            <p:cNvSpPr>
              <a:spLocks/>
            </p:cNvSpPr>
            <p:nvPr/>
          </p:nvSpPr>
          <p:spPr bwMode="auto">
            <a:xfrm>
              <a:off x="7620104" y="3016376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</p:grpSp>
      <p:cxnSp>
        <p:nvCxnSpPr>
          <p:cNvPr id="129" name="Connecteur droit 128"/>
          <p:cNvCxnSpPr/>
          <p:nvPr/>
        </p:nvCxnSpPr>
        <p:spPr bwMode="auto">
          <a:xfrm flipV="1">
            <a:off x="4755932" y="2695766"/>
            <a:ext cx="1368000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130" name="Image 12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021536" y="2470901"/>
            <a:ext cx="186267" cy="419100"/>
          </a:xfrm>
          <a:prstGeom prst="rect">
            <a:avLst/>
          </a:prstGeom>
          <a:ln>
            <a:noFill/>
          </a:ln>
        </p:spPr>
      </p:pic>
      <p:sp>
        <p:nvSpPr>
          <p:cNvPr id="131" name="Titre 15"/>
          <p:cNvSpPr txBox="1">
            <a:spLocks/>
          </p:cNvSpPr>
          <p:nvPr/>
        </p:nvSpPr>
        <p:spPr>
          <a:xfrm>
            <a:off x="2056755" y="2720363"/>
            <a:ext cx="1447336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200" smtClean="0">
                <a:solidFill>
                  <a:srgbClr val="FFFFFF"/>
                </a:solidFill>
              </a:rPr>
              <a:t>Sign-up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132" name="Titre 15"/>
          <p:cNvSpPr txBox="1">
            <a:spLocks/>
          </p:cNvSpPr>
          <p:nvPr/>
        </p:nvSpPr>
        <p:spPr>
          <a:xfrm>
            <a:off x="389079" y="3072379"/>
            <a:ext cx="1447336" cy="54481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Users</a:t>
            </a:r>
            <a:endParaRPr lang="fr-FR" sz="1000" kern="0" cap="all" dirty="0">
              <a:solidFill>
                <a:srgbClr val="FFFFFF"/>
              </a:solidFill>
            </a:endParaRPr>
          </a:p>
        </p:txBody>
      </p:sp>
      <p:sp>
        <p:nvSpPr>
          <p:cNvPr id="133" name="Titre 15"/>
          <p:cNvSpPr txBox="1">
            <a:spLocks/>
          </p:cNvSpPr>
          <p:nvPr/>
        </p:nvSpPr>
        <p:spPr>
          <a:xfrm>
            <a:off x="6748817" y="3070885"/>
            <a:ext cx="1447336" cy="544815"/>
          </a:xfrm>
          <a:prstGeom prst="rect">
            <a:avLst/>
          </a:prstGeom>
          <a:ln>
            <a:noFill/>
          </a:ln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Rainbow</a:t>
            </a:r>
            <a:br>
              <a:rPr lang="en-US" sz="1200" dirty="0" smtClean="0">
                <a:solidFill>
                  <a:srgbClr val="FFFFFF"/>
                </a:solidFill>
              </a:rPr>
            </a:br>
            <a:r>
              <a:rPr lang="en-US" sz="1200" dirty="0" smtClean="0">
                <a:solidFill>
                  <a:srgbClr val="FFFFFF"/>
                </a:solidFill>
              </a:rPr>
              <a:t>Developers</a:t>
            </a:r>
            <a:endParaRPr lang="fr-FR" sz="1000" kern="0" cap="all" dirty="0">
              <a:solidFill>
                <a:srgbClr val="FFFFFF"/>
              </a:solidFill>
            </a:endParaRPr>
          </a:p>
        </p:txBody>
      </p:sp>
      <p:pic>
        <p:nvPicPr>
          <p:cNvPr id="134" name="Image 23" descr="256256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552802" y="2165575"/>
            <a:ext cx="456986" cy="4569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Picture 2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6438" y="1297644"/>
            <a:ext cx="2223042" cy="6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6" name="Image 16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80176" y="2153753"/>
            <a:ext cx="186267" cy="419100"/>
          </a:xfrm>
          <a:prstGeom prst="rect">
            <a:avLst/>
          </a:prstGeom>
          <a:ln>
            <a:noFill/>
          </a:ln>
        </p:spPr>
      </p:pic>
      <p:pic>
        <p:nvPicPr>
          <p:cNvPr id="180" name="Image 17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25661" y="2219640"/>
            <a:ext cx="186267" cy="419100"/>
          </a:xfrm>
          <a:prstGeom prst="rect">
            <a:avLst/>
          </a:prstGeom>
          <a:ln>
            <a:noFill/>
          </a:ln>
        </p:spPr>
      </p:pic>
      <p:pic>
        <p:nvPicPr>
          <p:cNvPr id="181" name="Picture 2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216" y="2395953"/>
            <a:ext cx="1010622" cy="281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2" name="Image 23" descr="256256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544307" y="2154637"/>
            <a:ext cx="203625" cy="203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68738" y="1875635"/>
            <a:ext cx="280535" cy="280535"/>
          </a:xfrm>
          <a:prstGeom prst="rect">
            <a:avLst/>
          </a:prstGeom>
        </p:spPr>
      </p:pic>
      <p:grpSp>
        <p:nvGrpSpPr>
          <p:cNvPr id="184" name="Groupe 18"/>
          <p:cNvGrpSpPr/>
          <p:nvPr/>
        </p:nvGrpSpPr>
        <p:grpSpPr>
          <a:xfrm>
            <a:off x="6166234" y="3828608"/>
            <a:ext cx="410703" cy="390943"/>
            <a:chOff x="7275806" y="2844969"/>
            <a:chExt cx="590592" cy="640848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85" name="Oval 184"/>
            <p:cNvSpPr>
              <a:spLocks noChangeArrowheads="1"/>
            </p:cNvSpPr>
            <p:nvPr/>
          </p:nvSpPr>
          <p:spPr bwMode="auto">
            <a:xfrm>
              <a:off x="7336131" y="2847303"/>
              <a:ext cx="141288" cy="141287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86" name="Oval 189"/>
            <p:cNvSpPr>
              <a:spLocks noChangeArrowheads="1"/>
            </p:cNvSpPr>
            <p:nvPr/>
          </p:nvSpPr>
          <p:spPr bwMode="auto">
            <a:xfrm>
              <a:off x="7677486" y="2844969"/>
              <a:ext cx="142875" cy="1412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87" name="Freeform 183"/>
            <p:cNvSpPr>
              <a:spLocks/>
            </p:cNvSpPr>
            <p:nvPr/>
          </p:nvSpPr>
          <p:spPr bwMode="auto">
            <a:xfrm>
              <a:off x="7278206" y="3010798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88" name="Freeform 182"/>
            <p:cNvSpPr>
              <a:spLocks/>
            </p:cNvSpPr>
            <p:nvPr/>
          </p:nvSpPr>
          <p:spPr bwMode="auto">
            <a:xfrm>
              <a:off x="7275806" y="2965436"/>
              <a:ext cx="261938" cy="514350"/>
            </a:xfrm>
            <a:custGeom>
              <a:avLst/>
              <a:gdLst>
                <a:gd name="T0" fmla="*/ 78 w 92"/>
                <a:gd name="T1" fmla="*/ 79 h 182"/>
                <a:gd name="T2" fmla="*/ 86 w 92"/>
                <a:gd name="T3" fmla="*/ 59 h 182"/>
                <a:gd name="T4" fmla="*/ 86 w 92"/>
                <a:gd name="T5" fmla="*/ 29 h 182"/>
                <a:gd name="T6" fmla="*/ 86 w 92"/>
                <a:gd name="T7" fmla="*/ 24 h 182"/>
                <a:gd name="T8" fmla="*/ 65 w 92"/>
                <a:gd name="T9" fmla="*/ 1 h 182"/>
                <a:gd name="T10" fmla="*/ 57 w 92"/>
                <a:gd name="T11" fmla="*/ 0 h 182"/>
                <a:gd name="T12" fmla="*/ 36 w 92"/>
                <a:gd name="T13" fmla="*/ 0 h 182"/>
                <a:gd name="T14" fmla="*/ 17 w 92"/>
                <a:gd name="T15" fmla="*/ 7 h 182"/>
                <a:gd name="T16" fmla="*/ 18 w 92"/>
                <a:gd name="T17" fmla="*/ 8 h 182"/>
                <a:gd name="T18" fmla="*/ 32 w 92"/>
                <a:gd name="T19" fmla="*/ 19 h 182"/>
                <a:gd name="T20" fmla="*/ 22 w 92"/>
                <a:gd name="T21" fmla="*/ 52 h 182"/>
                <a:gd name="T22" fmla="*/ 7 w 92"/>
                <a:gd name="T23" fmla="*/ 54 h 182"/>
                <a:gd name="T24" fmla="*/ 7 w 92"/>
                <a:gd name="T25" fmla="*/ 59 h 182"/>
                <a:gd name="T26" fmla="*/ 14 w 92"/>
                <a:gd name="T27" fmla="*/ 79 h 182"/>
                <a:gd name="T28" fmla="*/ 0 w 92"/>
                <a:gd name="T29" fmla="*/ 130 h 182"/>
                <a:gd name="T30" fmla="*/ 3 w 92"/>
                <a:gd name="T31" fmla="*/ 134 h 182"/>
                <a:gd name="T32" fmla="*/ 21 w 92"/>
                <a:gd name="T33" fmla="*/ 134 h 182"/>
                <a:gd name="T34" fmla="*/ 21 w 92"/>
                <a:gd name="T35" fmla="*/ 179 h 182"/>
                <a:gd name="T36" fmla="*/ 25 w 92"/>
                <a:gd name="T37" fmla="*/ 182 h 182"/>
                <a:gd name="T38" fmla="*/ 68 w 92"/>
                <a:gd name="T39" fmla="*/ 182 h 182"/>
                <a:gd name="T40" fmla="*/ 72 w 92"/>
                <a:gd name="T41" fmla="*/ 179 h 182"/>
                <a:gd name="T42" fmla="*/ 72 w 92"/>
                <a:gd name="T43" fmla="*/ 134 h 182"/>
                <a:gd name="T44" fmla="*/ 89 w 92"/>
                <a:gd name="T45" fmla="*/ 134 h 182"/>
                <a:gd name="T46" fmla="*/ 92 w 92"/>
                <a:gd name="T47" fmla="*/ 130 h 182"/>
                <a:gd name="T48" fmla="*/ 78 w 92"/>
                <a:gd name="T49" fmla="*/ 7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2" h="182">
                  <a:moveTo>
                    <a:pt x="78" y="79"/>
                  </a:moveTo>
                  <a:cubicBezTo>
                    <a:pt x="83" y="74"/>
                    <a:pt x="86" y="67"/>
                    <a:pt x="86" y="5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7"/>
                    <a:pt x="86" y="26"/>
                    <a:pt x="86" y="24"/>
                  </a:cubicBezTo>
                  <a:cubicBezTo>
                    <a:pt x="84" y="17"/>
                    <a:pt x="81" y="6"/>
                    <a:pt x="65" y="1"/>
                  </a:cubicBezTo>
                  <a:cubicBezTo>
                    <a:pt x="62" y="0"/>
                    <a:pt x="60" y="0"/>
                    <a:pt x="5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9" y="0"/>
                    <a:pt x="22" y="3"/>
                    <a:pt x="17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24" y="9"/>
                    <a:pt x="29" y="13"/>
                    <a:pt x="32" y="19"/>
                  </a:cubicBezTo>
                  <a:cubicBezTo>
                    <a:pt x="38" y="31"/>
                    <a:pt x="34" y="45"/>
                    <a:pt x="22" y="52"/>
                  </a:cubicBezTo>
                  <a:cubicBezTo>
                    <a:pt x="17" y="54"/>
                    <a:pt x="12" y="55"/>
                    <a:pt x="7" y="54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7"/>
                    <a:pt x="9" y="73"/>
                    <a:pt x="14" y="7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2"/>
                    <a:pt x="2" y="134"/>
                    <a:pt x="3" y="134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1" y="181"/>
                    <a:pt x="23" y="182"/>
                    <a:pt x="25" y="182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70" y="182"/>
                    <a:pt x="72" y="181"/>
                    <a:pt x="72" y="179"/>
                  </a:cubicBezTo>
                  <a:cubicBezTo>
                    <a:pt x="72" y="134"/>
                    <a:pt x="72" y="134"/>
                    <a:pt x="72" y="134"/>
                  </a:cubicBezTo>
                  <a:cubicBezTo>
                    <a:pt x="89" y="134"/>
                    <a:pt x="89" y="134"/>
                    <a:pt x="89" y="134"/>
                  </a:cubicBezTo>
                  <a:cubicBezTo>
                    <a:pt x="91" y="134"/>
                    <a:pt x="92" y="132"/>
                    <a:pt x="92" y="130"/>
                  </a:cubicBezTo>
                  <a:lnTo>
                    <a:pt x="78" y="7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89" name="Freeform 188"/>
            <p:cNvSpPr>
              <a:spLocks/>
            </p:cNvSpPr>
            <p:nvPr/>
          </p:nvSpPr>
          <p:spPr bwMode="auto">
            <a:xfrm>
              <a:off x="7640973" y="2971467"/>
              <a:ext cx="225425" cy="514350"/>
            </a:xfrm>
            <a:custGeom>
              <a:avLst/>
              <a:gdLst>
                <a:gd name="T0" fmla="*/ 79 w 79"/>
                <a:gd name="T1" fmla="*/ 24 h 182"/>
                <a:gd name="T2" fmla="*/ 58 w 79"/>
                <a:gd name="T3" fmla="*/ 1 h 182"/>
                <a:gd name="T4" fmla="*/ 50 w 79"/>
                <a:gd name="T5" fmla="*/ 0 h 182"/>
                <a:gd name="T6" fmla="*/ 29 w 79"/>
                <a:gd name="T7" fmla="*/ 0 h 182"/>
                <a:gd name="T8" fmla="*/ 24 w 79"/>
                <a:gd name="T9" fmla="*/ 0 h 182"/>
                <a:gd name="T10" fmla="*/ 22 w 79"/>
                <a:gd name="T11" fmla="*/ 1 h 182"/>
                <a:gd name="T12" fmla="*/ 21 w 79"/>
                <a:gd name="T13" fmla="*/ 1 h 182"/>
                <a:gd name="T14" fmla="*/ 20 w 79"/>
                <a:gd name="T15" fmla="*/ 1 h 182"/>
                <a:gd name="T16" fmla="*/ 17 w 79"/>
                <a:gd name="T17" fmla="*/ 3 h 182"/>
                <a:gd name="T18" fmla="*/ 15 w 79"/>
                <a:gd name="T19" fmla="*/ 4 h 182"/>
                <a:gd name="T20" fmla="*/ 13 w 79"/>
                <a:gd name="T21" fmla="*/ 5 h 182"/>
                <a:gd name="T22" fmla="*/ 10 w 79"/>
                <a:gd name="T23" fmla="*/ 7 h 182"/>
                <a:gd name="T24" fmla="*/ 25 w 79"/>
                <a:gd name="T25" fmla="*/ 18 h 182"/>
                <a:gd name="T26" fmla="*/ 15 w 79"/>
                <a:gd name="T27" fmla="*/ 51 h 182"/>
                <a:gd name="T28" fmla="*/ 0 w 79"/>
                <a:gd name="T29" fmla="*/ 54 h 182"/>
                <a:gd name="T30" fmla="*/ 0 w 79"/>
                <a:gd name="T31" fmla="*/ 71 h 182"/>
                <a:gd name="T32" fmla="*/ 14 w 79"/>
                <a:gd name="T33" fmla="*/ 97 h 182"/>
                <a:gd name="T34" fmla="*/ 14 w 79"/>
                <a:gd name="T35" fmla="*/ 179 h 182"/>
                <a:gd name="T36" fmla="*/ 17 w 79"/>
                <a:gd name="T37" fmla="*/ 182 h 182"/>
                <a:gd name="T38" fmla="*/ 61 w 79"/>
                <a:gd name="T39" fmla="*/ 182 h 182"/>
                <a:gd name="T40" fmla="*/ 65 w 79"/>
                <a:gd name="T41" fmla="*/ 179 h 182"/>
                <a:gd name="T42" fmla="*/ 65 w 79"/>
                <a:gd name="T43" fmla="*/ 97 h 182"/>
                <a:gd name="T44" fmla="*/ 79 w 79"/>
                <a:gd name="T45" fmla="*/ 71 h 182"/>
                <a:gd name="T46" fmla="*/ 79 w 79"/>
                <a:gd name="T47" fmla="*/ 29 h 182"/>
                <a:gd name="T48" fmla="*/ 79 w 79"/>
                <a:gd name="T49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182">
                  <a:moveTo>
                    <a:pt x="79" y="24"/>
                  </a:moveTo>
                  <a:cubicBezTo>
                    <a:pt x="77" y="17"/>
                    <a:pt x="73" y="6"/>
                    <a:pt x="58" y="1"/>
                  </a:cubicBezTo>
                  <a:cubicBezTo>
                    <a:pt x="55" y="0"/>
                    <a:pt x="53" y="0"/>
                    <a:pt x="5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0"/>
                    <a:pt x="26" y="0"/>
                    <a:pt x="24" y="0"/>
                  </a:cubicBezTo>
                  <a:cubicBezTo>
                    <a:pt x="24" y="0"/>
                    <a:pt x="23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9" y="2"/>
                    <a:pt x="18" y="2"/>
                    <a:pt x="17" y="3"/>
                  </a:cubicBezTo>
                  <a:cubicBezTo>
                    <a:pt x="16" y="3"/>
                    <a:pt x="15" y="3"/>
                    <a:pt x="15" y="4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2" y="5"/>
                    <a:pt x="11" y="6"/>
                    <a:pt x="10" y="7"/>
                  </a:cubicBezTo>
                  <a:cubicBezTo>
                    <a:pt x="16" y="8"/>
                    <a:pt x="22" y="12"/>
                    <a:pt x="25" y="18"/>
                  </a:cubicBezTo>
                  <a:cubicBezTo>
                    <a:pt x="31" y="30"/>
                    <a:pt x="27" y="45"/>
                    <a:pt x="15" y="51"/>
                  </a:cubicBezTo>
                  <a:cubicBezTo>
                    <a:pt x="10" y="54"/>
                    <a:pt x="5" y="55"/>
                    <a:pt x="0" y="5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2"/>
                    <a:pt x="5" y="91"/>
                    <a:pt x="14" y="97"/>
                  </a:cubicBezTo>
                  <a:cubicBezTo>
                    <a:pt x="14" y="179"/>
                    <a:pt x="14" y="179"/>
                    <a:pt x="14" y="179"/>
                  </a:cubicBezTo>
                  <a:cubicBezTo>
                    <a:pt x="14" y="181"/>
                    <a:pt x="16" y="182"/>
                    <a:pt x="17" y="182"/>
                  </a:cubicBezTo>
                  <a:cubicBezTo>
                    <a:pt x="61" y="182"/>
                    <a:pt x="61" y="182"/>
                    <a:pt x="61" y="182"/>
                  </a:cubicBezTo>
                  <a:cubicBezTo>
                    <a:pt x="63" y="182"/>
                    <a:pt x="65" y="181"/>
                    <a:pt x="65" y="179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74" y="91"/>
                    <a:pt x="79" y="82"/>
                    <a:pt x="79" y="71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7"/>
                    <a:pt x="79" y="26"/>
                    <a:pt x="79" y="2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190" name="Freeform 183"/>
            <p:cNvSpPr>
              <a:spLocks/>
            </p:cNvSpPr>
            <p:nvPr/>
          </p:nvSpPr>
          <p:spPr bwMode="auto">
            <a:xfrm>
              <a:off x="7620104" y="3016376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</p:grpSp>
      <p:sp>
        <p:nvSpPr>
          <p:cNvPr id="191" name="Titre 15"/>
          <p:cNvSpPr txBox="1">
            <a:spLocks/>
          </p:cNvSpPr>
          <p:nvPr/>
        </p:nvSpPr>
        <p:spPr>
          <a:xfrm>
            <a:off x="5681994" y="4229419"/>
            <a:ext cx="1447336" cy="54481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Visitors</a:t>
            </a:r>
            <a:endParaRPr lang="fr-FR" sz="1000" kern="0" cap="all" dirty="0">
              <a:solidFill>
                <a:srgbClr val="FFFFFF"/>
              </a:solidFill>
            </a:endParaRPr>
          </a:p>
        </p:txBody>
      </p:sp>
      <p:pic>
        <p:nvPicPr>
          <p:cNvPr id="192" name="Image 19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94099" y="2388400"/>
            <a:ext cx="186267" cy="419100"/>
          </a:xfrm>
          <a:prstGeom prst="rect">
            <a:avLst/>
          </a:prstGeom>
          <a:ln>
            <a:noFill/>
          </a:ln>
        </p:spPr>
      </p:pic>
      <p:pic>
        <p:nvPicPr>
          <p:cNvPr id="193" name="Image 19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85795" y="2302007"/>
            <a:ext cx="186267" cy="419100"/>
          </a:xfrm>
          <a:prstGeom prst="rect">
            <a:avLst/>
          </a:prstGeom>
          <a:ln>
            <a:noFill/>
          </a:ln>
        </p:spPr>
      </p:pic>
      <p:pic>
        <p:nvPicPr>
          <p:cNvPr id="194" name="Image 19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63058" y="2435462"/>
            <a:ext cx="186267" cy="4191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8924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69067" y="170260"/>
            <a:ext cx="4011399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DISCOVER POSSIBILITIES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sp>
        <p:nvSpPr>
          <p:cNvPr id="10" name="Freeform 72"/>
          <p:cNvSpPr>
            <a:spLocks noEditPoints="1"/>
          </p:cNvSpPr>
          <p:nvPr/>
        </p:nvSpPr>
        <p:spPr bwMode="auto">
          <a:xfrm>
            <a:off x="3315328" y="296927"/>
            <a:ext cx="2487288" cy="1435437"/>
          </a:xfrm>
          <a:custGeom>
            <a:avLst/>
            <a:gdLst/>
            <a:ahLst/>
            <a:cxnLst>
              <a:cxn ang="0">
                <a:pos x="869" y="243"/>
              </a:cxn>
              <a:cxn ang="0">
                <a:pos x="737" y="147"/>
              </a:cxn>
              <a:cxn ang="0">
                <a:pos x="588" y="0"/>
              </a:cxn>
              <a:cxn ang="0">
                <a:pos x="453" y="87"/>
              </a:cxn>
              <a:cxn ang="0">
                <a:pos x="361" y="64"/>
              </a:cxn>
              <a:cxn ang="0">
                <a:pos x="305" y="72"/>
              </a:cxn>
              <a:cxn ang="0">
                <a:pos x="320" y="115"/>
              </a:cxn>
              <a:cxn ang="0">
                <a:pos x="250" y="185"/>
              </a:cxn>
              <a:cxn ang="0">
                <a:pos x="195" y="159"/>
              </a:cxn>
              <a:cxn ang="0">
                <a:pos x="168" y="257"/>
              </a:cxn>
              <a:cxn ang="0">
                <a:pos x="170" y="277"/>
              </a:cxn>
              <a:cxn ang="0">
                <a:pos x="0" y="424"/>
              </a:cxn>
              <a:cxn ang="0">
                <a:pos x="264" y="581"/>
              </a:cxn>
              <a:cxn ang="0">
                <a:pos x="431" y="545"/>
              </a:cxn>
              <a:cxn ang="0">
                <a:pos x="592" y="635"/>
              </a:cxn>
              <a:cxn ang="0">
                <a:pos x="758" y="534"/>
              </a:cxn>
              <a:cxn ang="0">
                <a:pos x="776" y="535"/>
              </a:cxn>
              <a:cxn ang="0">
                <a:pos x="811" y="533"/>
              </a:cxn>
              <a:cxn ang="0">
                <a:pos x="844" y="535"/>
              </a:cxn>
              <a:cxn ang="0">
                <a:pos x="1088" y="388"/>
              </a:cxn>
              <a:cxn ang="0">
                <a:pos x="869" y="243"/>
              </a:cxn>
              <a:cxn ang="0">
                <a:pos x="250" y="141"/>
              </a:cxn>
              <a:cxn ang="0">
                <a:pos x="278" y="113"/>
              </a:cxn>
              <a:cxn ang="0">
                <a:pos x="250" y="84"/>
              </a:cxn>
              <a:cxn ang="0">
                <a:pos x="221" y="113"/>
              </a:cxn>
              <a:cxn ang="0">
                <a:pos x="250" y="141"/>
              </a:cxn>
            </a:cxnLst>
            <a:rect l="0" t="0" r="r" b="b"/>
            <a:pathLst>
              <a:path w="1088" h="635">
                <a:moveTo>
                  <a:pt x="869" y="243"/>
                </a:moveTo>
                <a:cubicBezTo>
                  <a:pt x="848" y="189"/>
                  <a:pt x="797" y="150"/>
                  <a:pt x="737" y="147"/>
                </a:cubicBezTo>
                <a:cubicBezTo>
                  <a:pt x="736" y="66"/>
                  <a:pt x="670" y="0"/>
                  <a:pt x="588" y="0"/>
                </a:cubicBezTo>
                <a:cubicBezTo>
                  <a:pt x="528" y="0"/>
                  <a:pt x="477" y="36"/>
                  <a:pt x="453" y="87"/>
                </a:cubicBezTo>
                <a:cubicBezTo>
                  <a:pt x="426" y="72"/>
                  <a:pt x="394" y="64"/>
                  <a:pt x="361" y="64"/>
                </a:cubicBezTo>
                <a:cubicBezTo>
                  <a:pt x="342" y="64"/>
                  <a:pt x="323" y="67"/>
                  <a:pt x="305" y="72"/>
                </a:cubicBezTo>
                <a:cubicBezTo>
                  <a:pt x="314" y="84"/>
                  <a:pt x="320" y="99"/>
                  <a:pt x="320" y="115"/>
                </a:cubicBezTo>
                <a:cubicBezTo>
                  <a:pt x="320" y="154"/>
                  <a:pt x="288" y="185"/>
                  <a:pt x="250" y="185"/>
                </a:cubicBezTo>
                <a:cubicBezTo>
                  <a:pt x="228" y="185"/>
                  <a:pt x="208" y="175"/>
                  <a:pt x="195" y="159"/>
                </a:cubicBezTo>
                <a:cubicBezTo>
                  <a:pt x="178" y="187"/>
                  <a:pt x="168" y="221"/>
                  <a:pt x="168" y="257"/>
                </a:cubicBezTo>
                <a:cubicBezTo>
                  <a:pt x="168" y="263"/>
                  <a:pt x="169" y="270"/>
                  <a:pt x="170" y="277"/>
                </a:cubicBezTo>
                <a:cubicBezTo>
                  <a:pt x="71" y="300"/>
                  <a:pt x="0" y="357"/>
                  <a:pt x="0" y="424"/>
                </a:cubicBezTo>
                <a:cubicBezTo>
                  <a:pt x="0" y="511"/>
                  <a:pt x="118" y="581"/>
                  <a:pt x="264" y="581"/>
                </a:cubicBezTo>
                <a:cubicBezTo>
                  <a:pt x="327" y="581"/>
                  <a:pt x="385" y="568"/>
                  <a:pt x="431" y="545"/>
                </a:cubicBezTo>
                <a:cubicBezTo>
                  <a:pt x="460" y="598"/>
                  <a:pt x="521" y="635"/>
                  <a:pt x="592" y="635"/>
                </a:cubicBezTo>
                <a:cubicBezTo>
                  <a:pt x="667" y="635"/>
                  <a:pt x="732" y="593"/>
                  <a:pt x="758" y="534"/>
                </a:cubicBezTo>
                <a:cubicBezTo>
                  <a:pt x="764" y="535"/>
                  <a:pt x="770" y="535"/>
                  <a:pt x="776" y="535"/>
                </a:cubicBezTo>
                <a:cubicBezTo>
                  <a:pt x="788" y="535"/>
                  <a:pt x="800" y="534"/>
                  <a:pt x="811" y="533"/>
                </a:cubicBezTo>
                <a:cubicBezTo>
                  <a:pt x="822" y="534"/>
                  <a:pt x="833" y="535"/>
                  <a:pt x="844" y="535"/>
                </a:cubicBezTo>
                <a:cubicBezTo>
                  <a:pt x="979" y="535"/>
                  <a:pt x="1088" y="469"/>
                  <a:pt x="1088" y="388"/>
                </a:cubicBezTo>
                <a:cubicBezTo>
                  <a:pt x="1088" y="312"/>
                  <a:pt x="992" y="250"/>
                  <a:pt x="869" y="243"/>
                </a:cubicBezTo>
                <a:close/>
                <a:moveTo>
                  <a:pt x="250" y="141"/>
                </a:moveTo>
                <a:cubicBezTo>
                  <a:pt x="266" y="141"/>
                  <a:pt x="278" y="129"/>
                  <a:pt x="278" y="113"/>
                </a:cubicBezTo>
                <a:cubicBezTo>
                  <a:pt x="278" y="97"/>
                  <a:pt x="266" y="84"/>
                  <a:pt x="250" y="84"/>
                </a:cubicBezTo>
                <a:cubicBezTo>
                  <a:pt x="234" y="84"/>
                  <a:pt x="221" y="97"/>
                  <a:pt x="221" y="113"/>
                </a:cubicBezTo>
                <a:cubicBezTo>
                  <a:pt x="221" y="129"/>
                  <a:pt x="234" y="141"/>
                  <a:pt x="250" y="141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3567967" y="1195227"/>
            <a:ext cx="1980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smtClean="0">
                <a:solidFill>
                  <a:srgbClr val="FFFFFF"/>
                </a:solidFill>
                <a:latin typeface="Trebuchet MS" pitchFamily="34" charset="0"/>
              </a:rPr>
              <a:t>DISCOVER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3" name="Oval 79"/>
          <p:cNvSpPr/>
          <p:nvPr/>
        </p:nvSpPr>
        <p:spPr>
          <a:xfrm>
            <a:off x="898423" y="2466254"/>
            <a:ext cx="916401" cy="890193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4" name="Group 69"/>
          <p:cNvGrpSpPr/>
          <p:nvPr/>
        </p:nvGrpSpPr>
        <p:grpSpPr>
          <a:xfrm>
            <a:off x="1151291" y="2552320"/>
            <a:ext cx="415897" cy="689431"/>
            <a:chOff x="0" y="0"/>
            <a:chExt cx="847666" cy="1429440"/>
          </a:xfrm>
        </p:grpSpPr>
        <p:sp>
          <p:nvSpPr>
            <p:cNvPr id="15" name="Freeform 59"/>
            <p:cNvSpPr/>
            <p:nvPr/>
          </p:nvSpPr>
          <p:spPr>
            <a:xfrm>
              <a:off x="95962" y="0"/>
              <a:ext cx="645080" cy="6237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16835" y="21600"/>
                    <a:pt x="21600" y="16764"/>
                    <a:pt x="21600" y="10961"/>
                  </a:cubicBezTo>
                  <a:cubicBezTo>
                    <a:pt x="21600" y="4836"/>
                    <a:pt x="16835" y="0"/>
                    <a:pt x="10800" y="0"/>
                  </a:cubicBezTo>
                  <a:cubicBezTo>
                    <a:pt x="5082" y="0"/>
                    <a:pt x="0" y="4836"/>
                    <a:pt x="0" y="10961"/>
                  </a:cubicBezTo>
                  <a:cubicBezTo>
                    <a:pt x="0" y="16764"/>
                    <a:pt x="5082" y="21600"/>
                    <a:pt x="10800" y="21600"/>
                  </a:cubicBezTo>
                  <a:close/>
                  <a:moveTo>
                    <a:pt x="4447" y="10961"/>
                  </a:moveTo>
                  <a:cubicBezTo>
                    <a:pt x="5082" y="10961"/>
                    <a:pt x="5718" y="11284"/>
                    <a:pt x="5718" y="11928"/>
                  </a:cubicBezTo>
                  <a:cubicBezTo>
                    <a:pt x="6035" y="13863"/>
                    <a:pt x="9212" y="14830"/>
                    <a:pt x="11118" y="14830"/>
                  </a:cubicBezTo>
                  <a:cubicBezTo>
                    <a:pt x="13024" y="14830"/>
                    <a:pt x="15882" y="13863"/>
                    <a:pt x="16200" y="11928"/>
                  </a:cubicBezTo>
                  <a:cubicBezTo>
                    <a:pt x="16518" y="11284"/>
                    <a:pt x="16835" y="10961"/>
                    <a:pt x="17471" y="10961"/>
                  </a:cubicBezTo>
                  <a:cubicBezTo>
                    <a:pt x="18106" y="10961"/>
                    <a:pt x="18424" y="11606"/>
                    <a:pt x="18424" y="12251"/>
                  </a:cubicBezTo>
                  <a:cubicBezTo>
                    <a:pt x="17788" y="15475"/>
                    <a:pt x="13659" y="17087"/>
                    <a:pt x="11118" y="17087"/>
                  </a:cubicBezTo>
                  <a:cubicBezTo>
                    <a:pt x="8259" y="17087"/>
                    <a:pt x="4129" y="15475"/>
                    <a:pt x="3812" y="12251"/>
                  </a:cubicBezTo>
                  <a:cubicBezTo>
                    <a:pt x="3494" y="11606"/>
                    <a:pt x="4129" y="10961"/>
                    <a:pt x="4447" y="109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6" name="Freeform 60"/>
            <p:cNvSpPr/>
            <p:nvPr/>
          </p:nvSpPr>
          <p:spPr>
            <a:xfrm>
              <a:off x="28867" y="730081"/>
              <a:ext cx="171508" cy="17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54" h="19854" extrusionOk="0">
                  <a:moveTo>
                    <a:pt x="7767" y="19647"/>
                  </a:moveTo>
                  <a:cubicBezTo>
                    <a:pt x="12087" y="20727"/>
                    <a:pt x="17487" y="17487"/>
                    <a:pt x="19647" y="12087"/>
                  </a:cubicBezTo>
                  <a:cubicBezTo>
                    <a:pt x="20727" y="6687"/>
                    <a:pt x="17487" y="1287"/>
                    <a:pt x="12087" y="207"/>
                  </a:cubicBezTo>
                  <a:cubicBezTo>
                    <a:pt x="6687" y="-873"/>
                    <a:pt x="1287" y="2367"/>
                    <a:pt x="207" y="7767"/>
                  </a:cubicBezTo>
                  <a:cubicBezTo>
                    <a:pt x="-873" y="13167"/>
                    <a:pt x="2367" y="18567"/>
                    <a:pt x="7767" y="1964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7" name="Freeform 61"/>
            <p:cNvSpPr/>
            <p:nvPr/>
          </p:nvSpPr>
          <p:spPr>
            <a:xfrm>
              <a:off x="-1" y="712121"/>
              <a:ext cx="847668" cy="7173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46" y="561"/>
                  </a:moveTo>
                  <a:cubicBezTo>
                    <a:pt x="16746" y="561"/>
                    <a:pt x="16746" y="561"/>
                    <a:pt x="16746" y="561"/>
                  </a:cubicBezTo>
                  <a:cubicBezTo>
                    <a:pt x="16503" y="281"/>
                    <a:pt x="16261" y="281"/>
                    <a:pt x="16018" y="281"/>
                  </a:cubicBezTo>
                  <a:cubicBezTo>
                    <a:pt x="16018" y="281"/>
                    <a:pt x="15775" y="281"/>
                    <a:pt x="15775" y="281"/>
                  </a:cubicBezTo>
                  <a:cubicBezTo>
                    <a:pt x="15533" y="0"/>
                    <a:pt x="15290" y="0"/>
                    <a:pt x="15047" y="0"/>
                  </a:cubicBezTo>
                  <a:cubicBezTo>
                    <a:pt x="15047" y="0"/>
                    <a:pt x="15047" y="0"/>
                    <a:pt x="14804" y="0"/>
                  </a:cubicBezTo>
                  <a:cubicBezTo>
                    <a:pt x="14562" y="0"/>
                    <a:pt x="14319" y="0"/>
                    <a:pt x="14076" y="0"/>
                  </a:cubicBezTo>
                  <a:cubicBezTo>
                    <a:pt x="7766" y="0"/>
                    <a:pt x="7766" y="0"/>
                    <a:pt x="7766" y="0"/>
                  </a:cubicBezTo>
                  <a:cubicBezTo>
                    <a:pt x="8494" y="1403"/>
                    <a:pt x="8980" y="3086"/>
                    <a:pt x="8494" y="5049"/>
                  </a:cubicBezTo>
                  <a:cubicBezTo>
                    <a:pt x="7766" y="8696"/>
                    <a:pt x="4611" y="10940"/>
                    <a:pt x="1456" y="10099"/>
                  </a:cubicBezTo>
                  <a:cubicBezTo>
                    <a:pt x="971" y="9818"/>
                    <a:pt x="485" y="9538"/>
                    <a:pt x="0" y="9257"/>
                  </a:cubicBezTo>
                  <a:cubicBezTo>
                    <a:pt x="0" y="12343"/>
                    <a:pt x="0" y="12343"/>
                    <a:pt x="0" y="12343"/>
                  </a:cubicBezTo>
                  <a:cubicBezTo>
                    <a:pt x="0" y="19075"/>
                    <a:pt x="0" y="19075"/>
                    <a:pt x="0" y="19075"/>
                  </a:cubicBezTo>
                  <a:cubicBezTo>
                    <a:pt x="0" y="20478"/>
                    <a:pt x="1213" y="21600"/>
                    <a:pt x="2670" y="21600"/>
                  </a:cubicBezTo>
                  <a:cubicBezTo>
                    <a:pt x="18930" y="21600"/>
                    <a:pt x="18930" y="21600"/>
                    <a:pt x="18930" y="21600"/>
                  </a:cubicBezTo>
                  <a:cubicBezTo>
                    <a:pt x="20387" y="21600"/>
                    <a:pt x="21600" y="20478"/>
                    <a:pt x="21600" y="19075"/>
                  </a:cubicBezTo>
                  <a:cubicBezTo>
                    <a:pt x="21600" y="8696"/>
                    <a:pt x="21600" y="8696"/>
                    <a:pt x="21600" y="8696"/>
                  </a:cubicBezTo>
                  <a:cubicBezTo>
                    <a:pt x="21600" y="5049"/>
                    <a:pt x="19658" y="1964"/>
                    <a:pt x="16746" y="5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40" name="Oval 79"/>
          <p:cNvSpPr/>
          <p:nvPr/>
        </p:nvSpPr>
        <p:spPr>
          <a:xfrm>
            <a:off x="4126499" y="2468174"/>
            <a:ext cx="916401" cy="89019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5" name="Freeform 6"/>
          <p:cNvSpPr/>
          <p:nvPr/>
        </p:nvSpPr>
        <p:spPr>
          <a:xfrm>
            <a:off x="4241419" y="2569360"/>
            <a:ext cx="703494" cy="686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5" h="21153" extrusionOk="0">
                <a:moveTo>
                  <a:pt x="20206" y="10311"/>
                </a:moveTo>
                <a:cubicBezTo>
                  <a:pt x="19413" y="10081"/>
                  <a:pt x="18565" y="10512"/>
                  <a:pt x="18237" y="11288"/>
                </a:cubicBezTo>
                <a:cubicBezTo>
                  <a:pt x="15858" y="10656"/>
                  <a:pt x="15858" y="10656"/>
                  <a:pt x="15858" y="10656"/>
                </a:cubicBezTo>
                <a:cubicBezTo>
                  <a:pt x="15913" y="10368"/>
                  <a:pt x="15940" y="10081"/>
                  <a:pt x="15940" y="9794"/>
                </a:cubicBezTo>
                <a:cubicBezTo>
                  <a:pt x="15940" y="7554"/>
                  <a:pt x="14546" y="5629"/>
                  <a:pt x="12605" y="4940"/>
                </a:cubicBezTo>
                <a:cubicBezTo>
                  <a:pt x="13206" y="3130"/>
                  <a:pt x="13206" y="3130"/>
                  <a:pt x="13206" y="3130"/>
                </a:cubicBezTo>
                <a:cubicBezTo>
                  <a:pt x="13944" y="3245"/>
                  <a:pt x="14655" y="2786"/>
                  <a:pt x="14874" y="2010"/>
                </a:cubicBezTo>
                <a:cubicBezTo>
                  <a:pt x="15093" y="1177"/>
                  <a:pt x="14628" y="287"/>
                  <a:pt x="13835" y="57"/>
                </a:cubicBezTo>
                <a:cubicBezTo>
                  <a:pt x="13042" y="-173"/>
                  <a:pt x="12194" y="315"/>
                  <a:pt x="11976" y="1148"/>
                </a:cubicBezTo>
                <a:cubicBezTo>
                  <a:pt x="11784" y="1866"/>
                  <a:pt x="12085" y="2613"/>
                  <a:pt x="12687" y="2958"/>
                </a:cubicBezTo>
                <a:cubicBezTo>
                  <a:pt x="12085" y="4796"/>
                  <a:pt x="12085" y="4796"/>
                  <a:pt x="12085" y="4796"/>
                </a:cubicBezTo>
                <a:cubicBezTo>
                  <a:pt x="11757" y="4739"/>
                  <a:pt x="11429" y="4681"/>
                  <a:pt x="11073" y="4681"/>
                </a:cubicBezTo>
                <a:cubicBezTo>
                  <a:pt x="10745" y="4681"/>
                  <a:pt x="10445" y="4710"/>
                  <a:pt x="10144" y="4767"/>
                </a:cubicBezTo>
                <a:cubicBezTo>
                  <a:pt x="10226" y="5026"/>
                  <a:pt x="10281" y="5284"/>
                  <a:pt x="10281" y="5572"/>
                </a:cubicBezTo>
                <a:cubicBezTo>
                  <a:pt x="10281" y="6692"/>
                  <a:pt x="9406" y="7611"/>
                  <a:pt x="8339" y="7611"/>
                </a:cubicBezTo>
                <a:cubicBezTo>
                  <a:pt x="7820" y="7611"/>
                  <a:pt x="7328" y="7381"/>
                  <a:pt x="6972" y="7037"/>
                </a:cubicBezTo>
                <a:cubicBezTo>
                  <a:pt x="6808" y="7295"/>
                  <a:pt x="6699" y="7554"/>
                  <a:pt x="6589" y="7841"/>
                </a:cubicBezTo>
                <a:cubicBezTo>
                  <a:pt x="4894" y="7266"/>
                  <a:pt x="4894" y="7266"/>
                  <a:pt x="4894" y="7266"/>
                </a:cubicBezTo>
                <a:cubicBezTo>
                  <a:pt x="4949" y="7094"/>
                  <a:pt x="4949" y="6922"/>
                  <a:pt x="4949" y="6721"/>
                </a:cubicBezTo>
                <a:cubicBezTo>
                  <a:pt x="4949" y="5284"/>
                  <a:pt x="3855" y="4136"/>
                  <a:pt x="2488" y="4136"/>
                </a:cubicBezTo>
                <a:cubicBezTo>
                  <a:pt x="1121" y="4136"/>
                  <a:pt x="0" y="5284"/>
                  <a:pt x="0" y="6721"/>
                </a:cubicBezTo>
                <a:cubicBezTo>
                  <a:pt x="0" y="8186"/>
                  <a:pt x="1121" y="9334"/>
                  <a:pt x="2488" y="9334"/>
                </a:cubicBezTo>
                <a:cubicBezTo>
                  <a:pt x="3472" y="9334"/>
                  <a:pt x="4320" y="8703"/>
                  <a:pt x="4730" y="7812"/>
                </a:cubicBezTo>
                <a:cubicBezTo>
                  <a:pt x="6398" y="8387"/>
                  <a:pt x="6398" y="8387"/>
                  <a:pt x="6398" y="8387"/>
                </a:cubicBezTo>
                <a:cubicBezTo>
                  <a:pt x="6261" y="8846"/>
                  <a:pt x="6207" y="9306"/>
                  <a:pt x="6207" y="9794"/>
                </a:cubicBezTo>
                <a:cubicBezTo>
                  <a:pt x="6207" y="10570"/>
                  <a:pt x="6371" y="11316"/>
                  <a:pt x="6671" y="11977"/>
                </a:cubicBezTo>
                <a:cubicBezTo>
                  <a:pt x="4074" y="13729"/>
                  <a:pt x="4074" y="13729"/>
                  <a:pt x="4074" y="13729"/>
                </a:cubicBezTo>
                <a:cubicBezTo>
                  <a:pt x="3965" y="13614"/>
                  <a:pt x="3828" y="13528"/>
                  <a:pt x="3664" y="13471"/>
                </a:cubicBezTo>
                <a:cubicBezTo>
                  <a:pt x="3117" y="13298"/>
                  <a:pt x="2543" y="13643"/>
                  <a:pt x="2379" y="14217"/>
                </a:cubicBezTo>
                <a:cubicBezTo>
                  <a:pt x="2215" y="14792"/>
                  <a:pt x="2543" y="15395"/>
                  <a:pt x="3090" y="15567"/>
                </a:cubicBezTo>
                <a:cubicBezTo>
                  <a:pt x="3636" y="15740"/>
                  <a:pt x="4211" y="15395"/>
                  <a:pt x="4375" y="14821"/>
                </a:cubicBezTo>
                <a:cubicBezTo>
                  <a:pt x="4429" y="14620"/>
                  <a:pt x="4402" y="14390"/>
                  <a:pt x="4347" y="14189"/>
                </a:cubicBezTo>
                <a:cubicBezTo>
                  <a:pt x="6945" y="12494"/>
                  <a:pt x="6945" y="12494"/>
                  <a:pt x="6945" y="12494"/>
                </a:cubicBezTo>
                <a:cubicBezTo>
                  <a:pt x="7710" y="13787"/>
                  <a:pt x="8995" y="14677"/>
                  <a:pt x="10472" y="14849"/>
                </a:cubicBezTo>
                <a:cubicBezTo>
                  <a:pt x="10445" y="17262"/>
                  <a:pt x="10445" y="17262"/>
                  <a:pt x="10445" y="17262"/>
                </a:cubicBezTo>
                <a:cubicBezTo>
                  <a:pt x="10253" y="17291"/>
                  <a:pt x="10062" y="17348"/>
                  <a:pt x="9870" y="17463"/>
                </a:cubicBezTo>
                <a:cubicBezTo>
                  <a:pt x="8941" y="17951"/>
                  <a:pt x="8585" y="19129"/>
                  <a:pt x="9050" y="20106"/>
                </a:cubicBezTo>
                <a:cubicBezTo>
                  <a:pt x="9515" y="21054"/>
                  <a:pt x="10663" y="21427"/>
                  <a:pt x="11566" y="20939"/>
                </a:cubicBezTo>
                <a:cubicBezTo>
                  <a:pt x="12495" y="20450"/>
                  <a:pt x="12851" y="19273"/>
                  <a:pt x="12386" y="18296"/>
                </a:cubicBezTo>
                <a:cubicBezTo>
                  <a:pt x="12085" y="17722"/>
                  <a:pt x="11566" y="17348"/>
                  <a:pt x="10991" y="17262"/>
                </a:cubicBezTo>
                <a:cubicBezTo>
                  <a:pt x="11019" y="14907"/>
                  <a:pt x="11019" y="14907"/>
                  <a:pt x="11019" y="14907"/>
                </a:cubicBezTo>
                <a:cubicBezTo>
                  <a:pt x="11046" y="14907"/>
                  <a:pt x="11046" y="14907"/>
                  <a:pt x="11073" y="14907"/>
                </a:cubicBezTo>
                <a:cubicBezTo>
                  <a:pt x="13288" y="14907"/>
                  <a:pt x="15147" y="13356"/>
                  <a:pt x="15749" y="11201"/>
                </a:cubicBezTo>
                <a:cubicBezTo>
                  <a:pt x="18100" y="11833"/>
                  <a:pt x="18100" y="11833"/>
                  <a:pt x="18100" y="11833"/>
                </a:cubicBezTo>
                <a:cubicBezTo>
                  <a:pt x="18046" y="12666"/>
                  <a:pt x="18538" y="13442"/>
                  <a:pt x="19303" y="13672"/>
                </a:cubicBezTo>
                <a:cubicBezTo>
                  <a:pt x="20178" y="13930"/>
                  <a:pt x="21108" y="13384"/>
                  <a:pt x="21354" y="12465"/>
                </a:cubicBezTo>
                <a:cubicBezTo>
                  <a:pt x="21600" y="11546"/>
                  <a:pt x="21081" y="10570"/>
                  <a:pt x="20206" y="10311"/>
                </a:cubicBezTo>
                <a:close/>
                <a:moveTo>
                  <a:pt x="10308" y="13126"/>
                </a:moveTo>
                <a:cubicBezTo>
                  <a:pt x="8148" y="9536"/>
                  <a:pt x="8148" y="9536"/>
                  <a:pt x="8148" y="9536"/>
                </a:cubicBezTo>
                <a:cubicBezTo>
                  <a:pt x="9378" y="9536"/>
                  <a:pt x="9378" y="9536"/>
                  <a:pt x="9378" y="9536"/>
                </a:cubicBezTo>
                <a:cubicBezTo>
                  <a:pt x="10198" y="11230"/>
                  <a:pt x="10198" y="11230"/>
                  <a:pt x="10198" y="11230"/>
                </a:cubicBezTo>
                <a:cubicBezTo>
                  <a:pt x="10226" y="11230"/>
                  <a:pt x="10226" y="11230"/>
                  <a:pt x="10226" y="11230"/>
                </a:cubicBezTo>
                <a:cubicBezTo>
                  <a:pt x="12605" y="7381"/>
                  <a:pt x="12605" y="7381"/>
                  <a:pt x="12605" y="7381"/>
                </a:cubicBezTo>
                <a:cubicBezTo>
                  <a:pt x="13808" y="7381"/>
                  <a:pt x="13808" y="7381"/>
                  <a:pt x="13808" y="7381"/>
                </a:cubicBezTo>
                <a:lnTo>
                  <a:pt x="10308" y="13126"/>
                </a:ln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t">
            <a:noAutofit/>
          </a:bodyPr>
          <a:lstStyle/>
          <a:p>
            <a:pPr>
              <a:defRPr sz="3600" b="1"/>
            </a:pPr>
            <a:endParaRPr sz="1350"/>
          </a:p>
        </p:txBody>
      </p:sp>
      <p:sp>
        <p:nvSpPr>
          <p:cNvPr id="48" name="Titre 15"/>
          <p:cNvSpPr txBox="1">
            <a:spLocks/>
          </p:cNvSpPr>
          <p:nvPr/>
        </p:nvSpPr>
        <p:spPr>
          <a:xfrm>
            <a:off x="3802159" y="3838690"/>
            <a:ext cx="1447336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Getting Started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0" name="Titre 15"/>
          <p:cNvSpPr txBox="1">
            <a:spLocks/>
          </p:cNvSpPr>
          <p:nvPr/>
        </p:nvSpPr>
        <p:spPr>
          <a:xfrm>
            <a:off x="3802157" y="4210300"/>
            <a:ext cx="1745951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Guides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3447586" y="3444290"/>
            <a:ext cx="2291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DOCUMENTATION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3" name="Oval 79"/>
          <p:cNvSpPr/>
          <p:nvPr/>
        </p:nvSpPr>
        <p:spPr>
          <a:xfrm>
            <a:off x="6989707" y="2500825"/>
            <a:ext cx="916401" cy="890193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4" name="Freeform 22"/>
          <p:cNvSpPr/>
          <p:nvPr/>
        </p:nvSpPr>
        <p:spPr>
          <a:xfrm>
            <a:off x="7196750" y="2663994"/>
            <a:ext cx="502314" cy="463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50" y="7706"/>
                </a:moveTo>
                <a:cubicBezTo>
                  <a:pt x="20688" y="7706"/>
                  <a:pt x="20559" y="7843"/>
                  <a:pt x="20430" y="7979"/>
                </a:cubicBezTo>
                <a:cubicBezTo>
                  <a:pt x="13921" y="7156"/>
                  <a:pt x="13921" y="7156"/>
                  <a:pt x="13921" y="7156"/>
                </a:cubicBezTo>
                <a:cubicBezTo>
                  <a:pt x="11060" y="1101"/>
                  <a:pt x="11060" y="1101"/>
                  <a:pt x="11060" y="1101"/>
                </a:cubicBezTo>
                <a:cubicBezTo>
                  <a:pt x="11060" y="960"/>
                  <a:pt x="11189" y="823"/>
                  <a:pt x="11189" y="687"/>
                </a:cubicBezTo>
                <a:cubicBezTo>
                  <a:pt x="11189" y="273"/>
                  <a:pt x="10927" y="0"/>
                  <a:pt x="10673" y="0"/>
                </a:cubicBezTo>
                <a:cubicBezTo>
                  <a:pt x="10282" y="0"/>
                  <a:pt x="10023" y="273"/>
                  <a:pt x="10023" y="550"/>
                </a:cubicBezTo>
                <a:cubicBezTo>
                  <a:pt x="10023" y="823"/>
                  <a:pt x="10152" y="960"/>
                  <a:pt x="10282" y="1101"/>
                </a:cubicBezTo>
                <a:cubicBezTo>
                  <a:pt x="9240" y="3439"/>
                  <a:pt x="9240" y="3439"/>
                  <a:pt x="9240" y="3439"/>
                </a:cubicBezTo>
                <a:cubicBezTo>
                  <a:pt x="9761" y="4404"/>
                  <a:pt x="9890" y="5505"/>
                  <a:pt x="9370" y="6601"/>
                </a:cubicBezTo>
                <a:cubicBezTo>
                  <a:pt x="8720" y="8257"/>
                  <a:pt x="6767" y="8944"/>
                  <a:pt x="5205" y="8257"/>
                </a:cubicBezTo>
                <a:cubicBezTo>
                  <a:pt x="4947" y="8116"/>
                  <a:pt x="4685" y="7979"/>
                  <a:pt x="4427" y="7706"/>
                </a:cubicBezTo>
                <a:cubicBezTo>
                  <a:pt x="1174" y="8257"/>
                  <a:pt x="1174" y="8257"/>
                  <a:pt x="1174" y="8257"/>
                </a:cubicBezTo>
                <a:cubicBezTo>
                  <a:pt x="1174" y="7979"/>
                  <a:pt x="912" y="7843"/>
                  <a:pt x="654" y="7706"/>
                </a:cubicBezTo>
                <a:cubicBezTo>
                  <a:pt x="391" y="7706"/>
                  <a:pt x="133" y="7979"/>
                  <a:pt x="0" y="8393"/>
                </a:cubicBezTo>
                <a:cubicBezTo>
                  <a:pt x="0" y="8666"/>
                  <a:pt x="262" y="9080"/>
                  <a:pt x="654" y="9080"/>
                </a:cubicBezTo>
                <a:cubicBezTo>
                  <a:pt x="783" y="9080"/>
                  <a:pt x="912" y="8944"/>
                  <a:pt x="912" y="8944"/>
                </a:cubicBezTo>
                <a:cubicBezTo>
                  <a:pt x="5597" y="13616"/>
                  <a:pt x="5597" y="13616"/>
                  <a:pt x="5597" y="13616"/>
                </a:cubicBezTo>
                <a:cubicBezTo>
                  <a:pt x="4556" y="20363"/>
                  <a:pt x="4556" y="20363"/>
                  <a:pt x="4556" y="20363"/>
                </a:cubicBezTo>
                <a:cubicBezTo>
                  <a:pt x="4298" y="20363"/>
                  <a:pt x="4035" y="20636"/>
                  <a:pt x="3906" y="20913"/>
                </a:cubicBezTo>
                <a:cubicBezTo>
                  <a:pt x="3906" y="21323"/>
                  <a:pt x="4164" y="21600"/>
                  <a:pt x="4556" y="21600"/>
                </a:cubicBezTo>
                <a:cubicBezTo>
                  <a:pt x="4818" y="21600"/>
                  <a:pt x="5076" y="21323"/>
                  <a:pt x="5205" y="20913"/>
                </a:cubicBezTo>
                <a:cubicBezTo>
                  <a:pt x="5205" y="20913"/>
                  <a:pt x="5205" y="20772"/>
                  <a:pt x="5076" y="20772"/>
                </a:cubicBezTo>
                <a:cubicBezTo>
                  <a:pt x="10802" y="17469"/>
                  <a:pt x="10802" y="17469"/>
                  <a:pt x="10802" y="17469"/>
                </a:cubicBezTo>
                <a:cubicBezTo>
                  <a:pt x="16653" y="20636"/>
                  <a:pt x="16653" y="20636"/>
                  <a:pt x="16653" y="20636"/>
                </a:cubicBezTo>
                <a:cubicBezTo>
                  <a:pt x="16653" y="20772"/>
                  <a:pt x="16653" y="20772"/>
                  <a:pt x="16653" y="20913"/>
                </a:cubicBezTo>
                <a:cubicBezTo>
                  <a:pt x="16653" y="21186"/>
                  <a:pt x="16915" y="21600"/>
                  <a:pt x="17173" y="21600"/>
                </a:cubicBezTo>
                <a:cubicBezTo>
                  <a:pt x="17565" y="21600"/>
                  <a:pt x="17827" y="21323"/>
                  <a:pt x="17827" y="20913"/>
                </a:cubicBezTo>
                <a:cubicBezTo>
                  <a:pt x="17827" y="20636"/>
                  <a:pt x="17565" y="20363"/>
                  <a:pt x="17307" y="20363"/>
                </a:cubicBezTo>
                <a:cubicBezTo>
                  <a:pt x="17173" y="20363"/>
                  <a:pt x="17173" y="20363"/>
                  <a:pt x="17044" y="20363"/>
                </a:cubicBezTo>
                <a:cubicBezTo>
                  <a:pt x="15874" y="13480"/>
                  <a:pt x="15874" y="13480"/>
                  <a:pt x="15874" y="13480"/>
                </a:cubicBezTo>
                <a:cubicBezTo>
                  <a:pt x="20430" y="8666"/>
                  <a:pt x="20430" y="8666"/>
                  <a:pt x="20430" y="8666"/>
                </a:cubicBezTo>
                <a:cubicBezTo>
                  <a:pt x="20559" y="8807"/>
                  <a:pt x="20688" y="8944"/>
                  <a:pt x="20950" y="8944"/>
                </a:cubicBezTo>
                <a:cubicBezTo>
                  <a:pt x="21209" y="8944"/>
                  <a:pt x="21471" y="8666"/>
                  <a:pt x="21600" y="8257"/>
                </a:cubicBezTo>
                <a:cubicBezTo>
                  <a:pt x="21600" y="7979"/>
                  <a:pt x="21338" y="7706"/>
                  <a:pt x="20950" y="7706"/>
                </a:cubicBezTo>
              </a:path>
            </a:pathLst>
          </a:custGeom>
          <a:solidFill>
            <a:srgbClr val="FFFFFF">
              <a:alpha val="85000"/>
            </a:srgbClr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ctr">
            <a:normAutofit/>
          </a:bodyPr>
          <a:lstStyle/>
          <a:p>
            <a:pPr>
              <a:spcBef>
                <a:spcPts val="0"/>
              </a:spcBef>
              <a:defRPr sz="4000">
                <a:latin typeface="Arial"/>
                <a:ea typeface="Arial"/>
                <a:cs typeface="Arial"/>
                <a:sym typeface="Arial"/>
              </a:defRPr>
            </a:pPr>
            <a:endParaRPr sz="1500"/>
          </a:p>
        </p:txBody>
      </p:sp>
      <p:sp>
        <p:nvSpPr>
          <p:cNvPr id="65" name="ZoneTexte 64"/>
          <p:cNvSpPr txBox="1"/>
          <p:nvPr/>
        </p:nvSpPr>
        <p:spPr>
          <a:xfrm>
            <a:off x="6291848" y="3444291"/>
            <a:ext cx="2312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LEVEL 2 OF ENGAGEMENT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6" name="Titre 15"/>
          <p:cNvSpPr txBox="1">
            <a:spLocks/>
          </p:cNvSpPr>
          <p:nvPr/>
        </p:nvSpPr>
        <p:spPr>
          <a:xfrm>
            <a:off x="6614502" y="3835304"/>
            <a:ext cx="2162143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Technical forums and blogs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68" name="Titre 15"/>
          <p:cNvSpPr txBox="1">
            <a:spLocks/>
          </p:cNvSpPr>
          <p:nvPr/>
        </p:nvSpPr>
        <p:spPr>
          <a:xfrm>
            <a:off x="6627109" y="4215508"/>
            <a:ext cx="2088874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smtClean="0">
                <a:solidFill>
                  <a:srgbClr val="FFFFFF"/>
                </a:solidFill>
              </a:rPr>
              <a:t>Support &amp; Live </a:t>
            </a:r>
            <a:r>
              <a:rPr lang="en-US" sz="1200" dirty="0" smtClean="0">
                <a:solidFill>
                  <a:srgbClr val="FFFFFF"/>
                </a:solidFill>
              </a:rPr>
              <a:t>Support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74" name="Straight Connector 112"/>
          <p:cNvSpPr/>
          <p:nvPr/>
        </p:nvSpPr>
        <p:spPr>
          <a:xfrm flipV="1">
            <a:off x="1764178" y="1546979"/>
            <a:ext cx="1732589" cy="1117015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5" name="Straight Connector 112"/>
          <p:cNvSpPr/>
          <p:nvPr/>
        </p:nvSpPr>
        <p:spPr>
          <a:xfrm flipH="1" flipV="1">
            <a:off x="4554702" y="1732163"/>
            <a:ext cx="6673" cy="681696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6" name="Straight Connector 112"/>
          <p:cNvSpPr/>
          <p:nvPr/>
        </p:nvSpPr>
        <p:spPr>
          <a:xfrm flipH="1" flipV="1">
            <a:off x="5560033" y="1527696"/>
            <a:ext cx="1534910" cy="1001489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cxnSp>
        <p:nvCxnSpPr>
          <p:cNvPr id="78" name="Connecteur droit 77"/>
          <p:cNvCxnSpPr/>
          <p:nvPr/>
        </p:nvCxnSpPr>
        <p:spPr bwMode="auto">
          <a:xfrm flipV="1">
            <a:off x="3880919" y="3783211"/>
            <a:ext cx="1424494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9" name="Connecteur droit 78"/>
          <p:cNvCxnSpPr/>
          <p:nvPr/>
        </p:nvCxnSpPr>
        <p:spPr bwMode="auto">
          <a:xfrm flipV="1">
            <a:off x="6697039" y="3783212"/>
            <a:ext cx="1424494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36" name="Group 2"/>
          <p:cNvGrpSpPr/>
          <p:nvPr/>
        </p:nvGrpSpPr>
        <p:grpSpPr>
          <a:xfrm>
            <a:off x="4254832" y="524388"/>
            <a:ext cx="576232" cy="576232"/>
            <a:chOff x="423422" y="446725"/>
            <a:chExt cx="1238248" cy="1238248"/>
          </a:xfrm>
        </p:grpSpPr>
        <p:sp>
          <p:nvSpPr>
            <p:cNvPr id="37" name="Oval 13"/>
            <p:cNvSpPr/>
            <p:nvPr/>
          </p:nvSpPr>
          <p:spPr>
            <a:xfrm>
              <a:off x="423422" y="446725"/>
              <a:ext cx="1238248" cy="1238248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8" name="Oval 14"/>
            <p:cNvSpPr/>
            <p:nvPr/>
          </p:nvSpPr>
          <p:spPr>
            <a:xfrm>
              <a:off x="559728" y="583031"/>
              <a:ext cx="964236" cy="964236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9" name="TextBox 15"/>
            <p:cNvSpPr txBox="1"/>
            <p:nvPr/>
          </p:nvSpPr>
          <p:spPr>
            <a:xfrm>
              <a:off x="457097" y="618324"/>
              <a:ext cx="115123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2</a:t>
              </a:r>
            </a:p>
          </p:txBody>
        </p:sp>
      </p:grpSp>
      <p:grpSp>
        <p:nvGrpSpPr>
          <p:cNvPr id="41" name="Group 2"/>
          <p:cNvGrpSpPr/>
          <p:nvPr/>
        </p:nvGrpSpPr>
        <p:grpSpPr>
          <a:xfrm>
            <a:off x="86400" y="73297"/>
            <a:ext cx="576232" cy="576232"/>
            <a:chOff x="423422" y="446725"/>
            <a:chExt cx="1238248" cy="1238248"/>
          </a:xfrm>
        </p:grpSpPr>
        <p:sp>
          <p:nvSpPr>
            <p:cNvPr id="42" name="Oval 13"/>
            <p:cNvSpPr/>
            <p:nvPr/>
          </p:nvSpPr>
          <p:spPr>
            <a:xfrm>
              <a:off x="423422" y="446725"/>
              <a:ext cx="1238248" cy="1238248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3" name="Oval 14"/>
            <p:cNvSpPr/>
            <p:nvPr/>
          </p:nvSpPr>
          <p:spPr>
            <a:xfrm>
              <a:off x="559728" y="583031"/>
              <a:ext cx="964236" cy="964236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4" name="TextBox 15"/>
            <p:cNvSpPr txBox="1"/>
            <p:nvPr/>
          </p:nvSpPr>
          <p:spPr>
            <a:xfrm>
              <a:off x="457097" y="618324"/>
              <a:ext cx="115123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2</a:t>
              </a:r>
            </a:p>
          </p:txBody>
        </p:sp>
      </p:grpSp>
      <p:sp>
        <p:nvSpPr>
          <p:cNvPr id="49" name="Titre 15"/>
          <p:cNvSpPr txBox="1">
            <a:spLocks/>
          </p:cNvSpPr>
          <p:nvPr/>
        </p:nvSpPr>
        <p:spPr>
          <a:xfrm>
            <a:off x="538947" y="3840013"/>
            <a:ext cx="2379351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smtClean="0">
                <a:solidFill>
                  <a:srgbClr val="FFFFFF"/>
                </a:solidFill>
              </a:rPr>
              <a:t>SDK and API  Level of Services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1" name="Titre 15"/>
          <p:cNvSpPr txBox="1">
            <a:spLocks/>
          </p:cNvSpPr>
          <p:nvPr/>
        </p:nvSpPr>
        <p:spPr>
          <a:xfrm>
            <a:off x="538946" y="4211623"/>
            <a:ext cx="2000459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Starter Kits and samples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cxnSp>
        <p:nvCxnSpPr>
          <p:cNvPr id="54" name="Connecteur droit 53"/>
          <p:cNvCxnSpPr/>
          <p:nvPr/>
        </p:nvCxnSpPr>
        <p:spPr bwMode="auto">
          <a:xfrm flipV="1">
            <a:off x="644375" y="3783211"/>
            <a:ext cx="1424494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5" name="ZoneTexte 54"/>
          <p:cNvSpPr txBox="1"/>
          <p:nvPr/>
        </p:nvSpPr>
        <p:spPr>
          <a:xfrm>
            <a:off x="-60659" y="3444290"/>
            <a:ext cx="2834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DISCOVER LEVEL OF SERVICE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57" name="Titre 15"/>
          <p:cNvSpPr txBox="1">
            <a:spLocks/>
          </p:cNvSpPr>
          <p:nvPr/>
        </p:nvSpPr>
        <p:spPr>
          <a:xfrm>
            <a:off x="3806779" y="4569430"/>
            <a:ext cx="1745951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Posters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72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58921" y="170260"/>
            <a:ext cx="5530739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SDK AND API LEVEL OF SERVICES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501342"/>
              </p:ext>
            </p:extLst>
          </p:nvPr>
        </p:nvGraphicFramePr>
        <p:xfrm>
          <a:off x="172666" y="681540"/>
          <a:ext cx="8772550" cy="420211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754510"/>
                <a:gridCol w="1754510"/>
                <a:gridCol w="1754510"/>
                <a:gridCol w="1754510"/>
                <a:gridCol w="1754510"/>
              </a:tblGrid>
              <a:tr h="413179">
                <a:tc gridSpan="4"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BUILD END-CUSTOMERS APPLICATIONS</a:t>
                      </a:r>
                      <a:endParaRPr lang="fr-FR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OPERATE WITH RAINBOW</a:t>
                      </a:r>
                      <a:endParaRPr lang="fr-FR" sz="1100" dirty="0"/>
                    </a:p>
                  </a:txBody>
                  <a:tcPr/>
                </a:tc>
              </a:tr>
              <a:tr h="358447"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</a:t>
                      </a:r>
                      <a:r>
                        <a:rPr lang="fr-FR" sz="1100" b="1" baseline="0" dirty="0" smtClean="0">
                          <a:solidFill>
                            <a:schemeClr val="accent6"/>
                          </a:solidFill>
                        </a:rPr>
                        <a:t> WEB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 NODE.JS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 ANDROID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 IOS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REST API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</a:tr>
              <a:tr h="382998"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ront-End Web 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fr-FR" sz="900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ack-End Application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OT</a:t>
                      </a:r>
                      <a:endParaRPr lang="fr-FR" sz="900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ative Android 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fr-FR" sz="900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ative IOS 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fr-FR" sz="900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visionning</a:t>
                      </a:r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nd Administrative</a:t>
                      </a:r>
                      <a:endParaRPr lang="fr-FR" sz="900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82998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ny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Browsers (Stable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or LTS)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ny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OS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tarting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Node.J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LTS version</a:t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ny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Node.J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upported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OS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ny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Device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tarting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Android 4.4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ny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Device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tarting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IOS 9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ny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1549422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Login</a:t>
                      </a: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tacts /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earch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Presence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versation</a:t>
                      </a: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Bubbles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WebRTC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Audio &amp;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Video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WebRTC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Sharing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baseline="30000" dirty="0" smtClean="0">
                          <a:solidFill>
                            <a:schemeClr val="accent5"/>
                          </a:solidFill>
                        </a:rPr>
                        <a:t>NEW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FileSharing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apabilities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Telephony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Login</a:t>
                      </a: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tacts /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earch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Presence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versation</a:t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Bubbles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Proxy</a:t>
                      </a: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uto-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connect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baseline="30000" dirty="0" smtClean="0">
                          <a:solidFill>
                            <a:schemeClr val="accent5"/>
                          </a:solidFill>
                        </a:rPr>
                        <a:t>NEW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Users</a:t>
                      </a:r>
                      <a:r>
                        <a:rPr lang="fr-FR" sz="9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and </a:t>
                      </a:r>
                      <a:r>
                        <a:rPr lang="fr-FR" sz="9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Guests</a:t>
                      </a:r>
                      <a:r>
                        <a:rPr lang="fr-FR" sz="90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baseline="30000" dirty="0" smtClean="0">
                          <a:solidFill>
                            <a:schemeClr val="accent5"/>
                          </a:solidFill>
                        </a:rPr>
                        <a:t>NEW</a:t>
                      </a:r>
                      <a:br>
                        <a:rPr lang="fr-FR" sz="900" baseline="30000" dirty="0" smtClean="0">
                          <a:solidFill>
                            <a:schemeClr val="accent5"/>
                          </a:solidFill>
                        </a:rPr>
                      </a:br>
                      <a:endParaRPr lang="fr-FR" sz="900" baseline="30000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Login</a:t>
                      </a: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tacts /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earch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Presence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versation</a:t>
                      </a:r>
                    </a:p>
                    <a:p>
                      <a:pPr algn="ctr"/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bble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baseline="30000" dirty="0" smtClean="0">
                          <a:solidFill>
                            <a:schemeClr val="accent5"/>
                          </a:solidFill>
                        </a:rPr>
                        <a:t>NEW</a:t>
                      </a:r>
                      <a:r>
                        <a:rPr lang="fr-FR" sz="900" dirty="0" smtClean="0">
                          <a:solidFill>
                            <a:schemeClr val="accent6"/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6"/>
                          </a:solidFill>
                        </a:rPr>
                      </a:br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bRTC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baseline="30000" dirty="0" smtClean="0">
                          <a:solidFill>
                            <a:schemeClr val="accent5"/>
                          </a:solidFill>
                        </a:rPr>
                        <a:t>NEW</a:t>
                      </a:r>
                      <a:endParaRPr lang="fr-FR" sz="900" dirty="0" smtClean="0">
                        <a:solidFill>
                          <a:schemeClr val="accent6"/>
                        </a:solidFill>
                      </a:endParaRPr>
                    </a:p>
                    <a:p>
                      <a:pPr algn="ctr"/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ilesSharing</a:t>
                      </a:r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900" baseline="30000" dirty="0" smtClean="0">
                          <a:solidFill>
                            <a:schemeClr val="accent5"/>
                          </a:solidFill>
                        </a:rPr>
                        <a:t>NEW</a:t>
                      </a:r>
                      <a:endParaRPr lang="fr-FR" sz="900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apabilities</a:t>
                      </a:r>
                      <a:endParaRPr lang="fr-FR" sz="9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Login</a:t>
                      </a: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tacts / </a:t>
                      </a: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earch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Presence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versation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bble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baseline="30000" dirty="0" smtClean="0">
                          <a:solidFill>
                            <a:schemeClr val="accent5"/>
                          </a:solidFill>
                        </a:rPr>
                        <a:t>NEW</a:t>
                      </a:r>
                      <a: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fr-FR" sz="9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bRTC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baseline="30000" dirty="0" smtClean="0">
                          <a:solidFill>
                            <a:schemeClr val="accent5"/>
                          </a:solidFill>
                        </a:rPr>
                        <a:t>NEW</a:t>
                      </a:r>
                      <a:endParaRPr lang="fr-FR" sz="900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696777" rtl="0" eaLnBrk="1" latinLnBrk="0" hangingPunct="1"/>
                      <a:r>
                        <a:rPr lang="fr-FR" sz="9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ilesSharing</a:t>
                      </a:r>
                      <a:r>
                        <a:rPr lang="fr-FR" sz="90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900" baseline="30000" smtClean="0">
                          <a:solidFill>
                            <a:schemeClr val="accent5"/>
                          </a:solidFill>
                        </a:rPr>
                        <a:t>NEW</a:t>
                      </a:r>
                      <a:endParaRPr lang="fr-FR" sz="900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apabilities</a:t>
                      </a:r>
                      <a:endParaRPr lang="fr-FR" sz="900" dirty="0" smtClean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User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User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Profiles</a:t>
                      </a: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mpanies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ites</a:t>
                      </a: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Organizations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ystems</a:t>
                      </a:r>
                      <a:endParaRPr lang="fr-FR" sz="9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Phones</a:t>
                      </a:r>
                    </a:p>
                    <a:p>
                      <a:pPr algn="ctr"/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Offer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ubscription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Quotations</a:t>
                      </a:r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9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Invoices</a:t>
                      </a:r>
                      <a:endParaRPr lang="fr-FR" sz="9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5844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&gt; 150 API &amp; EVENTS</a:t>
                      </a:r>
                      <a:endParaRPr lang="fr-FR" sz="9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&gt; 50 API &amp; EVENTS</a:t>
                      </a:r>
                      <a:endParaRPr lang="fr-FR" sz="9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&gt; 100 API &amp; EVENTS</a:t>
                      </a:r>
                      <a:endParaRPr lang="fr-FR" sz="9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&gt; 100 API &amp; EVENTS</a:t>
                      </a:r>
                      <a:endParaRPr lang="fr-FR" sz="9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&gt; 100 API</a:t>
                      </a:r>
                      <a:endParaRPr lang="fr-FR" sz="9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692306"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smtClean="0">
                          <a:solidFill>
                            <a:schemeClr val="accent3"/>
                          </a:solidFill>
                        </a:rPr>
                        <a:t>AVAILABLE</a:t>
                      </a:r>
                      <a:endParaRPr lang="fr-FR" sz="900" b="1" dirty="0">
                        <a:solidFill>
                          <a:schemeClr val="accent3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smtClean="0">
                          <a:solidFill>
                            <a:schemeClr val="accent3"/>
                          </a:solidFill>
                        </a:rPr>
                        <a:t>AVAILABLE</a:t>
                      </a:r>
                      <a:endParaRPr lang="fr-FR" sz="900" b="1" dirty="0">
                        <a:solidFill>
                          <a:schemeClr val="accent3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smtClean="0">
                          <a:solidFill>
                            <a:schemeClr val="accent3"/>
                          </a:solidFill>
                        </a:rPr>
                        <a:t>AVAILABLE</a:t>
                      </a:r>
                      <a:endParaRPr lang="fr-FR" sz="900" b="1" dirty="0">
                        <a:solidFill>
                          <a:schemeClr val="accent3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smtClean="0">
                          <a:solidFill>
                            <a:schemeClr val="accent5"/>
                          </a:solidFill>
                        </a:rPr>
                        <a:t>LIMITED (OCT’17)</a:t>
                      </a:r>
                    </a:p>
                    <a:p>
                      <a:pPr algn="ctr"/>
                      <a:r>
                        <a:rPr lang="fr-FR" sz="900" b="1" dirty="0" smtClean="0">
                          <a:solidFill>
                            <a:schemeClr val="accent5"/>
                          </a:solidFill>
                        </a:rPr>
                        <a:t>AVAILABLE EOY’17</a:t>
                      </a:r>
                      <a:endParaRPr lang="fr-FR" sz="9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1" dirty="0" smtClean="0">
                          <a:solidFill>
                            <a:schemeClr val="accent3"/>
                          </a:solidFill>
                        </a:rPr>
                        <a:t>AVAILABLE</a:t>
                      </a:r>
                      <a:endParaRPr lang="fr-FR" sz="900" b="1" dirty="0">
                        <a:solidFill>
                          <a:schemeClr val="accent3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5" name="Group 2"/>
          <p:cNvGrpSpPr/>
          <p:nvPr/>
        </p:nvGrpSpPr>
        <p:grpSpPr>
          <a:xfrm>
            <a:off x="86400" y="73297"/>
            <a:ext cx="576232" cy="576232"/>
            <a:chOff x="423422" y="446725"/>
            <a:chExt cx="1238248" cy="1238248"/>
          </a:xfrm>
        </p:grpSpPr>
        <p:sp>
          <p:nvSpPr>
            <p:cNvPr id="6" name="Oval 13"/>
            <p:cNvSpPr/>
            <p:nvPr/>
          </p:nvSpPr>
          <p:spPr>
            <a:xfrm>
              <a:off x="423422" y="446725"/>
              <a:ext cx="1238248" cy="1238248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" name="Oval 14"/>
            <p:cNvSpPr/>
            <p:nvPr/>
          </p:nvSpPr>
          <p:spPr>
            <a:xfrm>
              <a:off x="559728" y="583031"/>
              <a:ext cx="964236" cy="964236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8" name="TextBox 15"/>
            <p:cNvSpPr txBox="1"/>
            <p:nvPr/>
          </p:nvSpPr>
          <p:spPr>
            <a:xfrm>
              <a:off x="457097" y="618324"/>
              <a:ext cx="115123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724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69067" y="170260"/>
            <a:ext cx="7042203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PACKAGING, SOURCE CODE AND STARTER KITS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271" y="4733525"/>
            <a:ext cx="1114882" cy="298788"/>
          </a:xfrm>
          <a:prstGeom prst="rect">
            <a:avLst/>
          </a:prstGeom>
        </p:spPr>
      </p:pic>
      <p:grpSp>
        <p:nvGrpSpPr>
          <p:cNvPr id="59" name="Grouper 58"/>
          <p:cNvGrpSpPr/>
          <p:nvPr/>
        </p:nvGrpSpPr>
        <p:grpSpPr>
          <a:xfrm>
            <a:off x="311513" y="1257773"/>
            <a:ext cx="946151" cy="1098550"/>
            <a:chOff x="199088" y="1257773"/>
            <a:chExt cx="946151" cy="1098550"/>
          </a:xfrm>
        </p:grpSpPr>
        <p:pic>
          <p:nvPicPr>
            <p:cNvPr id="10" name="Image 9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50000"/>
            </a:blip>
            <a:stretch>
              <a:fillRect/>
            </a:stretch>
          </p:blipFill>
          <p:spPr>
            <a:xfrm>
              <a:off x="199088" y="1257773"/>
              <a:ext cx="946150" cy="10985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tx2">
                  <a:lumMod val="75000"/>
                </a:schemeClr>
              </a:solidFill>
            </a:ln>
          </p:spPr>
        </p:pic>
        <p:sp>
          <p:nvSpPr>
            <p:cNvPr id="11" name="Rectangle 10"/>
            <p:cNvSpPr/>
            <p:nvPr/>
          </p:nvSpPr>
          <p:spPr>
            <a:xfrm>
              <a:off x="199089" y="1257773"/>
              <a:ext cx="946150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FFFFFF"/>
                  </a:solidFill>
                </a:rPr>
                <a:t>SDK NODE</a:t>
              </a:r>
              <a:endParaRPr lang="fr-FR" sz="1000" dirty="0"/>
            </a:p>
          </p:txBody>
        </p:sp>
        <p:pic>
          <p:nvPicPr>
            <p:cNvPr id="12" name="Image 1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65763" y="1503788"/>
              <a:ext cx="812800" cy="812800"/>
            </a:xfrm>
            <a:prstGeom prst="rect">
              <a:avLst/>
            </a:prstGeom>
          </p:spPr>
        </p:pic>
      </p:grpSp>
      <p:pic>
        <p:nvPicPr>
          <p:cNvPr id="15" name="Image 14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3019471" y="1257773"/>
            <a:ext cx="946150" cy="109855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3053163" y="1257773"/>
            <a:ext cx="88925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NODE</a:t>
            </a:r>
            <a:endParaRPr lang="fr-FR" sz="1000" dirty="0"/>
          </a:p>
        </p:txBody>
      </p:sp>
      <p:sp>
        <p:nvSpPr>
          <p:cNvPr id="18" name="Straight Connector 112"/>
          <p:cNvSpPr/>
          <p:nvPr/>
        </p:nvSpPr>
        <p:spPr>
          <a:xfrm flipV="1">
            <a:off x="2726971" y="729748"/>
            <a:ext cx="31726" cy="4191307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9" name="ZoneTexte 18"/>
          <p:cNvSpPr txBox="1"/>
          <p:nvPr/>
        </p:nvSpPr>
        <p:spPr>
          <a:xfrm>
            <a:off x="285092" y="726776"/>
            <a:ext cx="2233716" cy="246221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SDK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grpSp>
        <p:nvGrpSpPr>
          <p:cNvPr id="44" name="Grouper 43"/>
          <p:cNvGrpSpPr/>
          <p:nvPr/>
        </p:nvGrpSpPr>
        <p:grpSpPr>
          <a:xfrm>
            <a:off x="1567959" y="1257773"/>
            <a:ext cx="950410" cy="1098550"/>
            <a:chOff x="1455534" y="1264286"/>
            <a:chExt cx="950410" cy="1098550"/>
          </a:xfrm>
        </p:grpSpPr>
        <p:pic>
          <p:nvPicPr>
            <p:cNvPr id="5" name="Image 4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50000"/>
            </a:blip>
            <a:stretch>
              <a:fillRect/>
            </a:stretch>
          </p:blipFill>
          <p:spPr>
            <a:xfrm>
              <a:off x="1455535" y="1264286"/>
              <a:ext cx="946150" cy="10985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tx2">
                  <a:lumMod val="75000"/>
                </a:schemeClr>
              </a:solidFill>
            </a:ln>
          </p:spPr>
        </p:pic>
        <p:sp>
          <p:nvSpPr>
            <p:cNvPr id="6" name="Rectangle 5"/>
            <p:cNvSpPr/>
            <p:nvPr/>
          </p:nvSpPr>
          <p:spPr>
            <a:xfrm>
              <a:off x="1455534" y="1264286"/>
              <a:ext cx="94615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FFFFFF"/>
                  </a:solidFill>
                </a:rPr>
                <a:t>SDK WEB</a:t>
              </a:r>
              <a:endParaRPr lang="fr-FR" sz="1000" dirty="0"/>
            </a:p>
          </p:txBody>
        </p:sp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15020" y="1507726"/>
              <a:ext cx="812800" cy="812800"/>
            </a:xfrm>
            <a:prstGeom prst="rect">
              <a:avLst/>
            </a:prstGeom>
          </p:spPr>
        </p:pic>
        <p:sp>
          <p:nvSpPr>
            <p:cNvPr id="27" name="Rectangle 26"/>
            <p:cNvSpPr/>
            <p:nvPr/>
          </p:nvSpPr>
          <p:spPr>
            <a:xfrm>
              <a:off x="1459793" y="2126237"/>
              <a:ext cx="94615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 smtClean="0">
                  <a:solidFill>
                    <a:schemeClr val="tx2">
                      <a:lumMod val="50000"/>
                    </a:schemeClr>
                  </a:solidFill>
                </a:rPr>
                <a:t>Starting 1.29</a:t>
              </a:r>
              <a:endParaRPr lang="fr-FR" sz="8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48" name="Grouper 47"/>
          <p:cNvGrpSpPr/>
          <p:nvPr/>
        </p:nvGrpSpPr>
        <p:grpSpPr>
          <a:xfrm>
            <a:off x="249230" y="2536521"/>
            <a:ext cx="1051891" cy="1098550"/>
            <a:chOff x="136805" y="2536521"/>
            <a:chExt cx="1051891" cy="1098550"/>
          </a:xfrm>
        </p:grpSpPr>
        <p:pic>
          <p:nvPicPr>
            <p:cNvPr id="20" name="Image 19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50000"/>
            </a:blip>
            <a:stretch>
              <a:fillRect/>
            </a:stretch>
          </p:blipFill>
          <p:spPr>
            <a:xfrm>
              <a:off x="199088" y="2536521"/>
              <a:ext cx="946150" cy="10985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tx2">
                  <a:lumMod val="75000"/>
                </a:schemeClr>
              </a:solidFill>
            </a:ln>
          </p:spPr>
        </p:pic>
        <p:sp>
          <p:nvSpPr>
            <p:cNvPr id="21" name="Rectangle 20"/>
            <p:cNvSpPr/>
            <p:nvPr/>
          </p:nvSpPr>
          <p:spPr>
            <a:xfrm>
              <a:off x="136805" y="2536521"/>
              <a:ext cx="1051891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FFFFFF"/>
                  </a:solidFill>
                </a:rPr>
                <a:t>SDK ANDROID</a:t>
              </a:r>
              <a:endParaRPr lang="fr-FR" sz="1000" dirty="0"/>
            </a:p>
          </p:txBody>
        </p:sp>
        <p:pic>
          <p:nvPicPr>
            <p:cNvPr id="13" name="Image 1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5704" y="2907954"/>
              <a:ext cx="609600" cy="609600"/>
            </a:xfrm>
            <a:prstGeom prst="rect">
              <a:avLst/>
            </a:prstGeom>
          </p:spPr>
        </p:pic>
        <p:sp>
          <p:nvSpPr>
            <p:cNvPr id="28" name="Rectangle 27"/>
            <p:cNvSpPr/>
            <p:nvPr/>
          </p:nvSpPr>
          <p:spPr>
            <a:xfrm>
              <a:off x="225407" y="3396764"/>
              <a:ext cx="94615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 err="1" smtClean="0">
                  <a:solidFill>
                    <a:schemeClr val="tx2">
                      <a:lumMod val="50000"/>
                    </a:schemeClr>
                  </a:solidFill>
                </a:rPr>
                <a:t>Gradle</a:t>
              </a:r>
              <a:endParaRPr lang="fr-FR" sz="8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31" name="ZoneTexte 30"/>
          <p:cNvSpPr txBox="1"/>
          <p:nvPr/>
        </p:nvSpPr>
        <p:spPr>
          <a:xfrm>
            <a:off x="3000077" y="726776"/>
            <a:ext cx="2233716" cy="246221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SOURCE CODE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32" name="Straight Connector 112"/>
          <p:cNvSpPr/>
          <p:nvPr/>
        </p:nvSpPr>
        <p:spPr>
          <a:xfrm flipV="1">
            <a:off x="5405972" y="717875"/>
            <a:ext cx="31726" cy="4191307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33" name="ZoneTexte 32"/>
          <p:cNvSpPr txBox="1"/>
          <p:nvPr/>
        </p:nvSpPr>
        <p:spPr>
          <a:xfrm>
            <a:off x="5669837" y="726776"/>
            <a:ext cx="3175364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SAMPLE APP AND STARTER KITS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grpSp>
        <p:nvGrpSpPr>
          <p:cNvPr id="50" name="Grouper 49"/>
          <p:cNvGrpSpPr/>
          <p:nvPr/>
        </p:nvGrpSpPr>
        <p:grpSpPr>
          <a:xfrm>
            <a:off x="311513" y="3839755"/>
            <a:ext cx="946151" cy="1098550"/>
            <a:chOff x="199088" y="3839755"/>
            <a:chExt cx="946151" cy="1098550"/>
          </a:xfrm>
        </p:grpSpPr>
        <p:pic>
          <p:nvPicPr>
            <p:cNvPr id="34" name="Image 33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50000"/>
            </a:blip>
            <a:stretch>
              <a:fillRect/>
            </a:stretch>
          </p:blipFill>
          <p:spPr>
            <a:xfrm>
              <a:off x="199088" y="3839755"/>
              <a:ext cx="946150" cy="10985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tx2">
                  <a:lumMod val="75000"/>
                </a:schemeClr>
              </a:solidFill>
            </a:ln>
          </p:spPr>
        </p:pic>
        <p:sp>
          <p:nvSpPr>
            <p:cNvPr id="35" name="Rectangle 34"/>
            <p:cNvSpPr/>
            <p:nvPr/>
          </p:nvSpPr>
          <p:spPr>
            <a:xfrm>
              <a:off x="199089" y="3839755"/>
              <a:ext cx="94615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FFFFFF"/>
                  </a:solidFill>
                </a:rPr>
                <a:t>RAINBOW CLI</a:t>
              </a:r>
              <a:endParaRPr lang="fr-FR" sz="1000" dirty="0"/>
            </a:p>
          </p:txBody>
        </p:sp>
        <p:pic>
          <p:nvPicPr>
            <p:cNvPr id="36" name="Image 3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65763" y="4085770"/>
              <a:ext cx="812800" cy="812800"/>
            </a:xfrm>
            <a:prstGeom prst="rect">
              <a:avLst/>
            </a:prstGeom>
          </p:spPr>
        </p:pic>
      </p:grpSp>
      <p:pic>
        <p:nvPicPr>
          <p:cNvPr id="37" name="Image 36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3019471" y="3800020"/>
            <a:ext cx="946150" cy="1098550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3053163" y="3800020"/>
            <a:ext cx="8892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RAINBOW CLI</a:t>
            </a:r>
            <a:endParaRPr lang="fr-FR" sz="1000" dirty="0"/>
          </a:p>
        </p:txBody>
      </p:sp>
      <p:grpSp>
        <p:nvGrpSpPr>
          <p:cNvPr id="49" name="Grouper 48"/>
          <p:cNvGrpSpPr/>
          <p:nvPr/>
        </p:nvGrpSpPr>
        <p:grpSpPr>
          <a:xfrm>
            <a:off x="1573373" y="2536521"/>
            <a:ext cx="946150" cy="1098550"/>
            <a:chOff x="1460948" y="2536521"/>
            <a:chExt cx="946150" cy="1098550"/>
          </a:xfrm>
        </p:grpSpPr>
        <p:pic>
          <p:nvPicPr>
            <p:cNvPr id="24" name="Image 23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50000"/>
            </a:blip>
            <a:stretch>
              <a:fillRect/>
            </a:stretch>
          </p:blipFill>
          <p:spPr>
            <a:xfrm>
              <a:off x="1460948" y="2536521"/>
              <a:ext cx="946150" cy="109855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tx2">
                  <a:lumMod val="75000"/>
                </a:schemeClr>
              </a:solidFill>
            </a:ln>
          </p:spPr>
        </p:pic>
        <p:sp>
          <p:nvSpPr>
            <p:cNvPr id="25" name="Rectangle 24"/>
            <p:cNvSpPr/>
            <p:nvPr/>
          </p:nvSpPr>
          <p:spPr>
            <a:xfrm>
              <a:off x="1597177" y="2536521"/>
              <a:ext cx="67037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FFFFFF"/>
                  </a:solidFill>
                </a:rPr>
                <a:t>SDK IOS</a:t>
              </a:r>
              <a:endParaRPr lang="fr-FR" sz="1000" dirty="0"/>
            </a:p>
          </p:txBody>
        </p:sp>
        <p:pic>
          <p:nvPicPr>
            <p:cNvPr id="23" name="Image 2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702508" y="2950046"/>
              <a:ext cx="437823" cy="437823"/>
            </a:xfrm>
            <a:prstGeom prst="rect">
              <a:avLst/>
            </a:prstGeom>
          </p:spPr>
        </p:pic>
      </p:grpSp>
      <p:pic>
        <p:nvPicPr>
          <p:cNvPr id="41" name="Image 4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5663114" y="1257773"/>
            <a:ext cx="946150" cy="109855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</p:pic>
      <p:sp>
        <p:nvSpPr>
          <p:cNvPr id="42" name="Rectangle 41"/>
          <p:cNvSpPr/>
          <p:nvPr/>
        </p:nvSpPr>
        <p:spPr>
          <a:xfrm>
            <a:off x="5696806" y="1257773"/>
            <a:ext cx="8892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WEB JQUERY</a:t>
            </a:r>
            <a:endParaRPr lang="fr-FR" sz="1000" dirty="0"/>
          </a:p>
        </p:txBody>
      </p:sp>
      <p:pic>
        <p:nvPicPr>
          <p:cNvPr id="61" name="Image 6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6785626" y="1257773"/>
            <a:ext cx="946150" cy="109855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</p:pic>
      <p:sp>
        <p:nvSpPr>
          <p:cNvPr id="62" name="Rectangle 61"/>
          <p:cNvSpPr/>
          <p:nvPr/>
        </p:nvSpPr>
        <p:spPr>
          <a:xfrm>
            <a:off x="6819318" y="1257773"/>
            <a:ext cx="8892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WEB</a:t>
            </a:r>
            <a:br>
              <a:rPr lang="en-US" sz="1000" dirty="0" smtClean="0">
                <a:solidFill>
                  <a:srgbClr val="FFFFFF"/>
                </a:solidFill>
              </a:rPr>
            </a:br>
            <a:r>
              <a:rPr lang="en-US" sz="1000" dirty="0" smtClean="0">
                <a:solidFill>
                  <a:srgbClr val="FFFFFF"/>
                </a:solidFill>
              </a:rPr>
              <a:t>REACT</a:t>
            </a:r>
            <a:endParaRPr lang="fr-FR" sz="1000" dirty="0"/>
          </a:p>
        </p:txBody>
      </p:sp>
      <p:pic>
        <p:nvPicPr>
          <p:cNvPr id="64" name="Image 6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96105" y="1638134"/>
            <a:ext cx="616012" cy="616012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84868" y="4200130"/>
            <a:ext cx="615356" cy="615356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99456" y="1640547"/>
            <a:ext cx="673466" cy="673466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61217" y="1665554"/>
            <a:ext cx="616216" cy="616216"/>
          </a:xfrm>
          <a:prstGeom prst="rect">
            <a:avLst/>
          </a:prstGeom>
        </p:spPr>
      </p:pic>
      <p:pic>
        <p:nvPicPr>
          <p:cNvPr id="43" name="Image 42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7899051" y="1257773"/>
            <a:ext cx="946150" cy="109855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</p:pic>
      <p:sp>
        <p:nvSpPr>
          <p:cNvPr id="45" name="Rectangle 44"/>
          <p:cNvSpPr/>
          <p:nvPr/>
        </p:nvSpPr>
        <p:spPr>
          <a:xfrm>
            <a:off x="7932743" y="1257773"/>
            <a:ext cx="8892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WEB</a:t>
            </a:r>
            <a:br>
              <a:rPr lang="en-US" sz="1000" dirty="0" smtClean="0">
                <a:solidFill>
                  <a:srgbClr val="FFFFFF"/>
                </a:solidFill>
              </a:rPr>
            </a:br>
            <a:r>
              <a:rPr lang="en-US" sz="1000" dirty="0" smtClean="0">
                <a:solidFill>
                  <a:srgbClr val="FFFFFF"/>
                </a:solidFill>
              </a:rPr>
              <a:t>ANGULAR 4</a:t>
            </a:r>
            <a:endParaRPr lang="fr-FR" sz="1000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73862" y="1575398"/>
            <a:ext cx="796527" cy="796527"/>
          </a:xfrm>
          <a:prstGeom prst="rect">
            <a:avLst/>
          </a:prstGeom>
        </p:spPr>
      </p:pic>
      <p:pic>
        <p:nvPicPr>
          <p:cNvPr id="51" name="Image 5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3019471" y="2528896"/>
            <a:ext cx="946150" cy="109855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3053163" y="2528896"/>
            <a:ext cx="8892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ANDROID</a:t>
            </a:r>
            <a:endParaRPr lang="fr-FR" sz="1000" dirty="0"/>
          </a:p>
        </p:txBody>
      </p:sp>
      <p:pic>
        <p:nvPicPr>
          <p:cNvPr id="54" name="Image 5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38881" y="361413"/>
            <a:ext cx="594113" cy="594113"/>
          </a:xfrm>
          <a:prstGeom prst="rect">
            <a:avLst/>
          </a:prstGeom>
        </p:spPr>
      </p:pic>
      <p:pic>
        <p:nvPicPr>
          <p:cNvPr id="55" name="Image 5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51088" y="360783"/>
            <a:ext cx="594113" cy="594113"/>
          </a:xfrm>
          <a:prstGeom prst="rect">
            <a:avLst/>
          </a:prstGeom>
        </p:spPr>
      </p:pic>
      <p:grpSp>
        <p:nvGrpSpPr>
          <p:cNvPr id="56" name="Group 2"/>
          <p:cNvGrpSpPr/>
          <p:nvPr/>
        </p:nvGrpSpPr>
        <p:grpSpPr>
          <a:xfrm>
            <a:off x="86400" y="73297"/>
            <a:ext cx="576232" cy="576232"/>
            <a:chOff x="423422" y="446725"/>
            <a:chExt cx="1238248" cy="1238248"/>
          </a:xfrm>
        </p:grpSpPr>
        <p:sp>
          <p:nvSpPr>
            <p:cNvPr id="57" name="Oval 13"/>
            <p:cNvSpPr/>
            <p:nvPr/>
          </p:nvSpPr>
          <p:spPr>
            <a:xfrm>
              <a:off x="423422" y="446725"/>
              <a:ext cx="1238248" cy="1238248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58" name="Oval 14"/>
            <p:cNvSpPr/>
            <p:nvPr/>
          </p:nvSpPr>
          <p:spPr>
            <a:xfrm>
              <a:off x="559728" y="583031"/>
              <a:ext cx="964236" cy="964236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60" name="TextBox 15"/>
            <p:cNvSpPr txBox="1"/>
            <p:nvPr/>
          </p:nvSpPr>
          <p:spPr>
            <a:xfrm>
              <a:off x="457097" y="618324"/>
              <a:ext cx="115123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2</a:t>
              </a:r>
            </a:p>
          </p:txBody>
        </p:sp>
      </p:grpSp>
      <p:pic>
        <p:nvPicPr>
          <p:cNvPr id="63" name="Image 62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5663114" y="2525180"/>
            <a:ext cx="946150" cy="109855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</p:pic>
      <p:sp>
        <p:nvSpPr>
          <p:cNvPr id="66" name="Rectangle 65"/>
          <p:cNvSpPr/>
          <p:nvPr/>
        </p:nvSpPr>
        <p:spPr>
          <a:xfrm>
            <a:off x="5696806" y="2525180"/>
            <a:ext cx="8892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ANDROID</a:t>
            </a:r>
            <a:br>
              <a:rPr lang="en-US" sz="1000" dirty="0" smtClean="0">
                <a:solidFill>
                  <a:srgbClr val="FFFFFF"/>
                </a:solidFill>
              </a:rPr>
            </a:br>
            <a:r>
              <a:rPr lang="en-US" sz="1000" dirty="0" smtClean="0">
                <a:solidFill>
                  <a:srgbClr val="FFFFFF"/>
                </a:solidFill>
              </a:rPr>
              <a:t>SAMPLES</a:t>
            </a:r>
            <a:endParaRPr lang="fr-FR" sz="10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898669" y="2925290"/>
            <a:ext cx="536857" cy="536857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18385" y="2900528"/>
            <a:ext cx="536857" cy="536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853549" y="3434460"/>
            <a:ext cx="62709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700" dirty="0">
                <a:solidFill>
                  <a:schemeClr val="tx2">
                    <a:lumMod val="50000"/>
                  </a:schemeClr>
                </a:solidFill>
              </a:rPr>
              <a:t>4</a:t>
            </a:r>
            <a:r>
              <a:rPr lang="en-US" sz="700" dirty="0" smtClean="0">
                <a:solidFill>
                  <a:schemeClr val="tx2">
                    <a:lumMod val="50000"/>
                  </a:schemeClr>
                </a:solidFill>
              </a:rPr>
              <a:t>x samples</a:t>
            </a:r>
            <a:endParaRPr lang="fr-FR" sz="7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69" name="Image 68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6785183" y="2525180"/>
            <a:ext cx="946150" cy="109855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</p:pic>
      <p:sp>
        <p:nvSpPr>
          <p:cNvPr id="71" name="Rectangle 70"/>
          <p:cNvSpPr/>
          <p:nvPr/>
        </p:nvSpPr>
        <p:spPr>
          <a:xfrm>
            <a:off x="6818875" y="2525180"/>
            <a:ext cx="88925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SDK WEB</a:t>
            </a:r>
            <a:endParaRPr lang="fr-FR" sz="1000" dirty="0"/>
          </a:p>
        </p:txBody>
      </p:sp>
      <p:sp>
        <p:nvSpPr>
          <p:cNvPr id="73" name="Rectangle 72"/>
          <p:cNvSpPr/>
          <p:nvPr/>
        </p:nvSpPr>
        <p:spPr>
          <a:xfrm>
            <a:off x="6975618" y="3434460"/>
            <a:ext cx="62709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700" dirty="0">
                <a:solidFill>
                  <a:schemeClr val="tx2">
                    <a:lumMod val="50000"/>
                  </a:schemeClr>
                </a:solidFill>
              </a:rPr>
              <a:t>4</a:t>
            </a:r>
            <a:r>
              <a:rPr lang="en-US" sz="700" dirty="0" smtClean="0">
                <a:solidFill>
                  <a:schemeClr val="tx2">
                    <a:lumMod val="50000"/>
                  </a:schemeClr>
                </a:solidFill>
              </a:rPr>
              <a:t>x samples</a:t>
            </a:r>
            <a:endParaRPr lang="fr-FR" sz="7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74" name="Imag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56265" y="2886040"/>
            <a:ext cx="615356" cy="61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3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752241" y="1407882"/>
            <a:ext cx="7618553" cy="189337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RAINBOW CPAAS PROJECTS ON GITHUB</a:t>
            </a:r>
            <a:br>
              <a:rPr lang="fr-FR" sz="2000" dirty="0" smtClean="0">
                <a:solidFill>
                  <a:schemeClr val="bg1"/>
                </a:solidFill>
                <a:latin typeface="+mj-lt"/>
              </a:rPr>
            </a:br>
            <a:endParaRPr lang="fr-FR" sz="800" dirty="0" smtClean="0">
              <a:solidFill>
                <a:schemeClr val="bg1"/>
              </a:solidFill>
              <a:latin typeface="+mj-lt"/>
            </a:endParaRPr>
          </a:p>
          <a:p>
            <a:pPr>
              <a:tabLst>
                <a:tab pos="1257300" algn="l"/>
              </a:tabLst>
            </a:pPr>
            <a:r>
              <a:rPr lang="fr-FR" sz="2000" dirty="0">
                <a:solidFill>
                  <a:schemeClr val="accent5"/>
                </a:solidFill>
              </a:rPr>
              <a:t>https://</a:t>
            </a:r>
            <a:r>
              <a:rPr lang="fr-FR" sz="2000" dirty="0" err="1" smtClean="0">
                <a:solidFill>
                  <a:schemeClr val="accent5"/>
                </a:solidFill>
              </a:rPr>
              <a:t>github.com</a:t>
            </a:r>
            <a:r>
              <a:rPr lang="fr-FR" sz="2000" dirty="0" smtClean="0">
                <a:solidFill>
                  <a:schemeClr val="accent5"/>
                </a:solidFill>
              </a:rPr>
              <a:t>/Rainbow-</a:t>
            </a:r>
            <a:r>
              <a:rPr lang="fr-FR" sz="2000" dirty="0" err="1" smtClean="0">
                <a:solidFill>
                  <a:schemeClr val="accent5"/>
                </a:solidFill>
              </a:rPr>
              <a:t>CPaaS</a:t>
            </a:r>
            <a:r>
              <a:rPr lang="fr-FR" sz="2000" dirty="0" smtClean="0">
                <a:solidFill>
                  <a:schemeClr val="accent5"/>
                </a:solidFill>
              </a:rPr>
              <a:t>/</a:t>
            </a:r>
          </a:p>
          <a:p>
            <a:pPr>
              <a:tabLst>
                <a:tab pos="1257300" algn="l"/>
              </a:tabLst>
            </a:pPr>
            <a:endParaRPr lang="fr-FR" sz="2000" dirty="0" smtClean="0">
              <a:solidFill>
                <a:schemeClr val="bg1"/>
              </a:solidFill>
            </a:endParaRPr>
          </a:p>
          <a:p>
            <a:pPr>
              <a:tabLst>
                <a:tab pos="1257300" algn="l"/>
              </a:tabLst>
            </a:pPr>
            <a:endParaRPr lang="fr-FR" sz="2000" dirty="0">
              <a:solidFill>
                <a:schemeClr val="bg1"/>
              </a:solidFill>
            </a:endParaRPr>
          </a:p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RAINBOW SDK ON NPM</a:t>
            </a:r>
            <a:br>
              <a:rPr lang="fr-FR" sz="2000" dirty="0" smtClean="0">
                <a:solidFill>
                  <a:schemeClr val="bg1"/>
                </a:solidFill>
                <a:latin typeface="+mj-lt"/>
              </a:rPr>
            </a:br>
            <a:r>
              <a:rPr lang="fr-FR" sz="8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fr-FR" sz="800" dirty="0" smtClean="0">
                <a:solidFill>
                  <a:schemeClr val="bg1"/>
                </a:solidFill>
                <a:latin typeface="+mj-lt"/>
              </a:rPr>
            </a:br>
            <a:r>
              <a:rPr lang="fr-FR" sz="2000" dirty="0" smtClean="0">
                <a:solidFill>
                  <a:schemeClr val="accent1"/>
                </a:solidFill>
                <a:latin typeface="+mj-lt"/>
              </a:rPr>
              <a:t>https</a:t>
            </a:r>
            <a:r>
              <a:rPr lang="fr-FR" sz="2000" dirty="0">
                <a:solidFill>
                  <a:schemeClr val="accent1"/>
                </a:solidFill>
                <a:latin typeface="+mj-lt"/>
              </a:rPr>
              <a:t>://</a:t>
            </a:r>
            <a:r>
              <a:rPr lang="fr-FR" sz="2000" dirty="0" err="1">
                <a:solidFill>
                  <a:schemeClr val="accent1"/>
                </a:solidFill>
                <a:latin typeface="+mj-lt"/>
              </a:rPr>
              <a:t>www.npmjs.com</a:t>
            </a:r>
            <a:r>
              <a:rPr lang="fr-FR" sz="2000" dirty="0" smtClean="0">
                <a:solidFill>
                  <a:schemeClr val="accent1"/>
                </a:solidFill>
                <a:latin typeface="+mj-lt"/>
              </a:rPr>
              <a:t>/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3814" y="2547450"/>
            <a:ext cx="812800" cy="812800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4005" y="1376659"/>
            <a:ext cx="520741" cy="520741"/>
          </a:xfrm>
          <a:prstGeom prst="rect">
            <a:avLst/>
          </a:prstGeom>
        </p:spPr>
      </p:pic>
      <p:sp>
        <p:nvSpPr>
          <p:cNvPr id="5" name="Titre 15"/>
          <p:cNvSpPr txBox="1">
            <a:spLocks/>
          </p:cNvSpPr>
          <p:nvPr/>
        </p:nvSpPr>
        <p:spPr>
          <a:xfrm>
            <a:off x="661785" y="170260"/>
            <a:ext cx="7074197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FOLLOW-US AND HELP-US GROWING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6" name="Group 2"/>
          <p:cNvGrpSpPr/>
          <p:nvPr/>
        </p:nvGrpSpPr>
        <p:grpSpPr>
          <a:xfrm>
            <a:off x="86400" y="73297"/>
            <a:ext cx="576232" cy="576232"/>
            <a:chOff x="423422" y="446725"/>
            <a:chExt cx="1238248" cy="1238248"/>
          </a:xfrm>
        </p:grpSpPr>
        <p:sp>
          <p:nvSpPr>
            <p:cNvPr id="7" name="Oval 13"/>
            <p:cNvSpPr/>
            <p:nvPr/>
          </p:nvSpPr>
          <p:spPr>
            <a:xfrm>
              <a:off x="423422" y="446725"/>
              <a:ext cx="1238248" cy="1238248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8" name="Oval 14"/>
            <p:cNvSpPr/>
            <p:nvPr/>
          </p:nvSpPr>
          <p:spPr>
            <a:xfrm>
              <a:off x="559728" y="583031"/>
              <a:ext cx="964236" cy="964236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9" name="TextBox 15"/>
            <p:cNvSpPr txBox="1"/>
            <p:nvPr/>
          </p:nvSpPr>
          <p:spPr>
            <a:xfrm>
              <a:off x="457097" y="618324"/>
              <a:ext cx="115123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430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62779" y="170260"/>
            <a:ext cx="7067025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DOCUMENTATION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1541361"/>
              </p:ext>
            </p:extLst>
          </p:nvPr>
        </p:nvGraphicFramePr>
        <p:xfrm>
          <a:off x="172666" y="706252"/>
          <a:ext cx="8772550" cy="407053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754510"/>
                <a:gridCol w="1754510"/>
                <a:gridCol w="1754510"/>
                <a:gridCol w="1754510"/>
                <a:gridCol w="1754510"/>
              </a:tblGrid>
              <a:tr h="442546">
                <a:tc gridSpan="4"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BUILD END-CUSTOMERS APPLICATIONS</a:t>
                      </a:r>
                      <a:endParaRPr lang="fr-FR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OPERATE WITH RAINBOW</a:t>
                      </a:r>
                      <a:endParaRPr lang="fr-FR" sz="1100" dirty="0"/>
                    </a:p>
                  </a:txBody>
                  <a:tcPr/>
                </a:tc>
              </a:tr>
              <a:tr h="384593"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</a:t>
                      </a:r>
                      <a:r>
                        <a:rPr lang="fr-FR" sz="1100" b="1" baseline="0" dirty="0" smtClean="0">
                          <a:solidFill>
                            <a:schemeClr val="accent6"/>
                          </a:solidFill>
                        </a:rPr>
                        <a:t> WEB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 NODE.JS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 ANDROID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SDK FOR IOS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dirty="0" smtClean="0">
                          <a:solidFill>
                            <a:schemeClr val="accent6"/>
                          </a:solidFill>
                        </a:rPr>
                        <a:t>REST API</a:t>
                      </a:r>
                      <a:endParaRPr lang="fr-FR" sz="11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/>
                </a:tc>
              </a:tr>
              <a:tr h="410935"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ront-End Web 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fr-FR" sz="8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ack-End Application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OT</a:t>
                      </a:r>
                      <a:endParaRPr lang="fr-FR" sz="8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ative Android 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fr-FR" sz="8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ative IOS </a:t>
                      </a:r>
                    </a:p>
                    <a:p>
                      <a:pPr marL="0" algn="ctr" defTabSz="696777" rtl="0" eaLnBrk="1" latinLnBrk="0" hangingPunct="1"/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fr-FR" sz="8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800" kern="12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visionning</a:t>
                      </a:r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nd Administrative</a:t>
                      </a:r>
                      <a:endParaRPr lang="fr-FR" sz="800" kern="1200" baseline="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10935">
                <a:tc>
                  <a:txBody>
                    <a:bodyPr/>
                    <a:lstStyle/>
                    <a:p>
                      <a:pPr algn="ctr"/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Getting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tarted</a:t>
                      </a:r>
                      <a:endParaRPr lang="fr-FR" sz="8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What’s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New</a:t>
                      </a:r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Getting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tarted</a:t>
                      </a:r>
                      <a:endParaRPr lang="fr-FR" sz="8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What’s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New</a:t>
                      </a:r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etting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rted</a:t>
                      </a:r>
                      <a:endParaRPr lang="fr-FR" sz="800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696777" rtl="0" eaLnBrk="1" latinLnBrk="0" hangingPunct="1"/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hat’s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New</a:t>
                      </a:r>
                      <a:endParaRPr lang="fr-FR" sz="800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96777" rtl="0" eaLnBrk="1" latinLnBrk="0" hangingPunct="1"/>
                      <a:r>
                        <a:rPr lang="fr-FR" sz="800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etting</a:t>
                      </a:r>
                      <a:r>
                        <a:rPr lang="fr-FR" sz="800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rted</a:t>
                      </a:r>
                      <a:endParaRPr lang="fr-FR" sz="800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fr-FR" sz="800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What’s</a:t>
                      </a:r>
                      <a:r>
                        <a:rPr lang="fr-FR" sz="8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New</a:t>
                      </a:r>
                      <a:endParaRPr lang="fr-FR" sz="8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etting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rted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</a:p>
                  </a:txBody>
                  <a:tcPr anchor="ctr"/>
                </a:tc>
              </a:tr>
              <a:tr h="410935">
                <a:tc>
                  <a:txBody>
                    <a:bodyPr/>
                    <a:lstStyle/>
                    <a:p>
                      <a:pPr algn="ctr"/>
                      <a:r>
                        <a:rPr lang="fr-FR" sz="8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PI Docu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PI Docu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API Docu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API Docu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PI Documentation</a:t>
                      </a:r>
                    </a:p>
                  </a:txBody>
                  <a:tcPr anchor="ctr"/>
                </a:tc>
              </a:tr>
              <a:tr h="410935"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13 Guides</a:t>
                      </a:r>
                    </a:p>
                    <a:p>
                      <a:pPr algn="ctr"/>
                      <a:endParaRPr lang="fr-FR" sz="8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etup</a:t>
                      </a:r>
                      <a:r>
                        <a:rPr lang="fr-FR" sz="8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configuration file</a:t>
                      </a:r>
                    </a:p>
                    <a:p>
                      <a:pPr algn="l"/>
                      <a:r>
                        <a:rPr lang="fr-FR" sz="8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necting</a:t>
                      </a:r>
                      <a:r>
                        <a:rPr lang="fr-FR" sz="8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to Rainbow</a:t>
                      </a:r>
                    </a:p>
                    <a:p>
                      <a:pPr algn="l"/>
                      <a:r>
                        <a:rPr lang="mr-IN" sz="8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…</a:t>
                      </a:r>
                      <a:endParaRPr lang="fr-FR" sz="800" baseline="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fr-FR" sz="8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upporting</a:t>
                      </a:r>
                      <a:r>
                        <a:rPr lang="fr-FR" sz="8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non-</a:t>
                      </a:r>
                      <a:r>
                        <a:rPr lang="fr-FR" sz="8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ngular</a:t>
                      </a:r>
                      <a:r>
                        <a:rPr lang="fr-FR" sz="8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800" baseline="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app</a:t>
                      </a:r>
                      <a:endParaRPr lang="fr-FR" sz="800" baseline="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l"/>
                      <a:endParaRPr lang="fr-FR" sz="800" baseline="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7 Guides</a:t>
                      </a:r>
                    </a:p>
                    <a:p>
                      <a:pPr algn="ctr"/>
                      <a:endParaRPr lang="fr-FR" sz="8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l"/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necting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to Rainbow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</a:p>
                    <a:p>
                      <a:pPr marL="0" marR="0" indent="0" algn="l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swering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to Chat</a:t>
                      </a:r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messages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r>
                        <a:rPr lang="fr-FR" sz="800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fr-FR" sz="800" kern="1200" baseline="30000" dirty="0" smtClean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Debugging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b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Proxy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Managing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users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endParaRPr lang="fr-FR" sz="8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marL="0" marR="0" indent="0" algn="l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Managing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Bubbles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endParaRPr lang="fr-FR" sz="8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algn="l"/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8 Guides</a:t>
                      </a:r>
                    </a:p>
                    <a:p>
                      <a:pPr algn="ctr"/>
                      <a:endParaRPr lang="fr-FR" sz="8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  <a:p>
                      <a:pPr marL="0" marR="0" indent="0" algn="l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necting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to Rainbow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endParaRPr lang="fr-FR" sz="800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trieving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contacts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endParaRPr lang="fr-FR" sz="800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hatting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Rainbow </a:t>
                      </a: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</a:p>
                    <a:p>
                      <a:pPr marL="0" marR="0" indent="0" algn="l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ake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udio and </a:t>
                      </a: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call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</a:p>
                    <a:p>
                      <a:pPr marL="0" marR="0" indent="0" algn="l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fr-FR" sz="800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are files </a:t>
                      </a: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endParaRPr lang="fr-FR" sz="800" baseline="0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Guides</a:t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96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2 Guides</a:t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/>
                      </a:r>
                      <a:b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</a:b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onnecting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to Rainbow</a:t>
                      </a:r>
                      <a:r>
                        <a:rPr lang="fr-FR" sz="8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baseline="3000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endParaRPr lang="fr-FR" sz="800" dirty="0" smtClean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10935"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4 </a:t>
                      </a: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Samples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with</a:t>
                      </a:r>
                      <a:r>
                        <a:rPr lang="fr-FR" sz="8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sources</a:t>
                      </a:r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410935"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PDF API Posters</a:t>
                      </a:r>
                    </a:p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PDF </a:t>
                      </a:r>
                      <a:r>
                        <a:rPr lang="fr-FR" sz="800" dirty="0" err="1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Models</a:t>
                      </a:r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 Posters</a:t>
                      </a:r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-</a:t>
                      </a:r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-</a:t>
                      </a:r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-</a:t>
                      </a:r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-</a:t>
                      </a:r>
                      <a:endParaRPr lang="fr-FR" sz="800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3193824" y="4765609"/>
            <a:ext cx="2730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dirty="0" smtClean="0">
                <a:solidFill>
                  <a:schemeClr val="bg1"/>
                </a:solidFill>
              </a:rPr>
              <a:t> + 6 global guides (HUB)</a:t>
            </a:r>
            <a:endParaRPr lang="fr-FR" dirty="0">
              <a:solidFill>
                <a:schemeClr val="bg1"/>
              </a:solidFill>
            </a:endParaRPr>
          </a:p>
        </p:txBody>
      </p:sp>
      <p:grpSp>
        <p:nvGrpSpPr>
          <p:cNvPr id="6" name="Group 2"/>
          <p:cNvGrpSpPr/>
          <p:nvPr/>
        </p:nvGrpSpPr>
        <p:grpSpPr>
          <a:xfrm>
            <a:off x="86400" y="73297"/>
            <a:ext cx="576232" cy="576232"/>
            <a:chOff x="423422" y="446725"/>
            <a:chExt cx="1238248" cy="1238248"/>
          </a:xfrm>
        </p:grpSpPr>
        <p:sp>
          <p:nvSpPr>
            <p:cNvPr id="7" name="Oval 13"/>
            <p:cNvSpPr/>
            <p:nvPr/>
          </p:nvSpPr>
          <p:spPr>
            <a:xfrm>
              <a:off x="423422" y="446725"/>
              <a:ext cx="1238248" cy="1238248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8" name="Oval 14"/>
            <p:cNvSpPr/>
            <p:nvPr/>
          </p:nvSpPr>
          <p:spPr>
            <a:xfrm>
              <a:off x="559728" y="583031"/>
              <a:ext cx="964236" cy="964236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9" name="TextBox 15"/>
            <p:cNvSpPr txBox="1"/>
            <p:nvPr/>
          </p:nvSpPr>
          <p:spPr>
            <a:xfrm>
              <a:off x="457097" y="618324"/>
              <a:ext cx="115123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2</a:t>
              </a:r>
            </a:p>
          </p:txBody>
        </p:sp>
      </p:grpSp>
      <p:sp>
        <p:nvSpPr>
          <p:cNvPr id="4" name="ZoneTexte 3"/>
          <p:cNvSpPr txBox="1"/>
          <p:nvPr/>
        </p:nvSpPr>
        <p:spPr>
          <a:xfrm rot="19147810">
            <a:off x="5776784" y="3876287"/>
            <a:ext cx="1050325" cy="26161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fr-FR" sz="1100" b="1" smtClean="0">
                <a:solidFill>
                  <a:schemeClr val="bg1"/>
                </a:solidFill>
                <a:latin typeface="Trebuchet MS" pitchFamily="34" charset="0"/>
              </a:rPr>
              <a:t>IN PROGRESS</a:t>
            </a:r>
          </a:p>
        </p:txBody>
      </p:sp>
    </p:spTree>
    <p:extLst>
      <p:ext uri="{BB962C8B-B14F-4D97-AF65-F5344CB8AC3E}">
        <p14:creationId xmlns:p14="http://schemas.microsoft.com/office/powerpoint/2010/main" val="1609249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07327" y="1371967"/>
            <a:ext cx="3312333" cy="3032376"/>
          </a:xfrm>
          <a:prstGeom prst="rect">
            <a:avLst/>
          </a:prstGeom>
          <a:solidFill>
            <a:srgbClr val="FFFFFF">
              <a:alpha val="25882"/>
            </a:srgbClr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7" name="Titre 15"/>
          <p:cNvSpPr txBox="1">
            <a:spLocks/>
          </p:cNvSpPr>
          <p:nvPr/>
        </p:nvSpPr>
        <p:spPr>
          <a:xfrm>
            <a:off x="653286" y="170260"/>
            <a:ext cx="4051892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DOCUMENTATION MATTERS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2490" y="4733525"/>
            <a:ext cx="1114882" cy="298788"/>
          </a:xfrm>
          <a:prstGeom prst="rect">
            <a:avLst/>
          </a:prstGeom>
        </p:spPr>
      </p:pic>
      <p:sp>
        <p:nvSpPr>
          <p:cNvPr id="17" name="ZoneTexte 16"/>
          <p:cNvSpPr txBox="1"/>
          <p:nvPr/>
        </p:nvSpPr>
        <p:spPr>
          <a:xfrm>
            <a:off x="802298" y="741622"/>
            <a:ext cx="7517362" cy="276999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Documentation </a:t>
            </a:r>
            <a:r>
              <a:rPr lang="fr-FR" sz="1200" b="1" dirty="0" err="1" smtClean="0">
                <a:solidFill>
                  <a:srgbClr val="FFFFFF"/>
                </a:solidFill>
                <a:latin typeface="Trebuchet MS" pitchFamily="34" charset="0"/>
              </a:rPr>
              <a:t>is</a:t>
            </a: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 the part the </a:t>
            </a:r>
            <a:r>
              <a:rPr lang="fr-FR" sz="1200" b="1" dirty="0" err="1" smtClean="0">
                <a:solidFill>
                  <a:srgbClr val="FFFFFF"/>
                </a:solidFill>
                <a:latin typeface="Trebuchet MS" pitchFamily="34" charset="0"/>
              </a:rPr>
              <a:t>most</a:t>
            </a: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1200" b="1" dirty="0" err="1" smtClean="0">
                <a:solidFill>
                  <a:srgbClr val="FFFFFF"/>
                </a:solidFill>
                <a:latin typeface="Trebuchet MS" pitchFamily="34" charset="0"/>
              </a:rPr>
              <a:t>expected</a:t>
            </a: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 by </a:t>
            </a:r>
            <a:r>
              <a:rPr lang="fr-FR" sz="1200" b="1" dirty="0" err="1" smtClean="0">
                <a:solidFill>
                  <a:srgbClr val="FFFFFF"/>
                </a:solidFill>
                <a:latin typeface="Trebuchet MS" pitchFamily="34" charset="0"/>
              </a:rPr>
              <a:t>developers</a:t>
            </a:r>
            <a:endParaRPr lang="fr-FR" sz="1200" b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5007327" y="4376376"/>
            <a:ext cx="33246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i="1" dirty="0" smtClean="0">
                <a:solidFill>
                  <a:schemeClr val="accent1"/>
                </a:solidFill>
                <a:latin typeface="Trebuchet MS" pitchFamily="34" charset="0"/>
              </a:rPr>
              <a:t>36 guides </a:t>
            </a:r>
            <a:r>
              <a:rPr lang="fr-FR" sz="1200" b="1" i="1" dirty="0" err="1" smtClean="0">
                <a:solidFill>
                  <a:schemeClr val="accent1"/>
                </a:solidFill>
                <a:latin typeface="Trebuchet MS" pitchFamily="34" charset="0"/>
              </a:rPr>
              <a:t>already</a:t>
            </a:r>
            <a:r>
              <a:rPr lang="fr-FR" sz="1200" b="1" i="1" dirty="0" smtClean="0">
                <a:solidFill>
                  <a:schemeClr val="accent1"/>
                </a:solidFill>
                <a:latin typeface="Trebuchet MS" pitchFamily="34" charset="0"/>
              </a:rPr>
              <a:t> </a:t>
            </a:r>
            <a:r>
              <a:rPr lang="fr-FR" sz="1200" b="1" i="1" dirty="0" err="1" smtClean="0">
                <a:solidFill>
                  <a:schemeClr val="accent1"/>
                </a:solidFill>
                <a:latin typeface="Trebuchet MS" pitchFamily="34" charset="0"/>
              </a:rPr>
              <a:t>available</a:t>
            </a:r>
            <a:endParaRPr lang="fr-FR" sz="1200" b="1" i="1" dirty="0" smtClean="0">
              <a:solidFill>
                <a:schemeClr val="accent1"/>
              </a:solidFill>
              <a:latin typeface="Trebuchet MS" pitchFamily="34" charset="0"/>
            </a:endParaRPr>
          </a:p>
        </p:txBody>
      </p:sp>
      <p:grpSp>
        <p:nvGrpSpPr>
          <p:cNvPr id="14" name="Group 2"/>
          <p:cNvGrpSpPr/>
          <p:nvPr/>
        </p:nvGrpSpPr>
        <p:grpSpPr>
          <a:xfrm>
            <a:off x="86400" y="73297"/>
            <a:ext cx="576232" cy="576232"/>
            <a:chOff x="423422" y="446725"/>
            <a:chExt cx="1238248" cy="1238248"/>
          </a:xfrm>
        </p:grpSpPr>
        <p:sp>
          <p:nvSpPr>
            <p:cNvPr id="15" name="Oval 13"/>
            <p:cNvSpPr/>
            <p:nvPr/>
          </p:nvSpPr>
          <p:spPr>
            <a:xfrm>
              <a:off x="423422" y="446725"/>
              <a:ext cx="1238248" cy="1238248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6" name="Oval 14"/>
            <p:cNvSpPr/>
            <p:nvPr/>
          </p:nvSpPr>
          <p:spPr>
            <a:xfrm>
              <a:off x="559728" y="583031"/>
              <a:ext cx="964236" cy="964236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8" name="TextBox 15"/>
            <p:cNvSpPr txBox="1"/>
            <p:nvPr/>
          </p:nvSpPr>
          <p:spPr>
            <a:xfrm>
              <a:off x="457097" y="618324"/>
              <a:ext cx="115123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2</a:t>
              </a:r>
            </a:p>
          </p:txBody>
        </p:sp>
      </p:grp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196300"/>
              </p:ext>
            </p:extLst>
          </p:nvPr>
        </p:nvGraphicFramePr>
        <p:xfrm>
          <a:off x="802298" y="1371967"/>
          <a:ext cx="3729156" cy="3032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5754"/>
                <a:gridCol w="903402"/>
              </a:tblGrid>
              <a:tr h="150713">
                <a:tc gridSpan="2"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IMPORTANT FACTORS (RATED</a:t>
                      </a:r>
                      <a:r>
                        <a:rPr lang="fr-FR" sz="1100" baseline="0" dirty="0" smtClean="0"/>
                        <a:t> 1-4)</a:t>
                      </a:r>
                      <a:endParaRPr lang="fr-FR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7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Complete</a:t>
                      </a:r>
                      <a:r>
                        <a:rPr lang="fr-FR" sz="800" b="1" baseline="0" dirty="0" smtClean="0">
                          <a:solidFill>
                            <a:schemeClr val="accent5"/>
                          </a:solidFill>
                        </a:rPr>
                        <a:t> and </a:t>
                      </a:r>
                      <a:r>
                        <a:rPr lang="fr-FR" sz="800" b="1" baseline="0" dirty="0" err="1" smtClean="0">
                          <a:solidFill>
                            <a:schemeClr val="accent5"/>
                          </a:solidFill>
                        </a:rPr>
                        <a:t>accurate</a:t>
                      </a:r>
                      <a:r>
                        <a:rPr lang="fr-FR" sz="800" b="1" baseline="0" dirty="0" smtClean="0">
                          <a:solidFill>
                            <a:schemeClr val="accent5"/>
                          </a:solidFill>
                        </a:rPr>
                        <a:t> documentation</a:t>
                      </a:r>
                      <a:endParaRPr lang="fr-FR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3.6</a:t>
                      </a:r>
                      <a:endParaRPr lang="fr-FR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Service </a:t>
                      </a:r>
                      <a:r>
                        <a:rPr lang="fr-FR" sz="800" b="1" dirty="0" err="1" smtClean="0">
                          <a:solidFill>
                            <a:schemeClr val="accent5"/>
                          </a:solidFill>
                        </a:rPr>
                        <a:t>availability</a:t>
                      </a:r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/</a:t>
                      </a:r>
                      <a:r>
                        <a:rPr lang="fr-FR" sz="800" b="1" dirty="0" err="1" smtClean="0">
                          <a:solidFill>
                            <a:schemeClr val="accent5"/>
                          </a:solidFill>
                        </a:rPr>
                        <a:t>uptime</a:t>
                      </a:r>
                      <a:endParaRPr lang="fr-FR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3.55</a:t>
                      </a:r>
                      <a:endParaRPr lang="fr-FR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Service </a:t>
                      </a:r>
                      <a:r>
                        <a:rPr lang="fr-FR" sz="800" b="1" dirty="0" err="1" smtClean="0">
                          <a:solidFill>
                            <a:schemeClr val="accent5"/>
                          </a:solidFill>
                        </a:rPr>
                        <a:t>responsiveness</a:t>
                      </a:r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/performance</a:t>
                      </a:r>
                      <a:endParaRPr lang="fr-FR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3.5</a:t>
                      </a:r>
                      <a:endParaRPr lang="fr-FR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A or documentation change log</a:t>
                      </a:r>
                      <a:endParaRPr lang="fr-FR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smtClean="0">
                          <a:solidFill>
                            <a:schemeClr val="accent5"/>
                          </a:solidFill>
                        </a:rPr>
                        <a:t>3.35</a:t>
                      </a:r>
                      <a:endParaRPr lang="fr-FR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b="1" dirty="0" smtClean="0">
                          <a:solidFill>
                            <a:schemeClr val="accent6"/>
                          </a:solidFill>
                        </a:rPr>
                        <a:t>Active </a:t>
                      </a:r>
                      <a:r>
                        <a:rPr lang="fr-FR" sz="800" b="1" dirty="0" err="1" smtClean="0">
                          <a:solidFill>
                            <a:schemeClr val="accent6"/>
                          </a:solidFill>
                        </a:rPr>
                        <a:t>developer</a:t>
                      </a:r>
                      <a:r>
                        <a:rPr lang="fr-FR" sz="800" b="1" dirty="0" smtClean="0">
                          <a:solidFill>
                            <a:schemeClr val="accent6"/>
                          </a:solidFill>
                        </a:rPr>
                        <a:t> </a:t>
                      </a:r>
                      <a:r>
                        <a:rPr lang="fr-FR" sz="800" b="1" dirty="0" err="1" smtClean="0">
                          <a:solidFill>
                            <a:schemeClr val="accent6"/>
                          </a:solidFill>
                        </a:rPr>
                        <a:t>community</a:t>
                      </a:r>
                      <a:endParaRPr lang="fr-FR" sz="800" b="1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smtClean="0">
                          <a:solidFill>
                            <a:schemeClr val="accent6"/>
                          </a:solidFill>
                        </a:rPr>
                        <a:t>3.1</a:t>
                      </a:r>
                      <a:endParaRPr lang="fr-FR" sz="800" b="1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b="1" dirty="0" smtClean="0">
                          <a:solidFill>
                            <a:schemeClr val="accent6"/>
                          </a:solidFill>
                        </a:rPr>
                        <a:t>Customer service </a:t>
                      </a:r>
                      <a:r>
                        <a:rPr lang="fr-FR" sz="800" b="1" dirty="0" err="1" smtClean="0">
                          <a:solidFill>
                            <a:schemeClr val="accent6"/>
                          </a:solidFill>
                        </a:rPr>
                        <a:t>responsiveness</a:t>
                      </a:r>
                      <a:endParaRPr lang="fr-FR" sz="800" b="1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smtClean="0">
                          <a:solidFill>
                            <a:schemeClr val="accent6"/>
                          </a:solidFill>
                        </a:rPr>
                        <a:t>2.9</a:t>
                      </a:r>
                      <a:endParaRPr lang="fr-FR" sz="800" b="1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b="1" dirty="0" smtClean="0">
                          <a:solidFill>
                            <a:schemeClr val="accent1"/>
                          </a:solidFill>
                        </a:rPr>
                        <a:t>Price</a:t>
                      </a:r>
                      <a:endParaRPr lang="fr-FR" sz="8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smtClean="0">
                          <a:solidFill>
                            <a:schemeClr val="accent1"/>
                          </a:solidFill>
                        </a:rPr>
                        <a:t>2.85</a:t>
                      </a:r>
                      <a:endParaRPr lang="fr-FR" sz="8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dirty="0" err="1" smtClean="0"/>
                        <a:t>Language-specific</a:t>
                      </a:r>
                      <a:r>
                        <a:rPr lang="fr-FR" sz="800" dirty="0" smtClean="0"/>
                        <a:t> SDKs / </a:t>
                      </a:r>
                      <a:r>
                        <a:rPr lang="fr-FR" sz="800" dirty="0" err="1" smtClean="0"/>
                        <a:t>Helper</a:t>
                      </a:r>
                      <a:r>
                        <a:rPr lang="fr-FR" sz="800" dirty="0" smtClean="0"/>
                        <a:t> </a:t>
                      </a:r>
                      <a:r>
                        <a:rPr lang="fr-FR" sz="800" dirty="0" err="1" smtClean="0"/>
                        <a:t>libraries</a:t>
                      </a:r>
                      <a:endParaRPr lang="fr-FR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/>
                        <a:t>2.75</a:t>
                      </a:r>
                      <a:endParaRPr lang="fr-FR" sz="8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dirty="0" smtClean="0"/>
                        <a:t>Service </a:t>
                      </a:r>
                      <a:r>
                        <a:rPr lang="fr-FR" sz="800" dirty="0" err="1" smtClean="0"/>
                        <a:t>status</a:t>
                      </a:r>
                      <a:r>
                        <a:rPr lang="fr-FR" sz="800" dirty="0" smtClean="0"/>
                        <a:t> </a:t>
                      </a:r>
                      <a:r>
                        <a:rPr lang="fr-FR" sz="800" dirty="0" err="1" smtClean="0"/>
                        <a:t>dashboard</a:t>
                      </a:r>
                      <a:endParaRPr lang="fr-FR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/>
                        <a:t>2.6</a:t>
                      </a:r>
                      <a:endParaRPr lang="fr-FR" sz="8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dirty="0" smtClean="0"/>
                        <a:t>API console or explorer</a:t>
                      </a:r>
                      <a:endParaRPr lang="fr-FR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/>
                        <a:t>2.55</a:t>
                      </a:r>
                      <a:endParaRPr lang="fr-FR" sz="8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dirty="0" smtClean="0"/>
                        <a:t>User forums</a:t>
                      </a:r>
                      <a:endParaRPr lang="fr-FR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/>
                        <a:t>2.45</a:t>
                      </a:r>
                      <a:endParaRPr lang="fr-FR" sz="8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dirty="0" smtClean="0"/>
                        <a:t>Service-</a:t>
                      </a:r>
                      <a:r>
                        <a:rPr lang="fr-FR" sz="800" dirty="0" err="1" smtClean="0"/>
                        <a:t>specific</a:t>
                      </a:r>
                      <a:r>
                        <a:rPr lang="fr-FR" sz="800" dirty="0" smtClean="0"/>
                        <a:t> blog</a:t>
                      </a:r>
                      <a:endParaRPr lang="fr-FR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/>
                        <a:t>2.1</a:t>
                      </a:r>
                      <a:endParaRPr lang="fr-FR" sz="8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800" dirty="0" smtClean="0"/>
                        <a:t>Service-</a:t>
                      </a:r>
                      <a:r>
                        <a:rPr lang="fr-FR" sz="800" dirty="0" err="1" smtClean="0"/>
                        <a:t>specific</a:t>
                      </a:r>
                      <a:r>
                        <a:rPr lang="fr-FR" sz="800" dirty="0" smtClean="0"/>
                        <a:t> Twitter </a:t>
                      </a:r>
                      <a:r>
                        <a:rPr lang="fr-FR" sz="800" dirty="0" err="1" smtClean="0"/>
                        <a:t>account</a:t>
                      </a:r>
                      <a:endParaRPr lang="fr-FR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dirty="0" smtClean="0"/>
                        <a:t>1.85</a:t>
                      </a:r>
                      <a:endParaRPr lang="fr-FR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9" name="Straight Connector 112"/>
          <p:cNvSpPr/>
          <p:nvPr/>
        </p:nvSpPr>
        <p:spPr>
          <a:xfrm flipH="1" flipV="1">
            <a:off x="4365322" y="1725801"/>
            <a:ext cx="2" cy="686347"/>
          </a:xfrm>
          <a:prstGeom prst="line">
            <a:avLst/>
          </a:prstGeom>
          <a:ln w="25400">
            <a:solidFill>
              <a:schemeClr val="accent5"/>
            </a:solidFill>
            <a:headEnd type="none" w="med" len="med"/>
            <a:tailEnd type="triangle" w="med" len="med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21" name="Straight Connector 112"/>
          <p:cNvSpPr/>
          <p:nvPr/>
        </p:nvSpPr>
        <p:spPr>
          <a:xfrm>
            <a:off x="4365325" y="3860861"/>
            <a:ext cx="0" cy="432487"/>
          </a:xfrm>
          <a:prstGeom prst="line">
            <a:avLst/>
          </a:prstGeom>
          <a:ln w="25400">
            <a:solidFill>
              <a:schemeClr val="accent5"/>
            </a:solidFill>
            <a:headEnd type="none" w="med" len="med"/>
            <a:tailEnd type="triangle" w="med" len="med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20" name="Rectangle 19"/>
          <p:cNvSpPr/>
          <p:nvPr/>
        </p:nvSpPr>
        <p:spPr>
          <a:xfrm>
            <a:off x="5601113" y="2732226"/>
            <a:ext cx="722172" cy="103127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5384184" y="3771325"/>
            <a:ext cx="1156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SDK NODE.JS</a:t>
            </a:r>
            <a:b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Lines of code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5704378" y="2924729"/>
            <a:ext cx="5156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5K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972655" y="1947440"/>
            <a:ext cx="722172" cy="18160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6382103" y="3771325"/>
            <a:ext cx="1949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GUIDES</a:t>
            </a:r>
            <a:b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Lines of doc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7075921" y="2924728"/>
            <a:ext cx="5156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8K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5007327" y="1371967"/>
            <a:ext cx="3312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smtClean="0">
                <a:solidFill>
                  <a:srgbClr val="FFFFFF"/>
                </a:solidFill>
                <a:latin typeface="Trebuchet MS" pitchFamily="34" charset="0"/>
              </a:rPr>
              <a:t>COMPARISON OF EFFORT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02298" y="4390527"/>
            <a:ext cx="37291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700" i="1" dirty="0">
                <a:solidFill>
                  <a:schemeClr val="bg1"/>
                </a:solidFill>
              </a:rPr>
              <a:t>The State of API Documentation: 2017 </a:t>
            </a:r>
            <a:r>
              <a:rPr lang="fr-FR" sz="700" i="1" dirty="0" err="1">
                <a:solidFill>
                  <a:schemeClr val="bg1"/>
                </a:solidFill>
              </a:rPr>
              <a:t>edition</a:t>
            </a:r>
            <a:r>
              <a:rPr lang="fr-FR" sz="700" i="1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3640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13"/>
          <p:cNvSpPr>
            <a:spLocks noChangeAspect="1"/>
          </p:cNvSpPr>
          <p:nvPr/>
        </p:nvSpPr>
        <p:spPr>
          <a:xfrm>
            <a:off x="448636" y="522091"/>
            <a:ext cx="1004417" cy="979302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200" b="1" dirty="0" smtClean="0">
                <a:latin typeface="Trebuchet MS"/>
                <a:cs typeface="Trebuchet MS"/>
              </a:rPr>
              <a:t>BF3/4</a:t>
            </a:r>
            <a:r>
              <a:rPr lang="en-US" dirty="0" smtClean="0">
                <a:latin typeface="Trebuchet MS"/>
                <a:cs typeface="Trebuchet MS"/>
              </a:rPr>
              <a:t/>
            </a:r>
            <a:br>
              <a:rPr lang="en-US" dirty="0" smtClean="0">
                <a:latin typeface="Trebuchet MS"/>
                <a:cs typeface="Trebuchet MS"/>
              </a:rPr>
            </a:br>
            <a:r>
              <a:rPr lang="en-US" sz="800" dirty="0" smtClean="0">
                <a:solidFill>
                  <a:schemeClr val="bg1">
                    <a:lumMod val="65000"/>
                  </a:schemeClr>
                </a:solidFill>
                <a:latin typeface="Trebuchet MS"/>
                <a:cs typeface="Trebuchet MS"/>
              </a:rPr>
              <a:t>MPD</a:t>
            </a:r>
            <a:endParaRPr lang="en-US" dirty="0">
              <a:solidFill>
                <a:schemeClr val="bg1">
                  <a:lumMod val="65000"/>
                </a:schemeClr>
              </a:solidFill>
              <a:latin typeface="Trebuchet MS"/>
              <a:cs typeface="Trebuchet MS"/>
            </a:endParaRPr>
          </a:p>
        </p:txBody>
      </p:sp>
      <p:sp>
        <p:nvSpPr>
          <p:cNvPr id="23" name="Oval 13"/>
          <p:cNvSpPr>
            <a:spLocks noChangeAspect="1"/>
          </p:cNvSpPr>
          <p:nvPr/>
        </p:nvSpPr>
        <p:spPr>
          <a:xfrm>
            <a:off x="1136712" y="672862"/>
            <a:ext cx="1485088" cy="1447955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400" b="1" dirty="0" smtClean="0">
                <a:latin typeface="Trebuchet MS"/>
                <a:cs typeface="Trebuchet MS"/>
              </a:rPr>
              <a:t>PIMPHONY</a:t>
            </a:r>
            <a:r>
              <a:rPr lang="en-US" dirty="0" smtClean="0">
                <a:latin typeface="Trebuchet MS"/>
                <a:cs typeface="Trebuchet MS"/>
              </a:rPr>
              <a:t/>
            </a:r>
            <a:br>
              <a:rPr lang="en-US" dirty="0" smtClean="0">
                <a:latin typeface="Trebuchet MS"/>
                <a:cs typeface="Trebuchet MS"/>
              </a:rPr>
            </a:br>
            <a:r>
              <a:rPr lang="en-US" sz="1050" dirty="0" smtClean="0">
                <a:solidFill>
                  <a:schemeClr val="bg1">
                    <a:lumMod val="65000"/>
                  </a:schemeClr>
                </a:solidFill>
                <a:latin typeface="Trebuchet MS"/>
                <a:cs typeface="Trebuchet MS"/>
              </a:rPr>
              <a:t>SMB</a:t>
            </a:r>
            <a:endParaRPr lang="en-US" dirty="0">
              <a:solidFill>
                <a:schemeClr val="bg1">
                  <a:lumMod val="65000"/>
                </a:schemeClr>
              </a:solidFill>
              <a:latin typeface="Trebuchet MS"/>
              <a:cs typeface="Trebuchet MS"/>
            </a:endParaRPr>
          </a:p>
        </p:txBody>
      </p:sp>
      <p:sp>
        <p:nvSpPr>
          <p:cNvPr id="24" name="Oval 13"/>
          <p:cNvSpPr>
            <a:spLocks noChangeAspect="1"/>
          </p:cNvSpPr>
          <p:nvPr/>
        </p:nvSpPr>
        <p:spPr>
          <a:xfrm>
            <a:off x="2305458" y="1309550"/>
            <a:ext cx="1118083" cy="1090126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600" b="1" dirty="0" smtClean="0">
                <a:latin typeface="Trebuchet MS"/>
                <a:cs typeface="Trebuchet MS"/>
              </a:rPr>
              <a:t>ANGIE</a:t>
            </a:r>
            <a:r>
              <a:rPr lang="en-US" dirty="0" smtClean="0">
                <a:latin typeface="Trebuchet MS"/>
                <a:cs typeface="Trebuchet MS"/>
              </a:rPr>
              <a:t/>
            </a:r>
            <a:br>
              <a:rPr lang="en-US" dirty="0" smtClean="0">
                <a:latin typeface="Trebuchet MS"/>
                <a:cs typeface="Trebuchet MS"/>
              </a:rPr>
            </a:br>
            <a:r>
              <a:rPr lang="en-US" sz="1000" dirty="0" smtClean="0">
                <a:solidFill>
                  <a:schemeClr val="bg1">
                    <a:lumMod val="65000"/>
                  </a:schemeClr>
                </a:solidFill>
                <a:latin typeface="Trebuchet MS"/>
                <a:cs typeface="Trebuchet MS"/>
              </a:rPr>
              <a:t>SMB</a:t>
            </a:r>
            <a:endParaRPr lang="en-US" dirty="0">
              <a:solidFill>
                <a:schemeClr val="bg1">
                  <a:lumMod val="65000"/>
                </a:schemeClr>
              </a:solidFill>
              <a:latin typeface="Trebuchet MS"/>
              <a:cs typeface="Trebuchet MS"/>
            </a:endParaRPr>
          </a:p>
        </p:txBody>
      </p:sp>
      <p:sp>
        <p:nvSpPr>
          <p:cNvPr id="25" name="Oval 13"/>
          <p:cNvSpPr>
            <a:spLocks noChangeAspect="1"/>
          </p:cNvSpPr>
          <p:nvPr/>
        </p:nvSpPr>
        <p:spPr>
          <a:xfrm>
            <a:off x="3742295" y="1728406"/>
            <a:ext cx="1917054" cy="1869120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b="1" dirty="0" smtClean="0">
                <a:latin typeface="Trebuchet MS"/>
                <a:cs typeface="Trebuchet MS"/>
              </a:rPr>
              <a:t>My IC WALL</a:t>
            </a:r>
            <a:r>
              <a:rPr lang="en-US" dirty="0" smtClean="0">
                <a:latin typeface="Trebuchet MS"/>
                <a:cs typeface="Trebuchet MS"/>
              </a:rPr>
              <a:t/>
            </a:r>
            <a:br>
              <a:rPr lang="en-US" dirty="0" smtClean="0">
                <a:latin typeface="Trebuchet MS"/>
                <a:cs typeface="Trebuchet MS"/>
              </a:rPr>
            </a:br>
            <a:r>
              <a:rPr lang="en-US" sz="1100" dirty="0" smtClean="0">
                <a:solidFill>
                  <a:schemeClr val="bg1">
                    <a:lumMod val="65000"/>
                  </a:schemeClr>
                </a:solidFill>
                <a:latin typeface="Trebuchet MS"/>
                <a:cs typeface="Trebuchet MS"/>
              </a:rPr>
              <a:t>TERMINALS</a:t>
            </a:r>
            <a:endParaRPr lang="en-US" dirty="0">
              <a:solidFill>
                <a:schemeClr val="bg1">
                  <a:lumMod val="65000"/>
                </a:schemeClr>
              </a:solidFill>
              <a:latin typeface="Trebuchet MS"/>
              <a:cs typeface="Trebuchet MS"/>
            </a:endParaRPr>
          </a:p>
        </p:txBody>
      </p:sp>
      <p:sp>
        <p:nvSpPr>
          <p:cNvPr id="27" name="Oval 13"/>
          <p:cNvSpPr>
            <a:spLocks noChangeAspect="1"/>
          </p:cNvSpPr>
          <p:nvPr/>
        </p:nvSpPr>
        <p:spPr>
          <a:xfrm>
            <a:off x="5271155" y="2433340"/>
            <a:ext cx="1742480" cy="1698911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b="1" dirty="0">
                <a:cs typeface="Trebuchet MS"/>
              </a:rPr>
              <a:t>OTC WEB</a:t>
            </a:r>
            <a:br>
              <a:rPr lang="en-US" b="1" dirty="0">
                <a:cs typeface="Trebuchet MS"/>
              </a:rPr>
            </a:br>
            <a:r>
              <a:rPr lang="en-US" b="1" dirty="0">
                <a:cs typeface="Trebuchet MS"/>
              </a:rPr>
              <a:t>OXE </a:t>
            </a:r>
            <a:r>
              <a:rPr lang="en-US" b="1" dirty="0" smtClean="0">
                <a:latin typeface="Trebuchet MS"/>
                <a:cs typeface="Trebuchet MS"/>
              </a:rPr>
              <a:t>WBM</a:t>
            </a:r>
            <a:br>
              <a:rPr lang="en-US" b="1" dirty="0" smtClean="0">
                <a:latin typeface="Trebuchet MS"/>
                <a:cs typeface="Trebuchet MS"/>
              </a:rPr>
            </a:br>
            <a:r>
              <a:rPr lang="en-US" b="1" dirty="0" smtClean="0">
                <a:latin typeface="Trebuchet MS"/>
                <a:cs typeface="Trebuchet MS"/>
              </a:rPr>
              <a:t>OTMM</a:t>
            </a:r>
            <a:br>
              <a:rPr lang="en-US" b="1" dirty="0" smtClean="0">
                <a:latin typeface="Trebuchet MS"/>
                <a:cs typeface="Trebuchet MS"/>
              </a:rPr>
            </a:br>
            <a:r>
              <a:rPr lang="en-US" sz="1100" dirty="0" smtClean="0">
                <a:solidFill>
                  <a:schemeClr val="bg1">
                    <a:lumMod val="65000"/>
                  </a:schemeClr>
                </a:solidFill>
                <a:latin typeface="Trebuchet MS"/>
                <a:cs typeface="Trebuchet MS"/>
              </a:rPr>
              <a:t>MLE</a:t>
            </a:r>
            <a:endParaRPr lang="en-US" dirty="0">
              <a:solidFill>
                <a:schemeClr val="bg1">
                  <a:lumMod val="65000"/>
                </a:schemeClr>
              </a:solidFill>
              <a:latin typeface="Trebuchet MS"/>
              <a:cs typeface="Trebuchet MS"/>
            </a:endParaRPr>
          </a:p>
        </p:txBody>
      </p:sp>
      <p:sp>
        <p:nvSpPr>
          <p:cNvPr id="47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1800" b="0" dirty="0" smtClean="0">
                <a:solidFill>
                  <a:schemeClr val="bg1"/>
                </a:solidFill>
                <a:latin typeface="+mj-lt"/>
              </a:rPr>
              <a:t>PROFESSIONAL EXPERIENCE </a:t>
            </a:r>
            <a:endParaRPr lang="en-US" sz="1800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Oval 13"/>
          <p:cNvSpPr>
            <a:spLocks noChangeAspect="1"/>
          </p:cNvSpPr>
          <p:nvPr/>
        </p:nvSpPr>
        <p:spPr>
          <a:xfrm>
            <a:off x="6421785" y="2765216"/>
            <a:ext cx="2386015" cy="2326354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b="1" dirty="0" smtClean="0">
                <a:solidFill>
                  <a:schemeClr val="accent1"/>
                </a:solidFill>
                <a:latin typeface="Trebuchet MS"/>
                <a:cs typeface="Trebuchet MS"/>
              </a:rPr>
              <a:t>RAINBOW</a:t>
            </a:r>
            <a:r>
              <a:rPr lang="en-US" b="1" dirty="0" smtClean="0">
                <a:latin typeface="Trebuchet MS"/>
                <a:cs typeface="Trebuchet MS"/>
              </a:rPr>
              <a:t/>
            </a:r>
            <a:br>
              <a:rPr lang="en-US" b="1" dirty="0" smtClean="0">
                <a:latin typeface="Trebuchet MS"/>
                <a:cs typeface="Trebuchet MS"/>
              </a:rPr>
            </a:br>
            <a:r>
              <a:rPr lang="en-US" sz="1100" dirty="0" smtClean="0">
                <a:solidFill>
                  <a:schemeClr val="bg1">
                    <a:lumMod val="65000"/>
                  </a:schemeClr>
                </a:solidFill>
                <a:latin typeface="Trebuchet MS"/>
                <a:cs typeface="Trebuchet MS"/>
              </a:rPr>
              <a:t>CLOUD</a:t>
            </a:r>
            <a:endParaRPr lang="en-US" dirty="0">
              <a:solidFill>
                <a:schemeClr val="bg1">
                  <a:lumMod val="65000"/>
                </a:schemeClr>
              </a:solidFill>
              <a:latin typeface="Trebuchet MS"/>
              <a:cs typeface="Trebuchet MS"/>
            </a:endParaRPr>
          </a:p>
        </p:txBody>
      </p:sp>
      <p:sp>
        <p:nvSpPr>
          <p:cNvPr id="29" name="Oval 13"/>
          <p:cNvSpPr>
            <a:spLocks noChangeAspect="1"/>
          </p:cNvSpPr>
          <p:nvPr/>
        </p:nvSpPr>
        <p:spPr>
          <a:xfrm>
            <a:off x="3148188" y="1777827"/>
            <a:ext cx="918040" cy="895085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900" b="1" dirty="0" smtClean="0">
                <a:latin typeface="Trebuchet MS"/>
                <a:cs typeface="Trebuchet MS"/>
              </a:rPr>
              <a:t>ROUTER</a:t>
            </a:r>
            <a:r>
              <a:rPr lang="en-US" dirty="0" smtClean="0">
                <a:latin typeface="Trebuchet MS"/>
                <a:cs typeface="Trebuchet MS"/>
              </a:rPr>
              <a:t/>
            </a:r>
            <a:br>
              <a:rPr lang="en-US" dirty="0" smtClean="0">
                <a:latin typeface="Trebuchet MS"/>
                <a:cs typeface="Trebuchet MS"/>
              </a:rPr>
            </a:br>
            <a:r>
              <a:rPr lang="en-US" sz="700" dirty="0" smtClean="0">
                <a:solidFill>
                  <a:schemeClr val="bg1">
                    <a:lumMod val="65000"/>
                  </a:schemeClr>
                </a:solidFill>
                <a:latin typeface="Trebuchet MS"/>
                <a:cs typeface="Trebuchet MS"/>
              </a:rPr>
              <a:t>NETWORK</a:t>
            </a:r>
            <a:endParaRPr lang="en-US" dirty="0">
              <a:solidFill>
                <a:schemeClr val="bg1">
                  <a:lumMod val="65000"/>
                </a:schemeClr>
              </a:solidFill>
              <a:latin typeface="Trebuchet MS"/>
              <a:cs typeface="Trebuchet M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91798" y="672862"/>
            <a:ext cx="5180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smtClean="0">
                <a:solidFill>
                  <a:schemeClr val="accent5"/>
                </a:solidFill>
                <a:latin typeface="Trebuchet MS"/>
                <a:cs typeface="Trebuchet MS"/>
              </a:rPr>
              <a:t>2000</a:t>
            </a:r>
            <a:endParaRPr lang="fr-FR" dirty="0">
              <a:solidFill>
                <a:schemeClr val="accent5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359979" y="3522449"/>
            <a:ext cx="49885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smtClean="0">
                <a:solidFill>
                  <a:schemeClr val="accent5"/>
                </a:solidFill>
                <a:latin typeface="Trebuchet MS"/>
                <a:cs typeface="Trebuchet MS"/>
              </a:rPr>
              <a:t>2016</a:t>
            </a:r>
            <a:endParaRPr lang="fr-FR" dirty="0">
              <a:solidFill>
                <a:schemeClr val="accent5"/>
              </a:solidFill>
            </a:endParaRPr>
          </a:p>
        </p:txBody>
      </p:sp>
      <p:pic>
        <p:nvPicPr>
          <p:cNvPr id="49" name="Image 48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667" y="4727040"/>
            <a:ext cx="1114882" cy="298788"/>
          </a:xfrm>
          <a:prstGeom prst="rect">
            <a:avLst/>
          </a:prstGeom>
        </p:spPr>
      </p:pic>
      <p:pic>
        <p:nvPicPr>
          <p:cNvPr id="50" name="Image 4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16272" y="4307940"/>
            <a:ext cx="186267" cy="41910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7017" y="311264"/>
            <a:ext cx="704224" cy="70422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931786" y="289139"/>
            <a:ext cx="19844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smtClean="0">
                <a:solidFill>
                  <a:schemeClr val="bg1"/>
                </a:solidFill>
                <a:latin typeface="Trebuchet MS"/>
                <a:cs typeface="Trebuchet MS"/>
              </a:rPr>
              <a:t>Olivier Anguenot</a:t>
            </a:r>
            <a:endParaRPr lang="fr-FR" dirty="0"/>
          </a:p>
        </p:txBody>
      </p:sp>
      <p:sp>
        <p:nvSpPr>
          <p:cNvPr id="51" name="Rectangle 50"/>
          <p:cNvSpPr/>
          <p:nvPr/>
        </p:nvSpPr>
        <p:spPr>
          <a:xfrm>
            <a:off x="6951241" y="579272"/>
            <a:ext cx="224281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 smtClean="0">
                <a:solidFill>
                  <a:schemeClr val="bg1">
                    <a:lumMod val="85000"/>
                  </a:schemeClr>
                </a:solidFill>
                <a:latin typeface="+mj-lt"/>
                <a:cs typeface="Trebuchet MS"/>
              </a:rPr>
              <a:t>RAINBOW CPAAS</a:t>
            </a:r>
            <a:r>
              <a:rPr lang="fr-FR" sz="1100" b="1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 </a:t>
            </a:r>
            <a:r>
              <a:rPr lang="fr-FR" sz="1100" b="1" dirty="0" smtClean="0">
                <a:solidFill>
                  <a:schemeClr val="bg1">
                    <a:lumMod val="85000"/>
                  </a:schemeClr>
                </a:solidFill>
                <a:latin typeface="+mj-lt"/>
              </a:rPr>
              <a:t>TECH-LEAD</a:t>
            </a:r>
            <a:endParaRPr lang="en-US" sz="1100" b="1" dirty="0" smtClean="0">
              <a:solidFill>
                <a:schemeClr val="bg1">
                  <a:lumMod val="85000"/>
                </a:schemeClr>
              </a:solidFill>
              <a:latin typeface="+mj-lt"/>
              <a:cs typeface="Trebuchet MS"/>
            </a:endParaRPr>
          </a:p>
        </p:txBody>
      </p:sp>
      <p:sp>
        <p:nvSpPr>
          <p:cNvPr id="8" name="Rectangle à coins arrondis 7"/>
          <p:cNvSpPr/>
          <p:nvPr/>
        </p:nvSpPr>
        <p:spPr>
          <a:xfrm>
            <a:off x="6129477" y="126831"/>
            <a:ext cx="2855667" cy="1092061"/>
          </a:xfrm>
          <a:prstGeom prst="roundRect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 b="1">
              <a:solidFill>
                <a:schemeClr val="lt1"/>
              </a:solidFill>
              <a:latin typeface="Trebuchet MS"/>
              <a:cs typeface="Trebuchet M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6951241" y="776003"/>
            <a:ext cx="22428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dirty="0" smtClean="0">
                <a:solidFill>
                  <a:schemeClr val="bg1">
                    <a:lumMod val="85000"/>
                  </a:schemeClr>
                </a:solidFill>
                <a:latin typeface="+mj-lt"/>
                <a:cs typeface="Trebuchet MS"/>
              </a:rPr>
              <a:t>Illkirch, D4-125</a:t>
            </a:r>
            <a:endParaRPr lang="en-US" sz="1000" dirty="0" smtClean="0">
              <a:solidFill>
                <a:schemeClr val="bg1">
                  <a:lumMod val="85000"/>
                </a:schemeClr>
              </a:solidFill>
              <a:latin typeface="+mj-lt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5252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71018" y="170260"/>
            <a:ext cx="4027982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CONNECT YOUR APP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741" y="4570412"/>
            <a:ext cx="1114882" cy="298788"/>
          </a:xfrm>
          <a:prstGeom prst="rect">
            <a:avLst/>
          </a:prstGeom>
        </p:spPr>
      </p:pic>
      <p:sp>
        <p:nvSpPr>
          <p:cNvPr id="10" name="Freeform 72"/>
          <p:cNvSpPr>
            <a:spLocks noEditPoints="1"/>
          </p:cNvSpPr>
          <p:nvPr/>
        </p:nvSpPr>
        <p:spPr bwMode="auto">
          <a:xfrm>
            <a:off x="3315328" y="296927"/>
            <a:ext cx="2487288" cy="1435437"/>
          </a:xfrm>
          <a:custGeom>
            <a:avLst/>
            <a:gdLst/>
            <a:ahLst/>
            <a:cxnLst>
              <a:cxn ang="0">
                <a:pos x="869" y="243"/>
              </a:cxn>
              <a:cxn ang="0">
                <a:pos x="737" y="147"/>
              </a:cxn>
              <a:cxn ang="0">
                <a:pos x="588" y="0"/>
              </a:cxn>
              <a:cxn ang="0">
                <a:pos x="453" y="87"/>
              </a:cxn>
              <a:cxn ang="0">
                <a:pos x="361" y="64"/>
              </a:cxn>
              <a:cxn ang="0">
                <a:pos x="305" y="72"/>
              </a:cxn>
              <a:cxn ang="0">
                <a:pos x="320" y="115"/>
              </a:cxn>
              <a:cxn ang="0">
                <a:pos x="250" y="185"/>
              </a:cxn>
              <a:cxn ang="0">
                <a:pos x="195" y="159"/>
              </a:cxn>
              <a:cxn ang="0">
                <a:pos x="168" y="257"/>
              </a:cxn>
              <a:cxn ang="0">
                <a:pos x="170" y="277"/>
              </a:cxn>
              <a:cxn ang="0">
                <a:pos x="0" y="424"/>
              </a:cxn>
              <a:cxn ang="0">
                <a:pos x="264" y="581"/>
              </a:cxn>
              <a:cxn ang="0">
                <a:pos x="431" y="545"/>
              </a:cxn>
              <a:cxn ang="0">
                <a:pos x="592" y="635"/>
              </a:cxn>
              <a:cxn ang="0">
                <a:pos x="758" y="534"/>
              </a:cxn>
              <a:cxn ang="0">
                <a:pos x="776" y="535"/>
              </a:cxn>
              <a:cxn ang="0">
                <a:pos x="811" y="533"/>
              </a:cxn>
              <a:cxn ang="0">
                <a:pos x="844" y="535"/>
              </a:cxn>
              <a:cxn ang="0">
                <a:pos x="1088" y="388"/>
              </a:cxn>
              <a:cxn ang="0">
                <a:pos x="869" y="243"/>
              </a:cxn>
              <a:cxn ang="0">
                <a:pos x="250" y="141"/>
              </a:cxn>
              <a:cxn ang="0">
                <a:pos x="278" y="113"/>
              </a:cxn>
              <a:cxn ang="0">
                <a:pos x="250" y="84"/>
              </a:cxn>
              <a:cxn ang="0">
                <a:pos x="221" y="113"/>
              </a:cxn>
              <a:cxn ang="0">
                <a:pos x="250" y="141"/>
              </a:cxn>
            </a:cxnLst>
            <a:rect l="0" t="0" r="r" b="b"/>
            <a:pathLst>
              <a:path w="1088" h="635">
                <a:moveTo>
                  <a:pt x="869" y="243"/>
                </a:moveTo>
                <a:cubicBezTo>
                  <a:pt x="848" y="189"/>
                  <a:pt x="797" y="150"/>
                  <a:pt x="737" y="147"/>
                </a:cubicBezTo>
                <a:cubicBezTo>
                  <a:pt x="736" y="66"/>
                  <a:pt x="670" y="0"/>
                  <a:pt x="588" y="0"/>
                </a:cubicBezTo>
                <a:cubicBezTo>
                  <a:pt x="528" y="0"/>
                  <a:pt x="477" y="36"/>
                  <a:pt x="453" y="87"/>
                </a:cubicBezTo>
                <a:cubicBezTo>
                  <a:pt x="426" y="72"/>
                  <a:pt x="394" y="64"/>
                  <a:pt x="361" y="64"/>
                </a:cubicBezTo>
                <a:cubicBezTo>
                  <a:pt x="342" y="64"/>
                  <a:pt x="323" y="67"/>
                  <a:pt x="305" y="72"/>
                </a:cubicBezTo>
                <a:cubicBezTo>
                  <a:pt x="314" y="84"/>
                  <a:pt x="320" y="99"/>
                  <a:pt x="320" y="115"/>
                </a:cubicBezTo>
                <a:cubicBezTo>
                  <a:pt x="320" y="154"/>
                  <a:pt x="288" y="185"/>
                  <a:pt x="250" y="185"/>
                </a:cubicBezTo>
                <a:cubicBezTo>
                  <a:pt x="228" y="185"/>
                  <a:pt x="208" y="175"/>
                  <a:pt x="195" y="159"/>
                </a:cubicBezTo>
                <a:cubicBezTo>
                  <a:pt x="178" y="187"/>
                  <a:pt x="168" y="221"/>
                  <a:pt x="168" y="257"/>
                </a:cubicBezTo>
                <a:cubicBezTo>
                  <a:pt x="168" y="263"/>
                  <a:pt x="169" y="270"/>
                  <a:pt x="170" y="277"/>
                </a:cubicBezTo>
                <a:cubicBezTo>
                  <a:pt x="71" y="300"/>
                  <a:pt x="0" y="357"/>
                  <a:pt x="0" y="424"/>
                </a:cubicBezTo>
                <a:cubicBezTo>
                  <a:pt x="0" y="511"/>
                  <a:pt x="118" y="581"/>
                  <a:pt x="264" y="581"/>
                </a:cubicBezTo>
                <a:cubicBezTo>
                  <a:pt x="327" y="581"/>
                  <a:pt x="385" y="568"/>
                  <a:pt x="431" y="545"/>
                </a:cubicBezTo>
                <a:cubicBezTo>
                  <a:pt x="460" y="598"/>
                  <a:pt x="521" y="635"/>
                  <a:pt x="592" y="635"/>
                </a:cubicBezTo>
                <a:cubicBezTo>
                  <a:pt x="667" y="635"/>
                  <a:pt x="732" y="593"/>
                  <a:pt x="758" y="534"/>
                </a:cubicBezTo>
                <a:cubicBezTo>
                  <a:pt x="764" y="535"/>
                  <a:pt x="770" y="535"/>
                  <a:pt x="776" y="535"/>
                </a:cubicBezTo>
                <a:cubicBezTo>
                  <a:pt x="788" y="535"/>
                  <a:pt x="800" y="534"/>
                  <a:pt x="811" y="533"/>
                </a:cubicBezTo>
                <a:cubicBezTo>
                  <a:pt x="822" y="534"/>
                  <a:pt x="833" y="535"/>
                  <a:pt x="844" y="535"/>
                </a:cubicBezTo>
                <a:cubicBezTo>
                  <a:pt x="979" y="535"/>
                  <a:pt x="1088" y="469"/>
                  <a:pt x="1088" y="388"/>
                </a:cubicBezTo>
                <a:cubicBezTo>
                  <a:pt x="1088" y="312"/>
                  <a:pt x="992" y="250"/>
                  <a:pt x="869" y="243"/>
                </a:cubicBezTo>
                <a:close/>
                <a:moveTo>
                  <a:pt x="250" y="141"/>
                </a:moveTo>
                <a:cubicBezTo>
                  <a:pt x="266" y="141"/>
                  <a:pt x="278" y="129"/>
                  <a:pt x="278" y="113"/>
                </a:cubicBezTo>
                <a:cubicBezTo>
                  <a:pt x="278" y="97"/>
                  <a:pt x="266" y="84"/>
                  <a:pt x="250" y="84"/>
                </a:cubicBezTo>
                <a:cubicBezTo>
                  <a:pt x="234" y="84"/>
                  <a:pt x="221" y="97"/>
                  <a:pt x="221" y="113"/>
                </a:cubicBezTo>
                <a:cubicBezTo>
                  <a:pt x="221" y="129"/>
                  <a:pt x="234" y="141"/>
                  <a:pt x="250" y="141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3567967" y="1195227"/>
            <a:ext cx="1980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CONNECT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3" name="Oval 79"/>
          <p:cNvSpPr/>
          <p:nvPr/>
        </p:nvSpPr>
        <p:spPr>
          <a:xfrm>
            <a:off x="898423" y="2466254"/>
            <a:ext cx="916401" cy="890193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4" name="Group 69"/>
          <p:cNvGrpSpPr/>
          <p:nvPr/>
        </p:nvGrpSpPr>
        <p:grpSpPr>
          <a:xfrm>
            <a:off x="1151291" y="2552320"/>
            <a:ext cx="415897" cy="689431"/>
            <a:chOff x="0" y="0"/>
            <a:chExt cx="847666" cy="1429440"/>
          </a:xfrm>
        </p:grpSpPr>
        <p:sp>
          <p:nvSpPr>
            <p:cNvPr id="15" name="Freeform 59"/>
            <p:cNvSpPr/>
            <p:nvPr/>
          </p:nvSpPr>
          <p:spPr>
            <a:xfrm>
              <a:off x="95962" y="0"/>
              <a:ext cx="645080" cy="6237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16835" y="21600"/>
                    <a:pt x="21600" y="16764"/>
                    <a:pt x="21600" y="10961"/>
                  </a:cubicBezTo>
                  <a:cubicBezTo>
                    <a:pt x="21600" y="4836"/>
                    <a:pt x="16835" y="0"/>
                    <a:pt x="10800" y="0"/>
                  </a:cubicBezTo>
                  <a:cubicBezTo>
                    <a:pt x="5082" y="0"/>
                    <a:pt x="0" y="4836"/>
                    <a:pt x="0" y="10961"/>
                  </a:cubicBezTo>
                  <a:cubicBezTo>
                    <a:pt x="0" y="16764"/>
                    <a:pt x="5082" y="21600"/>
                    <a:pt x="10800" y="21600"/>
                  </a:cubicBezTo>
                  <a:close/>
                  <a:moveTo>
                    <a:pt x="4447" y="10961"/>
                  </a:moveTo>
                  <a:cubicBezTo>
                    <a:pt x="5082" y="10961"/>
                    <a:pt x="5718" y="11284"/>
                    <a:pt x="5718" y="11928"/>
                  </a:cubicBezTo>
                  <a:cubicBezTo>
                    <a:pt x="6035" y="13863"/>
                    <a:pt x="9212" y="14830"/>
                    <a:pt x="11118" y="14830"/>
                  </a:cubicBezTo>
                  <a:cubicBezTo>
                    <a:pt x="13024" y="14830"/>
                    <a:pt x="15882" y="13863"/>
                    <a:pt x="16200" y="11928"/>
                  </a:cubicBezTo>
                  <a:cubicBezTo>
                    <a:pt x="16518" y="11284"/>
                    <a:pt x="16835" y="10961"/>
                    <a:pt x="17471" y="10961"/>
                  </a:cubicBezTo>
                  <a:cubicBezTo>
                    <a:pt x="18106" y="10961"/>
                    <a:pt x="18424" y="11606"/>
                    <a:pt x="18424" y="12251"/>
                  </a:cubicBezTo>
                  <a:cubicBezTo>
                    <a:pt x="17788" y="15475"/>
                    <a:pt x="13659" y="17087"/>
                    <a:pt x="11118" y="17087"/>
                  </a:cubicBezTo>
                  <a:cubicBezTo>
                    <a:pt x="8259" y="17087"/>
                    <a:pt x="4129" y="15475"/>
                    <a:pt x="3812" y="12251"/>
                  </a:cubicBezTo>
                  <a:cubicBezTo>
                    <a:pt x="3494" y="11606"/>
                    <a:pt x="4129" y="10961"/>
                    <a:pt x="4447" y="109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6" name="Freeform 60"/>
            <p:cNvSpPr/>
            <p:nvPr/>
          </p:nvSpPr>
          <p:spPr>
            <a:xfrm>
              <a:off x="28867" y="730081"/>
              <a:ext cx="171508" cy="17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54" h="19854" extrusionOk="0">
                  <a:moveTo>
                    <a:pt x="7767" y="19647"/>
                  </a:moveTo>
                  <a:cubicBezTo>
                    <a:pt x="12087" y="20727"/>
                    <a:pt x="17487" y="17487"/>
                    <a:pt x="19647" y="12087"/>
                  </a:cubicBezTo>
                  <a:cubicBezTo>
                    <a:pt x="20727" y="6687"/>
                    <a:pt x="17487" y="1287"/>
                    <a:pt x="12087" y="207"/>
                  </a:cubicBezTo>
                  <a:cubicBezTo>
                    <a:pt x="6687" y="-873"/>
                    <a:pt x="1287" y="2367"/>
                    <a:pt x="207" y="7767"/>
                  </a:cubicBezTo>
                  <a:cubicBezTo>
                    <a:pt x="-873" y="13167"/>
                    <a:pt x="2367" y="18567"/>
                    <a:pt x="7767" y="1964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7" name="Freeform 61"/>
            <p:cNvSpPr/>
            <p:nvPr/>
          </p:nvSpPr>
          <p:spPr>
            <a:xfrm>
              <a:off x="-1" y="712121"/>
              <a:ext cx="847668" cy="7173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46" y="561"/>
                  </a:moveTo>
                  <a:cubicBezTo>
                    <a:pt x="16746" y="561"/>
                    <a:pt x="16746" y="561"/>
                    <a:pt x="16746" y="561"/>
                  </a:cubicBezTo>
                  <a:cubicBezTo>
                    <a:pt x="16503" y="281"/>
                    <a:pt x="16261" y="281"/>
                    <a:pt x="16018" y="281"/>
                  </a:cubicBezTo>
                  <a:cubicBezTo>
                    <a:pt x="16018" y="281"/>
                    <a:pt x="15775" y="281"/>
                    <a:pt x="15775" y="281"/>
                  </a:cubicBezTo>
                  <a:cubicBezTo>
                    <a:pt x="15533" y="0"/>
                    <a:pt x="15290" y="0"/>
                    <a:pt x="15047" y="0"/>
                  </a:cubicBezTo>
                  <a:cubicBezTo>
                    <a:pt x="15047" y="0"/>
                    <a:pt x="15047" y="0"/>
                    <a:pt x="14804" y="0"/>
                  </a:cubicBezTo>
                  <a:cubicBezTo>
                    <a:pt x="14562" y="0"/>
                    <a:pt x="14319" y="0"/>
                    <a:pt x="14076" y="0"/>
                  </a:cubicBezTo>
                  <a:cubicBezTo>
                    <a:pt x="7766" y="0"/>
                    <a:pt x="7766" y="0"/>
                    <a:pt x="7766" y="0"/>
                  </a:cubicBezTo>
                  <a:cubicBezTo>
                    <a:pt x="8494" y="1403"/>
                    <a:pt x="8980" y="3086"/>
                    <a:pt x="8494" y="5049"/>
                  </a:cubicBezTo>
                  <a:cubicBezTo>
                    <a:pt x="7766" y="8696"/>
                    <a:pt x="4611" y="10940"/>
                    <a:pt x="1456" y="10099"/>
                  </a:cubicBezTo>
                  <a:cubicBezTo>
                    <a:pt x="971" y="9818"/>
                    <a:pt x="485" y="9538"/>
                    <a:pt x="0" y="9257"/>
                  </a:cubicBezTo>
                  <a:cubicBezTo>
                    <a:pt x="0" y="12343"/>
                    <a:pt x="0" y="12343"/>
                    <a:pt x="0" y="12343"/>
                  </a:cubicBezTo>
                  <a:cubicBezTo>
                    <a:pt x="0" y="19075"/>
                    <a:pt x="0" y="19075"/>
                    <a:pt x="0" y="19075"/>
                  </a:cubicBezTo>
                  <a:cubicBezTo>
                    <a:pt x="0" y="20478"/>
                    <a:pt x="1213" y="21600"/>
                    <a:pt x="2670" y="21600"/>
                  </a:cubicBezTo>
                  <a:cubicBezTo>
                    <a:pt x="18930" y="21600"/>
                    <a:pt x="18930" y="21600"/>
                    <a:pt x="18930" y="21600"/>
                  </a:cubicBezTo>
                  <a:cubicBezTo>
                    <a:pt x="20387" y="21600"/>
                    <a:pt x="21600" y="20478"/>
                    <a:pt x="21600" y="19075"/>
                  </a:cubicBezTo>
                  <a:cubicBezTo>
                    <a:pt x="21600" y="8696"/>
                    <a:pt x="21600" y="8696"/>
                    <a:pt x="21600" y="8696"/>
                  </a:cubicBezTo>
                  <a:cubicBezTo>
                    <a:pt x="21600" y="5049"/>
                    <a:pt x="19658" y="1964"/>
                    <a:pt x="16746" y="5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8" name="ZoneTexte 17"/>
          <p:cNvSpPr txBox="1"/>
          <p:nvPr/>
        </p:nvSpPr>
        <p:spPr>
          <a:xfrm>
            <a:off x="309329" y="3428574"/>
            <a:ext cx="21214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MASTERING RAINBOW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9" name="Titre 15"/>
          <p:cNvSpPr txBox="1">
            <a:spLocks/>
          </p:cNvSpPr>
          <p:nvPr/>
        </p:nvSpPr>
        <p:spPr>
          <a:xfrm>
            <a:off x="367232" y="3826577"/>
            <a:ext cx="2426000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Learning key concepts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40" name="Oval 79"/>
          <p:cNvSpPr/>
          <p:nvPr/>
        </p:nvSpPr>
        <p:spPr>
          <a:xfrm>
            <a:off x="4126499" y="2468174"/>
            <a:ext cx="916401" cy="89019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5" name="Freeform 6"/>
          <p:cNvSpPr/>
          <p:nvPr/>
        </p:nvSpPr>
        <p:spPr>
          <a:xfrm>
            <a:off x="4241419" y="2569360"/>
            <a:ext cx="703494" cy="686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5" h="21153" extrusionOk="0">
                <a:moveTo>
                  <a:pt x="20206" y="10311"/>
                </a:moveTo>
                <a:cubicBezTo>
                  <a:pt x="19413" y="10081"/>
                  <a:pt x="18565" y="10512"/>
                  <a:pt x="18237" y="11288"/>
                </a:cubicBezTo>
                <a:cubicBezTo>
                  <a:pt x="15858" y="10656"/>
                  <a:pt x="15858" y="10656"/>
                  <a:pt x="15858" y="10656"/>
                </a:cubicBezTo>
                <a:cubicBezTo>
                  <a:pt x="15913" y="10368"/>
                  <a:pt x="15940" y="10081"/>
                  <a:pt x="15940" y="9794"/>
                </a:cubicBezTo>
                <a:cubicBezTo>
                  <a:pt x="15940" y="7554"/>
                  <a:pt x="14546" y="5629"/>
                  <a:pt x="12605" y="4940"/>
                </a:cubicBezTo>
                <a:cubicBezTo>
                  <a:pt x="13206" y="3130"/>
                  <a:pt x="13206" y="3130"/>
                  <a:pt x="13206" y="3130"/>
                </a:cubicBezTo>
                <a:cubicBezTo>
                  <a:pt x="13944" y="3245"/>
                  <a:pt x="14655" y="2786"/>
                  <a:pt x="14874" y="2010"/>
                </a:cubicBezTo>
                <a:cubicBezTo>
                  <a:pt x="15093" y="1177"/>
                  <a:pt x="14628" y="287"/>
                  <a:pt x="13835" y="57"/>
                </a:cubicBezTo>
                <a:cubicBezTo>
                  <a:pt x="13042" y="-173"/>
                  <a:pt x="12194" y="315"/>
                  <a:pt x="11976" y="1148"/>
                </a:cubicBezTo>
                <a:cubicBezTo>
                  <a:pt x="11784" y="1866"/>
                  <a:pt x="12085" y="2613"/>
                  <a:pt x="12687" y="2958"/>
                </a:cubicBezTo>
                <a:cubicBezTo>
                  <a:pt x="12085" y="4796"/>
                  <a:pt x="12085" y="4796"/>
                  <a:pt x="12085" y="4796"/>
                </a:cubicBezTo>
                <a:cubicBezTo>
                  <a:pt x="11757" y="4739"/>
                  <a:pt x="11429" y="4681"/>
                  <a:pt x="11073" y="4681"/>
                </a:cubicBezTo>
                <a:cubicBezTo>
                  <a:pt x="10745" y="4681"/>
                  <a:pt x="10445" y="4710"/>
                  <a:pt x="10144" y="4767"/>
                </a:cubicBezTo>
                <a:cubicBezTo>
                  <a:pt x="10226" y="5026"/>
                  <a:pt x="10281" y="5284"/>
                  <a:pt x="10281" y="5572"/>
                </a:cubicBezTo>
                <a:cubicBezTo>
                  <a:pt x="10281" y="6692"/>
                  <a:pt x="9406" y="7611"/>
                  <a:pt x="8339" y="7611"/>
                </a:cubicBezTo>
                <a:cubicBezTo>
                  <a:pt x="7820" y="7611"/>
                  <a:pt x="7328" y="7381"/>
                  <a:pt x="6972" y="7037"/>
                </a:cubicBezTo>
                <a:cubicBezTo>
                  <a:pt x="6808" y="7295"/>
                  <a:pt x="6699" y="7554"/>
                  <a:pt x="6589" y="7841"/>
                </a:cubicBezTo>
                <a:cubicBezTo>
                  <a:pt x="4894" y="7266"/>
                  <a:pt x="4894" y="7266"/>
                  <a:pt x="4894" y="7266"/>
                </a:cubicBezTo>
                <a:cubicBezTo>
                  <a:pt x="4949" y="7094"/>
                  <a:pt x="4949" y="6922"/>
                  <a:pt x="4949" y="6721"/>
                </a:cubicBezTo>
                <a:cubicBezTo>
                  <a:pt x="4949" y="5284"/>
                  <a:pt x="3855" y="4136"/>
                  <a:pt x="2488" y="4136"/>
                </a:cubicBezTo>
                <a:cubicBezTo>
                  <a:pt x="1121" y="4136"/>
                  <a:pt x="0" y="5284"/>
                  <a:pt x="0" y="6721"/>
                </a:cubicBezTo>
                <a:cubicBezTo>
                  <a:pt x="0" y="8186"/>
                  <a:pt x="1121" y="9334"/>
                  <a:pt x="2488" y="9334"/>
                </a:cubicBezTo>
                <a:cubicBezTo>
                  <a:pt x="3472" y="9334"/>
                  <a:pt x="4320" y="8703"/>
                  <a:pt x="4730" y="7812"/>
                </a:cubicBezTo>
                <a:cubicBezTo>
                  <a:pt x="6398" y="8387"/>
                  <a:pt x="6398" y="8387"/>
                  <a:pt x="6398" y="8387"/>
                </a:cubicBezTo>
                <a:cubicBezTo>
                  <a:pt x="6261" y="8846"/>
                  <a:pt x="6207" y="9306"/>
                  <a:pt x="6207" y="9794"/>
                </a:cubicBezTo>
                <a:cubicBezTo>
                  <a:pt x="6207" y="10570"/>
                  <a:pt x="6371" y="11316"/>
                  <a:pt x="6671" y="11977"/>
                </a:cubicBezTo>
                <a:cubicBezTo>
                  <a:pt x="4074" y="13729"/>
                  <a:pt x="4074" y="13729"/>
                  <a:pt x="4074" y="13729"/>
                </a:cubicBezTo>
                <a:cubicBezTo>
                  <a:pt x="3965" y="13614"/>
                  <a:pt x="3828" y="13528"/>
                  <a:pt x="3664" y="13471"/>
                </a:cubicBezTo>
                <a:cubicBezTo>
                  <a:pt x="3117" y="13298"/>
                  <a:pt x="2543" y="13643"/>
                  <a:pt x="2379" y="14217"/>
                </a:cubicBezTo>
                <a:cubicBezTo>
                  <a:pt x="2215" y="14792"/>
                  <a:pt x="2543" y="15395"/>
                  <a:pt x="3090" y="15567"/>
                </a:cubicBezTo>
                <a:cubicBezTo>
                  <a:pt x="3636" y="15740"/>
                  <a:pt x="4211" y="15395"/>
                  <a:pt x="4375" y="14821"/>
                </a:cubicBezTo>
                <a:cubicBezTo>
                  <a:pt x="4429" y="14620"/>
                  <a:pt x="4402" y="14390"/>
                  <a:pt x="4347" y="14189"/>
                </a:cubicBezTo>
                <a:cubicBezTo>
                  <a:pt x="6945" y="12494"/>
                  <a:pt x="6945" y="12494"/>
                  <a:pt x="6945" y="12494"/>
                </a:cubicBezTo>
                <a:cubicBezTo>
                  <a:pt x="7710" y="13787"/>
                  <a:pt x="8995" y="14677"/>
                  <a:pt x="10472" y="14849"/>
                </a:cubicBezTo>
                <a:cubicBezTo>
                  <a:pt x="10445" y="17262"/>
                  <a:pt x="10445" y="17262"/>
                  <a:pt x="10445" y="17262"/>
                </a:cubicBezTo>
                <a:cubicBezTo>
                  <a:pt x="10253" y="17291"/>
                  <a:pt x="10062" y="17348"/>
                  <a:pt x="9870" y="17463"/>
                </a:cubicBezTo>
                <a:cubicBezTo>
                  <a:pt x="8941" y="17951"/>
                  <a:pt x="8585" y="19129"/>
                  <a:pt x="9050" y="20106"/>
                </a:cubicBezTo>
                <a:cubicBezTo>
                  <a:pt x="9515" y="21054"/>
                  <a:pt x="10663" y="21427"/>
                  <a:pt x="11566" y="20939"/>
                </a:cubicBezTo>
                <a:cubicBezTo>
                  <a:pt x="12495" y="20450"/>
                  <a:pt x="12851" y="19273"/>
                  <a:pt x="12386" y="18296"/>
                </a:cubicBezTo>
                <a:cubicBezTo>
                  <a:pt x="12085" y="17722"/>
                  <a:pt x="11566" y="17348"/>
                  <a:pt x="10991" y="17262"/>
                </a:cubicBezTo>
                <a:cubicBezTo>
                  <a:pt x="11019" y="14907"/>
                  <a:pt x="11019" y="14907"/>
                  <a:pt x="11019" y="14907"/>
                </a:cubicBezTo>
                <a:cubicBezTo>
                  <a:pt x="11046" y="14907"/>
                  <a:pt x="11046" y="14907"/>
                  <a:pt x="11073" y="14907"/>
                </a:cubicBezTo>
                <a:cubicBezTo>
                  <a:pt x="13288" y="14907"/>
                  <a:pt x="15147" y="13356"/>
                  <a:pt x="15749" y="11201"/>
                </a:cubicBezTo>
                <a:cubicBezTo>
                  <a:pt x="18100" y="11833"/>
                  <a:pt x="18100" y="11833"/>
                  <a:pt x="18100" y="11833"/>
                </a:cubicBezTo>
                <a:cubicBezTo>
                  <a:pt x="18046" y="12666"/>
                  <a:pt x="18538" y="13442"/>
                  <a:pt x="19303" y="13672"/>
                </a:cubicBezTo>
                <a:cubicBezTo>
                  <a:pt x="20178" y="13930"/>
                  <a:pt x="21108" y="13384"/>
                  <a:pt x="21354" y="12465"/>
                </a:cubicBezTo>
                <a:cubicBezTo>
                  <a:pt x="21600" y="11546"/>
                  <a:pt x="21081" y="10570"/>
                  <a:pt x="20206" y="10311"/>
                </a:cubicBezTo>
                <a:close/>
                <a:moveTo>
                  <a:pt x="10308" y="13126"/>
                </a:moveTo>
                <a:cubicBezTo>
                  <a:pt x="8148" y="9536"/>
                  <a:pt x="8148" y="9536"/>
                  <a:pt x="8148" y="9536"/>
                </a:cubicBezTo>
                <a:cubicBezTo>
                  <a:pt x="9378" y="9536"/>
                  <a:pt x="9378" y="9536"/>
                  <a:pt x="9378" y="9536"/>
                </a:cubicBezTo>
                <a:cubicBezTo>
                  <a:pt x="10198" y="11230"/>
                  <a:pt x="10198" y="11230"/>
                  <a:pt x="10198" y="11230"/>
                </a:cubicBezTo>
                <a:cubicBezTo>
                  <a:pt x="10226" y="11230"/>
                  <a:pt x="10226" y="11230"/>
                  <a:pt x="10226" y="11230"/>
                </a:cubicBezTo>
                <a:cubicBezTo>
                  <a:pt x="12605" y="7381"/>
                  <a:pt x="12605" y="7381"/>
                  <a:pt x="12605" y="7381"/>
                </a:cubicBezTo>
                <a:cubicBezTo>
                  <a:pt x="13808" y="7381"/>
                  <a:pt x="13808" y="7381"/>
                  <a:pt x="13808" y="7381"/>
                </a:cubicBezTo>
                <a:lnTo>
                  <a:pt x="10308" y="13126"/>
                </a:ln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t">
            <a:noAutofit/>
          </a:bodyPr>
          <a:lstStyle/>
          <a:p>
            <a:pPr>
              <a:defRPr sz="3600" b="1"/>
            </a:pPr>
            <a:endParaRPr sz="1350"/>
          </a:p>
        </p:txBody>
      </p:sp>
      <p:sp>
        <p:nvSpPr>
          <p:cNvPr id="48" name="Titre 15"/>
          <p:cNvSpPr txBox="1">
            <a:spLocks/>
          </p:cNvSpPr>
          <p:nvPr/>
        </p:nvSpPr>
        <p:spPr>
          <a:xfrm>
            <a:off x="3585052" y="3826577"/>
            <a:ext cx="1890297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Create and describe it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0" name="Titre 15"/>
          <p:cNvSpPr txBox="1">
            <a:spLocks/>
          </p:cNvSpPr>
          <p:nvPr/>
        </p:nvSpPr>
        <p:spPr>
          <a:xfrm>
            <a:off x="3585051" y="4213054"/>
            <a:ext cx="2035469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Get the application key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3447586" y="3444290"/>
            <a:ext cx="2291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REGISTER AN APPLICATION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3" name="Oval 79"/>
          <p:cNvSpPr/>
          <p:nvPr/>
        </p:nvSpPr>
        <p:spPr>
          <a:xfrm>
            <a:off x="6989707" y="2500825"/>
            <a:ext cx="916401" cy="890193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4" name="Freeform 22"/>
          <p:cNvSpPr/>
          <p:nvPr/>
        </p:nvSpPr>
        <p:spPr>
          <a:xfrm>
            <a:off x="7196750" y="2663994"/>
            <a:ext cx="502314" cy="463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50" y="7706"/>
                </a:moveTo>
                <a:cubicBezTo>
                  <a:pt x="20688" y="7706"/>
                  <a:pt x="20559" y="7843"/>
                  <a:pt x="20430" y="7979"/>
                </a:cubicBezTo>
                <a:cubicBezTo>
                  <a:pt x="13921" y="7156"/>
                  <a:pt x="13921" y="7156"/>
                  <a:pt x="13921" y="7156"/>
                </a:cubicBezTo>
                <a:cubicBezTo>
                  <a:pt x="11060" y="1101"/>
                  <a:pt x="11060" y="1101"/>
                  <a:pt x="11060" y="1101"/>
                </a:cubicBezTo>
                <a:cubicBezTo>
                  <a:pt x="11060" y="960"/>
                  <a:pt x="11189" y="823"/>
                  <a:pt x="11189" y="687"/>
                </a:cubicBezTo>
                <a:cubicBezTo>
                  <a:pt x="11189" y="273"/>
                  <a:pt x="10927" y="0"/>
                  <a:pt x="10673" y="0"/>
                </a:cubicBezTo>
                <a:cubicBezTo>
                  <a:pt x="10282" y="0"/>
                  <a:pt x="10023" y="273"/>
                  <a:pt x="10023" y="550"/>
                </a:cubicBezTo>
                <a:cubicBezTo>
                  <a:pt x="10023" y="823"/>
                  <a:pt x="10152" y="960"/>
                  <a:pt x="10282" y="1101"/>
                </a:cubicBezTo>
                <a:cubicBezTo>
                  <a:pt x="9240" y="3439"/>
                  <a:pt x="9240" y="3439"/>
                  <a:pt x="9240" y="3439"/>
                </a:cubicBezTo>
                <a:cubicBezTo>
                  <a:pt x="9761" y="4404"/>
                  <a:pt x="9890" y="5505"/>
                  <a:pt x="9370" y="6601"/>
                </a:cubicBezTo>
                <a:cubicBezTo>
                  <a:pt x="8720" y="8257"/>
                  <a:pt x="6767" y="8944"/>
                  <a:pt x="5205" y="8257"/>
                </a:cubicBezTo>
                <a:cubicBezTo>
                  <a:pt x="4947" y="8116"/>
                  <a:pt x="4685" y="7979"/>
                  <a:pt x="4427" y="7706"/>
                </a:cubicBezTo>
                <a:cubicBezTo>
                  <a:pt x="1174" y="8257"/>
                  <a:pt x="1174" y="8257"/>
                  <a:pt x="1174" y="8257"/>
                </a:cubicBezTo>
                <a:cubicBezTo>
                  <a:pt x="1174" y="7979"/>
                  <a:pt x="912" y="7843"/>
                  <a:pt x="654" y="7706"/>
                </a:cubicBezTo>
                <a:cubicBezTo>
                  <a:pt x="391" y="7706"/>
                  <a:pt x="133" y="7979"/>
                  <a:pt x="0" y="8393"/>
                </a:cubicBezTo>
                <a:cubicBezTo>
                  <a:pt x="0" y="8666"/>
                  <a:pt x="262" y="9080"/>
                  <a:pt x="654" y="9080"/>
                </a:cubicBezTo>
                <a:cubicBezTo>
                  <a:pt x="783" y="9080"/>
                  <a:pt x="912" y="8944"/>
                  <a:pt x="912" y="8944"/>
                </a:cubicBezTo>
                <a:cubicBezTo>
                  <a:pt x="5597" y="13616"/>
                  <a:pt x="5597" y="13616"/>
                  <a:pt x="5597" y="13616"/>
                </a:cubicBezTo>
                <a:cubicBezTo>
                  <a:pt x="4556" y="20363"/>
                  <a:pt x="4556" y="20363"/>
                  <a:pt x="4556" y="20363"/>
                </a:cubicBezTo>
                <a:cubicBezTo>
                  <a:pt x="4298" y="20363"/>
                  <a:pt x="4035" y="20636"/>
                  <a:pt x="3906" y="20913"/>
                </a:cubicBezTo>
                <a:cubicBezTo>
                  <a:pt x="3906" y="21323"/>
                  <a:pt x="4164" y="21600"/>
                  <a:pt x="4556" y="21600"/>
                </a:cubicBezTo>
                <a:cubicBezTo>
                  <a:pt x="4818" y="21600"/>
                  <a:pt x="5076" y="21323"/>
                  <a:pt x="5205" y="20913"/>
                </a:cubicBezTo>
                <a:cubicBezTo>
                  <a:pt x="5205" y="20913"/>
                  <a:pt x="5205" y="20772"/>
                  <a:pt x="5076" y="20772"/>
                </a:cubicBezTo>
                <a:cubicBezTo>
                  <a:pt x="10802" y="17469"/>
                  <a:pt x="10802" y="17469"/>
                  <a:pt x="10802" y="17469"/>
                </a:cubicBezTo>
                <a:cubicBezTo>
                  <a:pt x="16653" y="20636"/>
                  <a:pt x="16653" y="20636"/>
                  <a:pt x="16653" y="20636"/>
                </a:cubicBezTo>
                <a:cubicBezTo>
                  <a:pt x="16653" y="20772"/>
                  <a:pt x="16653" y="20772"/>
                  <a:pt x="16653" y="20913"/>
                </a:cubicBezTo>
                <a:cubicBezTo>
                  <a:pt x="16653" y="21186"/>
                  <a:pt x="16915" y="21600"/>
                  <a:pt x="17173" y="21600"/>
                </a:cubicBezTo>
                <a:cubicBezTo>
                  <a:pt x="17565" y="21600"/>
                  <a:pt x="17827" y="21323"/>
                  <a:pt x="17827" y="20913"/>
                </a:cubicBezTo>
                <a:cubicBezTo>
                  <a:pt x="17827" y="20636"/>
                  <a:pt x="17565" y="20363"/>
                  <a:pt x="17307" y="20363"/>
                </a:cubicBezTo>
                <a:cubicBezTo>
                  <a:pt x="17173" y="20363"/>
                  <a:pt x="17173" y="20363"/>
                  <a:pt x="17044" y="20363"/>
                </a:cubicBezTo>
                <a:cubicBezTo>
                  <a:pt x="15874" y="13480"/>
                  <a:pt x="15874" y="13480"/>
                  <a:pt x="15874" y="13480"/>
                </a:cubicBezTo>
                <a:cubicBezTo>
                  <a:pt x="20430" y="8666"/>
                  <a:pt x="20430" y="8666"/>
                  <a:pt x="20430" y="8666"/>
                </a:cubicBezTo>
                <a:cubicBezTo>
                  <a:pt x="20559" y="8807"/>
                  <a:pt x="20688" y="8944"/>
                  <a:pt x="20950" y="8944"/>
                </a:cubicBezTo>
                <a:cubicBezTo>
                  <a:pt x="21209" y="8944"/>
                  <a:pt x="21471" y="8666"/>
                  <a:pt x="21600" y="8257"/>
                </a:cubicBezTo>
                <a:cubicBezTo>
                  <a:pt x="21600" y="7979"/>
                  <a:pt x="21338" y="7706"/>
                  <a:pt x="20950" y="7706"/>
                </a:cubicBezTo>
              </a:path>
            </a:pathLst>
          </a:custGeom>
          <a:solidFill>
            <a:srgbClr val="FFFFFF">
              <a:alpha val="85000"/>
            </a:srgbClr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ctr">
            <a:normAutofit/>
          </a:bodyPr>
          <a:lstStyle/>
          <a:p>
            <a:pPr>
              <a:spcBef>
                <a:spcPts val="0"/>
              </a:spcBef>
              <a:defRPr sz="4000">
                <a:latin typeface="Arial"/>
                <a:ea typeface="Arial"/>
                <a:cs typeface="Arial"/>
                <a:sym typeface="Arial"/>
              </a:defRPr>
            </a:pPr>
            <a:endParaRPr sz="1500"/>
          </a:p>
        </p:txBody>
      </p:sp>
      <p:sp>
        <p:nvSpPr>
          <p:cNvPr id="74" name="Straight Connector 112"/>
          <p:cNvSpPr/>
          <p:nvPr/>
        </p:nvSpPr>
        <p:spPr>
          <a:xfrm flipV="1">
            <a:off x="1764178" y="1546979"/>
            <a:ext cx="1732589" cy="1117015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5" name="Straight Connector 112"/>
          <p:cNvSpPr/>
          <p:nvPr/>
        </p:nvSpPr>
        <p:spPr>
          <a:xfrm flipH="1" flipV="1">
            <a:off x="4554702" y="1732163"/>
            <a:ext cx="6673" cy="681696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6" name="Straight Connector 112"/>
          <p:cNvSpPr/>
          <p:nvPr/>
        </p:nvSpPr>
        <p:spPr>
          <a:xfrm flipH="1" flipV="1">
            <a:off x="5560033" y="1527696"/>
            <a:ext cx="1534910" cy="1001489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cxnSp>
        <p:nvCxnSpPr>
          <p:cNvPr id="71" name="Connecteur droit 70"/>
          <p:cNvCxnSpPr/>
          <p:nvPr/>
        </p:nvCxnSpPr>
        <p:spPr bwMode="auto">
          <a:xfrm flipV="1">
            <a:off x="447188" y="3761958"/>
            <a:ext cx="1868847" cy="8624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2" name="Connecteur droit 71"/>
          <p:cNvCxnSpPr/>
          <p:nvPr/>
        </p:nvCxnSpPr>
        <p:spPr bwMode="auto">
          <a:xfrm>
            <a:off x="3676287" y="3778753"/>
            <a:ext cx="1799063" cy="0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33" name="Group 12"/>
          <p:cNvGrpSpPr/>
          <p:nvPr/>
        </p:nvGrpSpPr>
        <p:grpSpPr>
          <a:xfrm>
            <a:off x="4241419" y="559381"/>
            <a:ext cx="576232" cy="576232"/>
            <a:chOff x="4871871" y="2527436"/>
            <a:chExt cx="576232" cy="576232"/>
          </a:xfrm>
        </p:grpSpPr>
        <p:sp>
          <p:nvSpPr>
            <p:cNvPr id="34" name="Oval 28"/>
            <p:cNvSpPr/>
            <p:nvPr/>
          </p:nvSpPr>
          <p:spPr>
            <a:xfrm>
              <a:off x="4871871" y="2527436"/>
              <a:ext cx="576232" cy="576232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5" name="Oval 29"/>
            <p:cNvSpPr/>
            <p:nvPr/>
          </p:nvSpPr>
          <p:spPr>
            <a:xfrm>
              <a:off x="4935302" y="2590867"/>
              <a:ext cx="448718" cy="448718"/>
            </a:xfrm>
            <a:prstGeom prst="ellipse">
              <a:avLst/>
            </a:prstGeom>
            <a:solidFill>
              <a:schemeClr val="accent3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6" name="TextBox 30"/>
            <p:cNvSpPr txBox="1"/>
            <p:nvPr/>
          </p:nvSpPr>
          <p:spPr>
            <a:xfrm>
              <a:off x="4887542" y="260729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3</a:t>
              </a:r>
            </a:p>
          </p:txBody>
        </p:sp>
      </p:grpSp>
      <p:grpSp>
        <p:nvGrpSpPr>
          <p:cNvPr id="37" name="Group 12"/>
          <p:cNvGrpSpPr/>
          <p:nvPr/>
        </p:nvGrpSpPr>
        <p:grpSpPr>
          <a:xfrm>
            <a:off x="86400" y="73297"/>
            <a:ext cx="576232" cy="576232"/>
            <a:chOff x="4871871" y="2527436"/>
            <a:chExt cx="576232" cy="576232"/>
          </a:xfrm>
        </p:grpSpPr>
        <p:sp>
          <p:nvSpPr>
            <p:cNvPr id="38" name="Oval 28"/>
            <p:cNvSpPr/>
            <p:nvPr/>
          </p:nvSpPr>
          <p:spPr>
            <a:xfrm>
              <a:off x="4871871" y="2527436"/>
              <a:ext cx="576232" cy="576232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9" name="Oval 29"/>
            <p:cNvSpPr/>
            <p:nvPr/>
          </p:nvSpPr>
          <p:spPr>
            <a:xfrm>
              <a:off x="4935302" y="2590867"/>
              <a:ext cx="448718" cy="448718"/>
            </a:xfrm>
            <a:prstGeom prst="ellipse">
              <a:avLst/>
            </a:prstGeom>
            <a:solidFill>
              <a:schemeClr val="accent3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1" name="TextBox 30"/>
            <p:cNvSpPr txBox="1"/>
            <p:nvPr/>
          </p:nvSpPr>
          <p:spPr>
            <a:xfrm>
              <a:off x="4887542" y="260729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3</a:t>
              </a:r>
            </a:p>
          </p:txBody>
        </p:sp>
      </p:grpSp>
      <p:sp>
        <p:nvSpPr>
          <p:cNvPr id="42" name="Titre 15"/>
          <p:cNvSpPr txBox="1">
            <a:spLocks/>
          </p:cNvSpPr>
          <p:nvPr/>
        </p:nvSpPr>
        <p:spPr>
          <a:xfrm>
            <a:off x="6654772" y="3828283"/>
            <a:ext cx="1447336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Free of Charge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43" name="Titre 15"/>
          <p:cNvSpPr txBox="1">
            <a:spLocks/>
          </p:cNvSpPr>
          <p:nvPr/>
        </p:nvSpPr>
        <p:spPr>
          <a:xfrm>
            <a:off x="6654770" y="4199893"/>
            <a:ext cx="2000459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smtClean="0">
                <a:solidFill>
                  <a:srgbClr val="FFFFFF"/>
                </a:solidFill>
              </a:rPr>
              <a:t>Sandboxed from Rainbow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44" name="Titre 15"/>
          <p:cNvSpPr txBox="1">
            <a:spLocks/>
          </p:cNvSpPr>
          <p:nvPr/>
        </p:nvSpPr>
        <p:spPr>
          <a:xfrm>
            <a:off x="6654770" y="4570412"/>
            <a:ext cx="2083253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Admin account </a:t>
            </a:r>
            <a:r>
              <a:rPr lang="en-US" sz="1200" smtClean="0">
                <a:solidFill>
                  <a:srgbClr val="FFFFFF"/>
                </a:solidFill>
              </a:rPr>
              <a:t>+ Company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cxnSp>
        <p:nvCxnSpPr>
          <p:cNvPr id="49" name="Connecteur droit 48"/>
          <p:cNvCxnSpPr/>
          <p:nvPr/>
        </p:nvCxnSpPr>
        <p:spPr bwMode="auto">
          <a:xfrm flipV="1">
            <a:off x="6760199" y="3784451"/>
            <a:ext cx="1424494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1" name="ZoneTexte 50"/>
          <p:cNvSpPr txBox="1"/>
          <p:nvPr/>
        </p:nvSpPr>
        <p:spPr>
          <a:xfrm>
            <a:off x="6055165" y="3428574"/>
            <a:ext cx="2834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DEVELOPER SANDBOX PLATFORM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79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uage 5"/>
          <p:cNvSpPr/>
          <p:nvPr/>
        </p:nvSpPr>
        <p:spPr>
          <a:xfrm>
            <a:off x="1881595" y="1320419"/>
            <a:ext cx="1457854" cy="612438"/>
          </a:xfrm>
          <a:prstGeom prst="cloud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Who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am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I ?</a:t>
            </a:r>
            <a:endParaRPr lang="fr-FR" sz="12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47" name="Titre 15"/>
          <p:cNvSpPr txBox="1">
            <a:spLocks/>
          </p:cNvSpPr>
          <p:nvPr/>
        </p:nvSpPr>
        <p:spPr>
          <a:xfrm>
            <a:off x="653286" y="170260"/>
            <a:ext cx="4051892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EXPOSING RAINBOW CONCEPTS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" name="Straight Connector 112"/>
          <p:cNvSpPr/>
          <p:nvPr/>
        </p:nvSpPr>
        <p:spPr>
          <a:xfrm flipV="1">
            <a:off x="4522122" y="696607"/>
            <a:ext cx="2" cy="4185733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21" name="Straight Connector 112"/>
          <p:cNvSpPr/>
          <p:nvPr/>
        </p:nvSpPr>
        <p:spPr>
          <a:xfrm rot="16200000" flipH="1">
            <a:off x="4544566" y="-1401802"/>
            <a:ext cx="3250" cy="8320009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28" name="ZoneTexte 27"/>
          <p:cNvSpPr txBox="1"/>
          <p:nvPr/>
        </p:nvSpPr>
        <p:spPr>
          <a:xfrm>
            <a:off x="1881595" y="722074"/>
            <a:ext cx="10517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chemeClr val="accent1"/>
                </a:solidFill>
                <a:latin typeface="Trebuchet MS" pitchFamily="34" charset="0"/>
              </a:rPr>
              <a:t>ENTITY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5087683" y="722075"/>
            <a:ext cx="33246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chemeClr val="accent5"/>
                </a:solidFill>
                <a:latin typeface="Trebuchet MS" pitchFamily="34" charset="0"/>
              </a:rPr>
              <a:t>MEMBERSHIP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791808" y="4588717"/>
            <a:ext cx="33246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chemeClr val="accent2"/>
                </a:solidFill>
                <a:latin typeface="Trebuchet MS" pitchFamily="34" charset="0"/>
              </a:rPr>
              <a:t>REL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386187" y="696608"/>
            <a:ext cx="8320009" cy="4169108"/>
          </a:xfrm>
          <a:prstGeom prst="rect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 lang="fr-FR"/>
          </a:p>
        </p:txBody>
      </p:sp>
      <p:sp>
        <p:nvSpPr>
          <p:cNvPr id="31" name="ZoneTexte 30"/>
          <p:cNvSpPr txBox="1"/>
          <p:nvPr/>
        </p:nvSpPr>
        <p:spPr>
          <a:xfrm>
            <a:off x="4951815" y="4585992"/>
            <a:ext cx="33246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chemeClr val="accent3"/>
                </a:solidFill>
                <a:latin typeface="Trebuchet MS" pitchFamily="34" charset="0"/>
              </a:rPr>
              <a:t>RIGHT</a:t>
            </a:r>
          </a:p>
        </p:txBody>
      </p:sp>
      <p:sp>
        <p:nvSpPr>
          <p:cNvPr id="33" name="Oval 20"/>
          <p:cNvSpPr>
            <a:spLocks noChangeAspect="1"/>
          </p:cNvSpPr>
          <p:nvPr/>
        </p:nvSpPr>
        <p:spPr bwMode="auto">
          <a:xfrm>
            <a:off x="4093690" y="2330407"/>
            <a:ext cx="867934" cy="852267"/>
          </a:xfrm>
          <a:prstGeom prst="ellipse">
            <a:avLst/>
          </a:prstGeom>
          <a:solidFill>
            <a:schemeClr val="tx1"/>
          </a:solidFill>
          <a:ln w="25400">
            <a:solidFill>
              <a:srgbClr val="F2F2F2">
                <a:alpha val="96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 lang="en-US" dirty="0"/>
          </a:p>
        </p:txBody>
      </p:sp>
      <p:sp>
        <p:nvSpPr>
          <p:cNvPr id="7" name="Ellipse 6"/>
          <p:cNvSpPr/>
          <p:nvPr/>
        </p:nvSpPr>
        <p:spPr>
          <a:xfrm>
            <a:off x="3475841" y="937494"/>
            <a:ext cx="929158" cy="363871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GUEST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39" name="Ellipse 38"/>
          <p:cNvSpPr/>
          <p:nvPr/>
        </p:nvSpPr>
        <p:spPr>
          <a:xfrm>
            <a:off x="3426554" y="1907705"/>
            <a:ext cx="712694" cy="363871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40" name="Ellipse 39"/>
          <p:cNvSpPr/>
          <p:nvPr/>
        </p:nvSpPr>
        <p:spPr>
          <a:xfrm>
            <a:off x="597662" y="2293900"/>
            <a:ext cx="929158" cy="363871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SITE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41" name="Ellipse 40"/>
          <p:cNvSpPr/>
          <p:nvPr/>
        </p:nvSpPr>
        <p:spPr>
          <a:xfrm>
            <a:off x="874336" y="815028"/>
            <a:ext cx="929158" cy="363871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SYSTEM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42" name="Ellipse 41"/>
          <p:cNvSpPr/>
          <p:nvPr/>
        </p:nvSpPr>
        <p:spPr>
          <a:xfrm>
            <a:off x="417259" y="1313690"/>
            <a:ext cx="929158" cy="363871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DEVICE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43" name="Ellipse 42"/>
          <p:cNvSpPr/>
          <p:nvPr/>
        </p:nvSpPr>
        <p:spPr>
          <a:xfrm>
            <a:off x="2105830" y="2224259"/>
            <a:ext cx="929158" cy="363871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THING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44" name="Ellipse 43"/>
          <p:cNvSpPr/>
          <p:nvPr/>
        </p:nvSpPr>
        <p:spPr>
          <a:xfrm>
            <a:off x="827535" y="4434037"/>
            <a:ext cx="712694" cy="363871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45" name="Nuage 44"/>
          <p:cNvSpPr/>
          <p:nvPr/>
        </p:nvSpPr>
        <p:spPr>
          <a:xfrm>
            <a:off x="5372537" y="989630"/>
            <a:ext cx="1872396" cy="878865"/>
          </a:xfrm>
          <a:prstGeom prst="cloud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What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is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the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limit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of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my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playground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?</a:t>
            </a:r>
            <a:endParaRPr lang="fr-FR" sz="12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cxnSp>
        <p:nvCxnSpPr>
          <p:cNvPr id="10" name="Connecteur en arc 9"/>
          <p:cNvCxnSpPr>
            <a:endCxn id="6" idx="3"/>
          </p:cNvCxnSpPr>
          <p:nvPr/>
        </p:nvCxnSpPr>
        <p:spPr bwMode="auto">
          <a:xfrm rot="10800000" flipV="1">
            <a:off x="2610522" y="1101454"/>
            <a:ext cx="754876" cy="253982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</a:ln>
        </p:spPr>
      </p:cxnSp>
      <p:cxnSp>
        <p:nvCxnSpPr>
          <p:cNvPr id="54" name="Connecteur en arc 53"/>
          <p:cNvCxnSpPr>
            <a:endCxn id="6" idx="0"/>
          </p:cNvCxnSpPr>
          <p:nvPr/>
        </p:nvCxnSpPr>
        <p:spPr bwMode="auto">
          <a:xfrm rot="16200000" flipV="1">
            <a:off x="3312068" y="1652804"/>
            <a:ext cx="254808" cy="202476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</a:ln>
        </p:spPr>
      </p:cxnSp>
      <p:cxnSp>
        <p:nvCxnSpPr>
          <p:cNvPr id="55" name="Connecteur en arc 54"/>
          <p:cNvCxnSpPr>
            <a:stCxn id="6" idx="1"/>
          </p:cNvCxnSpPr>
          <p:nvPr/>
        </p:nvCxnSpPr>
        <p:spPr bwMode="auto">
          <a:xfrm rot="5400000">
            <a:off x="2493460" y="2035515"/>
            <a:ext cx="220372" cy="13753"/>
          </a:xfrm>
          <a:prstGeom prst="curvedConnector3">
            <a:avLst>
              <a:gd name="adj1" fmla="val 50000"/>
            </a:avLst>
          </a:prstGeom>
          <a:ln w="25400">
            <a:solidFill>
              <a:srgbClr val="F2F2F2">
                <a:alpha val="25000"/>
              </a:srgbClr>
            </a:solidFill>
          </a:ln>
        </p:spPr>
      </p:cxnSp>
      <p:cxnSp>
        <p:nvCxnSpPr>
          <p:cNvPr id="58" name="Connecteur en arc 57"/>
          <p:cNvCxnSpPr>
            <a:stCxn id="6" idx="2"/>
          </p:cNvCxnSpPr>
          <p:nvPr/>
        </p:nvCxnSpPr>
        <p:spPr bwMode="auto">
          <a:xfrm rot="10800000" flipV="1">
            <a:off x="1368287" y="1626638"/>
            <a:ext cx="517830" cy="670086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</a:ln>
        </p:spPr>
      </p:cxnSp>
      <p:cxnSp>
        <p:nvCxnSpPr>
          <p:cNvPr id="61" name="Connecteur en arc 60"/>
          <p:cNvCxnSpPr>
            <a:stCxn id="6" idx="3"/>
            <a:endCxn id="259" idx="3"/>
          </p:cNvCxnSpPr>
          <p:nvPr/>
        </p:nvCxnSpPr>
        <p:spPr bwMode="auto">
          <a:xfrm rot="16200000" flipV="1">
            <a:off x="2115994" y="860908"/>
            <a:ext cx="210320" cy="778736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</a:ln>
        </p:spPr>
      </p:cxnSp>
      <p:cxnSp>
        <p:nvCxnSpPr>
          <p:cNvPr id="64" name="Connecteur en arc 63"/>
          <p:cNvCxnSpPr>
            <a:stCxn id="6" idx="2"/>
            <a:endCxn id="255" idx="3"/>
          </p:cNvCxnSpPr>
          <p:nvPr/>
        </p:nvCxnSpPr>
        <p:spPr bwMode="auto">
          <a:xfrm rot="10800000">
            <a:off x="1605553" y="1488906"/>
            <a:ext cx="280565" cy="137732"/>
          </a:xfrm>
          <a:prstGeom prst="curvedConnector3">
            <a:avLst>
              <a:gd name="adj1" fmla="val 50000"/>
            </a:avLst>
          </a:prstGeom>
          <a:ln w="25400">
            <a:solidFill>
              <a:srgbClr val="F2F2F2">
                <a:alpha val="25000"/>
              </a:srgbClr>
            </a:solidFill>
          </a:ln>
        </p:spPr>
      </p:cxnSp>
      <p:sp>
        <p:nvSpPr>
          <p:cNvPr id="74" name="Nuage 73"/>
          <p:cNvSpPr/>
          <p:nvPr/>
        </p:nvSpPr>
        <p:spPr>
          <a:xfrm>
            <a:off x="6177610" y="2920825"/>
            <a:ext cx="1872396" cy="747955"/>
          </a:xfrm>
          <a:prstGeom prst="cloud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What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can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I do ?</a:t>
            </a:r>
            <a:endParaRPr lang="fr-FR" sz="12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76" name="Nuage 75"/>
          <p:cNvSpPr/>
          <p:nvPr/>
        </p:nvSpPr>
        <p:spPr>
          <a:xfrm>
            <a:off x="1491137" y="3411850"/>
            <a:ext cx="1872396" cy="747955"/>
          </a:xfrm>
          <a:prstGeom prst="cloud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How I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keep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in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touch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with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fr-FR" sz="120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users</a:t>
            </a:r>
            <a:r>
              <a:rPr lang="fr-FR" sz="1200" dirty="0" smtClean="0">
                <a:solidFill>
                  <a:schemeClr val="bg1"/>
                </a:solidFill>
                <a:latin typeface="Trebuchet MS"/>
                <a:cs typeface="Trebuchet MS"/>
              </a:rPr>
              <a:t> ?</a:t>
            </a:r>
            <a:endParaRPr lang="fr-FR" sz="12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2865312" y="2618077"/>
            <a:ext cx="33246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i="1" dirty="0" smtClean="0">
                <a:solidFill>
                  <a:schemeClr val="bg1"/>
                </a:solidFill>
                <a:latin typeface="Trebuchet MS" pitchFamily="34" charset="0"/>
              </a:rPr>
              <a:t>4</a:t>
            </a:r>
            <a:r>
              <a:rPr lang="fr-FR" sz="1200" b="1" i="1" dirty="0" smtClean="0">
                <a:solidFill>
                  <a:schemeClr val="accent4"/>
                </a:solidFill>
                <a:latin typeface="Trebuchet MS" pitchFamily="34" charset="0"/>
              </a:rPr>
              <a:t> </a:t>
            </a:r>
            <a:r>
              <a:rPr lang="fr-FR" sz="1200" b="1" i="1" dirty="0" smtClean="0">
                <a:solidFill>
                  <a:schemeClr val="bg1"/>
                </a:solidFill>
                <a:latin typeface="Trebuchet MS" pitchFamily="34" charset="0"/>
              </a:rPr>
              <a:t>PILLARS</a:t>
            </a:r>
          </a:p>
        </p:txBody>
      </p:sp>
      <p:sp>
        <p:nvSpPr>
          <p:cNvPr id="80" name="Rectangle à coins arrondis 79"/>
          <p:cNvSpPr/>
          <p:nvPr/>
        </p:nvSpPr>
        <p:spPr>
          <a:xfrm>
            <a:off x="5996272" y="1746766"/>
            <a:ext cx="585479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5"/>
                </a:solidFill>
                <a:latin typeface="Trebuchet MS"/>
                <a:cs typeface="Trebuchet MS"/>
              </a:rPr>
              <a:t>PRIVATE</a:t>
            </a:r>
            <a:endParaRPr lang="fr-FR" sz="600" b="1" dirty="0">
              <a:solidFill>
                <a:schemeClr val="accent5"/>
              </a:solidFill>
              <a:latin typeface="Trebuchet MS"/>
              <a:cs typeface="Trebuchet MS"/>
            </a:endParaRPr>
          </a:p>
        </p:txBody>
      </p:sp>
      <p:sp>
        <p:nvSpPr>
          <p:cNvPr id="83" name="Rectangle à coins arrondis 82"/>
          <p:cNvSpPr/>
          <p:nvPr/>
        </p:nvSpPr>
        <p:spPr>
          <a:xfrm>
            <a:off x="2353040" y="1745960"/>
            <a:ext cx="518271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rgbClr val="0085CA"/>
                </a:solidFill>
                <a:latin typeface="Trebuchet MS"/>
                <a:cs typeface="Trebuchet MS"/>
              </a:rPr>
              <a:t>IDENTITY</a:t>
            </a:r>
            <a:endParaRPr lang="fr-FR" sz="800" b="1" dirty="0">
              <a:solidFill>
                <a:srgbClr val="0085CA"/>
              </a:solidFill>
              <a:latin typeface="Trebuchet MS"/>
              <a:cs typeface="Trebuchet MS"/>
            </a:endParaRPr>
          </a:p>
        </p:txBody>
      </p:sp>
      <p:sp>
        <p:nvSpPr>
          <p:cNvPr id="85" name="Ellipse 84"/>
          <p:cNvSpPr/>
          <p:nvPr/>
        </p:nvSpPr>
        <p:spPr>
          <a:xfrm>
            <a:off x="5119652" y="2242141"/>
            <a:ext cx="929158" cy="363871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COMPANY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86" name="Rectangle à coins arrondis 85"/>
          <p:cNvSpPr/>
          <p:nvPr/>
        </p:nvSpPr>
        <p:spPr>
          <a:xfrm>
            <a:off x="5238731" y="2196773"/>
            <a:ext cx="585479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5"/>
                </a:solidFill>
                <a:latin typeface="Trebuchet MS"/>
                <a:cs typeface="Trebuchet MS"/>
              </a:rPr>
              <a:t>PUBLIC</a:t>
            </a:r>
            <a:endParaRPr lang="fr-FR" sz="600" b="1" dirty="0">
              <a:solidFill>
                <a:schemeClr val="accent5"/>
              </a:solidFill>
              <a:latin typeface="Trebuchet MS"/>
              <a:cs typeface="Trebuchet MS"/>
            </a:endParaRPr>
          </a:p>
        </p:txBody>
      </p:sp>
      <p:sp>
        <p:nvSpPr>
          <p:cNvPr id="87" name="Ellipse 86"/>
          <p:cNvSpPr/>
          <p:nvPr/>
        </p:nvSpPr>
        <p:spPr>
          <a:xfrm>
            <a:off x="6997999" y="2161016"/>
            <a:ext cx="929158" cy="363871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COMPANY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88" name="Rectangle à coins arrondis 87"/>
          <p:cNvSpPr/>
          <p:nvPr/>
        </p:nvSpPr>
        <p:spPr>
          <a:xfrm>
            <a:off x="7235754" y="2438075"/>
            <a:ext cx="585479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5"/>
                </a:solidFill>
                <a:latin typeface="Trebuchet MS"/>
                <a:cs typeface="Trebuchet MS"/>
              </a:rPr>
              <a:t>PUBLIC</a:t>
            </a:r>
            <a:endParaRPr lang="fr-FR" sz="600" b="1" dirty="0">
              <a:solidFill>
                <a:schemeClr val="accent5"/>
              </a:solidFill>
              <a:latin typeface="Trebuchet MS"/>
              <a:cs typeface="Trebuchet MS"/>
            </a:endParaRPr>
          </a:p>
        </p:txBody>
      </p:sp>
      <p:sp>
        <p:nvSpPr>
          <p:cNvPr id="89" name="Ellipse 88"/>
          <p:cNvSpPr/>
          <p:nvPr/>
        </p:nvSpPr>
        <p:spPr>
          <a:xfrm>
            <a:off x="7631211" y="1794920"/>
            <a:ext cx="929158" cy="363871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COMPANY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90" name="Rectangle à coins arrondis 89"/>
          <p:cNvSpPr/>
          <p:nvPr/>
        </p:nvSpPr>
        <p:spPr>
          <a:xfrm>
            <a:off x="7794382" y="2089821"/>
            <a:ext cx="585479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5"/>
                </a:solidFill>
                <a:latin typeface="Trebuchet MS"/>
                <a:cs typeface="Trebuchet MS"/>
              </a:rPr>
              <a:t>PUBLIC</a:t>
            </a:r>
            <a:endParaRPr lang="fr-FR" sz="600" b="1" dirty="0">
              <a:solidFill>
                <a:schemeClr val="accent5"/>
              </a:solidFill>
              <a:latin typeface="Trebuchet MS"/>
              <a:cs typeface="Trebuchet MS"/>
            </a:endParaRPr>
          </a:p>
        </p:txBody>
      </p:sp>
      <p:sp>
        <p:nvSpPr>
          <p:cNvPr id="91" name="Forme libre 90"/>
          <p:cNvSpPr/>
          <p:nvPr/>
        </p:nvSpPr>
        <p:spPr>
          <a:xfrm>
            <a:off x="6759146" y="1699054"/>
            <a:ext cx="1878227" cy="1007076"/>
          </a:xfrm>
          <a:custGeom>
            <a:avLst/>
            <a:gdLst>
              <a:gd name="connsiteX0" fmla="*/ 1112108 w 1878227"/>
              <a:gd name="connsiteY0" fmla="*/ 6178 h 1007076"/>
              <a:gd name="connsiteX1" fmla="*/ 475735 w 1878227"/>
              <a:gd name="connsiteY1" fmla="*/ 401595 h 1007076"/>
              <a:gd name="connsiteX2" fmla="*/ 0 w 1878227"/>
              <a:gd name="connsiteY2" fmla="*/ 605481 h 1007076"/>
              <a:gd name="connsiteX3" fmla="*/ 105032 w 1878227"/>
              <a:gd name="connsiteY3" fmla="*/ 889687 h 1007076"/>
              <a:gd name="connsiteX4" fmla="*/ 321276 w 1878227"/>
              <a:gd name="connsiteY4" fmla="*/ 982362 h 1007076"/>
              <a:gd name="connsiteX5" fmla="*/ 1254211 w 1878227"/>
              <a:gd name="connsiteY5" fmla="*/ 1007076 h 1007076"/>
              <a:gd name="connsiteX6" fmla="*/ 1797908 w 1878227"/>
              <a:gd name="connsiteY6" fmla="*/ 624016 h 1007076"/>
              <a:gd name="connsiteX7" fmla="*/ 1878227 w 1878227"/>
              <a:gd name="connsiteY7" fmla="*/ 228600 h 1007076"/>
              <a:gd name="connsiteX8" fmla="*/ 1717589 w 1878227"/>
              <a:gd name="connsiteY8" fmla="*/ 0 h 1007076"/>
              <a:gd name="connsiteX9" fmla="*/ 1112108 w 1878227"/>
              <a:gd name="connsiteY9" fmla="*/ 6178 h 1007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8227" h="1007076">
                <a:moveTo>
                  <a:pt x="1112108" y="6178"/>
                </a:moveTo>
                <a:lnTo>
                  <a:pt x="475735" y="401595"/>
                </a:lnTo>
                <a:lnTo>
                  <a:pt x="0" y="605481"/>
                </a:lnTo>
                <a:lnTo>
                  <a:pt x="105032" y="889687"/>
                </a:lnTo>
                <a:lnTo>
                  <a:pt x="321276" y="982362"/>
                </a:lnTo>
                <a:lnTo>
                  <a:pt x="1254211" y="1007076"/>
                </a:lnTo>
                <a:lnTo>
                  <a:pt x="1797908" y="624016"/>
                </a:lnTo>
                <a:lnTo>
                  <a:pt x="1878227" y="228600"/>
                </a:lnTo>
                <a:lnTo>
                  <a:pt x="1717589" y="0"/>
                </a:lnTo>
                <a:lnTo>
                  <a:pt x="1112108" y="6178"/>
                </a:lnTo>
                <a:close/>
              </a:path>
            </a:pathLst>
          </a:custGeom>
          <a:ln w="25400">
            <a:solidFill>
              <a:srgbClr val="F2F2F2">
                <a:alpha val="25000"/>
              </a:srgbClr>
            </a:solidFill>
            <a:prstDash val="sysDot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92" name="Rectangle à coins arrondis 91"/>
          <p:cNvSpPr/>
          <p:nvPr/>
        </p:nvSpPr>
        <p:spPr>
          <a:xfrm>
            <a:off x="7983764" y="1479946"/>
            <a:ext cx="585479" cy="26554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accent5"/>
                </a:solidFill>
                <a:latin typeface="Trebuchet MS"/>
                <a:cs typeface="Trebuchet MS"/>
              </a:rPr>
              <a:t>ORG</a:t>
            </a:r>
          </a:p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5"/>
                </a:solidFill>
                <a:latin typeface="Trebuchet MS"/>
                <a:cs typeface="Trebuchet MS"/>
              </a:rPr>
              <a:t>PRIVATE</a:t>
            </a:r>
            <a:endParaRPr lang="fr-FR" sz="600" b="1" dirty="0">
              <a:solidFill>
                <a:schemeClr val="accent5"/>
              </a:solidFill>
              <a:latin typeface="Trebuchet MS"/>
              <a:cs typeface="Trebuchet MS"/>
            </a:endParaRPr>
          </a:p>
        </p:txBody>
      </p:sp>
      <p:cxnSp>
        <p:nvCxnSpPr>
          <p:cNvPr id="97" name="Connecteur en arc 96"/>
          <p:cNvCxnSpPr>
            <a:stCxn id="80" idx="2"/>
            <a:endCxn id="86" idx="3"/>
          </p:cNvCxnSpPr>
          <p:nvPr/>
        </p:nvCxnSpPr>
        <p:spPr bwMode="auto">
          <a:xfrm rot="5400000">
            <a:off x="5861308" y="1828468"/>
            <a:ext cx="390607" cy="464802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  <a:tailEnd type="triangle"/>
          </a:ln>
        </p:spPr>
      </p:cxnSp>
      <p:cxnSp>
        <p:nvCxnSpPr>
          <p:cNvPr id="108" name="Connecteur en arc 107"/>
          <p:cNvCxnSpPr>
            <a:stCxn id="88" idx="3"/>
            <a:endCxn id="90" idx="2"/>
          </p:cNvCxnSpPr>
          <p:nvPr/>
        </p:nvCxnSpPr>
        <p:spPr bwMode="auto">
          <a:xfrm flipV="1">
            <a:off x="7821233" y="2208621"/>
            <a:ext cx="265889" cy="288854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  <a:headEnd type="triangle"/>
            <a:tailEnd type="triangle"/>
          </a:ln>
        </p:spPr>
      </p:cxnSp>
      <p:cxnSp>
        <p:nvCxnSpPr>
          <p:cNvPr id="120" name="Connecteur en arc 119"/>
          <p:cNvCxnSpPr>
            <a:stCxn id="85" idx="0"/>
            <a:endCxn id="80" idx="1"/>
          </p:cNvCxnSpPr>
          <p:nvPr/>
        </p:nvCxnSpPr>
        <p:spPr bwMode="auto">
          <a:xfrm rot="5400000" flipH="1" flipV="1">
            <a:off x="5572264" y="1818134"/>
            <a:ext cx="435975" cy="412041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  <a:prstDash val="sysDash"/>
            <a:tailEnd type="triangle"/>
          </a:ln>
        </p:spPr>
      </p:cxnSp>
      <p:cxnSp>
        <p:nvCxnSpPr>
          <p:cNvPr id="135" name="Connecteur en arc 134"/>
          <p:cNvCxnSpPr>
            <a:stCxn id="44" idx="6"/>
            <a:endCxn id="76" idx="1"/>
          </p:cNvCxnSpPr>
          <p:nvPr/>
        </p:nvCxnSpPr>
        <p:spPr bwMode="auto">
          <a:xfrm flipV="1">
            <a:off x="1540229" y="4159009"/>
            <a:ext cx="887106" cy="456964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</a:ln>
        </p:spPr>
      </p:cxnSp>
      <p:sp>
        <p:nvSpPr>
          <p:cNvPr id="138" name="Rectangle à coins arrondis 137"/>
          <p:cNvSpPr/>
          <p:nvPr/>
        </p:nvSpPr>
        <p:spPr>
          <a:xfrm>
            <a:off x="1869631" y="4310795"/>
            <a:ext cx="746434" cy="153391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bg1"/>
                </a:solidFill>
                <a:latin typeface="Trebuchet MS"/>
                <a:cs typeface="Trebuchet MS"/>
              </a:rPr>
              <a:t>SPONTANEOUS</a:t>
            </a:r>
            <a:endParaRPr lang="fr-FR" sz="6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39" name="Ellipse 138"/>
          <p:cNvSpPr/>
          <p:nvPr/>
        </p:nvSpPr>
        <p:spPr>
          <a:xfrm>
            <a:off x="3589032" y="3182184"/>
            <a:ext cx="712694" cy="363871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cxnSp>
        <p:nvCxnSpPr>
          <p:cNvPr id="142" name="Connecteur en arc 141"/>
          <p:cNvCxnSpPr>
            <a:stCxn id="139" idx="4"/>
            <a:endCxn id="76" idx="0"/>
          </p:cNvCxnSpPr>
          <p:nvPr/>
        </p:nvCxnSpPr>
        <p:spPr bwMode="auto">
          <a:xfrm rot="5400000">
            <a:off x="3533790" y="3374238"/>
            <a:ext cx="239773" cy="583406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</a:ln>
        </p:spPr>
      </p:cxnSp>
      <p:sp>
        <p:nvSpPr>
          <p:cNvPr id="146" name="Rectangle à coins arrondis 145"/>
          <p:cNvSpPr/>
          <p:nvPr/>
        </p:nvSpPr>
        <p:spPr>
          <a:xfrm>
            <a:off x="3446186" y="3611662"/>
            <a:ext cx="477213" cy="234532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bg1"/>
                </a:solidFill>
                <a:latin typeface="Trebuchet MS"/>
                <a:cs typeface="Trebuchet MS"/>
              </a:rPr>
              <a:t>LONG TERM</a:t>
            </a:r>
            <a:endParaRPr lang="fr-FR" sz="6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47" name="ZoneTexte 146"/>
          <p:cNvSpPr txBox="1"/>
          <p:nvPr/>
        </p:nvSpPr>
        <p:spPr>
          <a:xfrm>
            <a:off x="2035994" y="4415503"/>
            <a:ext cx="4003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all</a:t>
            </a:r>
            <a:endParaRPr lang="fr-FR" sz="12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48" name="ZoneTexte 147"/>
          <p:cNvSpPr txBox="1"/>
          <p:nvPr/>
        </p:nvSpPr>
        <p:spPr>
          <a:xfrm>
            <a:off x="3156905" y="3819468"/>
            <a:ext cx="108962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Interactions logs</a:t>
            </a:r>
            <a:endParaRPr lang="fr-FR" sz="12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49" name="Ellipse 148"/>
          <p:cNvSpPr/>
          <p:nvPr/>
        </p:nvSpPr>
        <p:spPr>
          <a:xfrm>
            <a:off x="471188" y="2916493"/>
            <a:ext cx="712694" cy="363871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cxnSp>
        <p:nvCxnSpPr>
          <p:cNvPr id="151" name="Connecteur en arc 150"/>
          <p:cNvCxnSpPr>
            <a:stCxn id="149" idx="4"/>
            <a:endCxn id="76" idx="2"/>
          </p:cNvCxnSpPr>
          <p:nvPr/>
        </p:nvCxnSpPr>
        <p:spPr bwMode="auto">
          <a:xfrm rot="16200000" flipH="1">
            <a:off x="909508" y="3198391"/>
            <a:ext cx="505464" cy="669410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</a:ln>
        </p:spPr>
      </p:cxnSp>
      <p:sp>
        <p:nvSpPr>
          <p:cNvPr id="153" name="Rectangle à coins arrondis 152"/>
          <p:cNvSpPr/>
          <p:nvPr/>
        </p:nvSpPr>
        <p:spPr>
          <a:xfrm>
            <a:off x="662050" y="3469360"/>
            <a:ext cx="746434" cy="153391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bg1"/>
                </a:solidFill>
                <a:latin typeface="Trebuchet MS"/>
                <a:cs typeface="Trebuchet MS"/>
              </a:rPr>
              <a:t>PRIVILEGED</a:t>
            </a:r>
            <a:endParaRPr lang="fr-FR" sz="6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54" name="ZoneTexte 153"/>
          <p:cNvSpPr txBox="1"/>
          <p:nvPr/>
        </p:nvSpPr>
        <p:spPr>
          <a:xfrm>
            <a:off x="747468" y="3589472"/>
            <a:ext cx="59358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`network`</a:t>
            </a:r>
            <a:endParaRPr lang="fr-FR" sz="12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69" name="Rectangle à coins arrondis 168"/>
          <p:cNvSpPr/>
          <p:nvPr/>
        </p:nvSpPr>
        <p:spPr>
          <a:xfrm>
            <a:off x="2215587" y="3055334"/>
            <a:ext cx="528797" cy="12599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500" b="1" dirty="0" smtClean="0">
                <a:solidFill>
                  <a:schemeClr val="bg1"/>
                </a:solidFill>
                <a:latin typeface="Trebuchet MS"/>
                <a:cs typeface="Trebuchet MS"/>
              </a:rPr>
              <a:t>ACTIVITY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70" name="Rectangle à coins arrondis 169"/>
          <p:cNvSpPr/>
          <p:nvPr/>
        </p:nvSpPr>
        <p:spPr>
          <a:xfrm>
            <a:off x="2215586" y="2890078"/>
            <a:ext cx="528797" cy="12599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500" b="1" smtClean="0">
                <a:solidFill>
                  <a:schemeClr val="bg1"/>
                </a:solidFill>
                <a:latin typeface="Trebuchet MS"/>
                <a:cs typeface="Trebuchet MS"/>
              </a:rPr>
              <a:t>CALENDAR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71" name="Rectangle à coins arrondis 170"/>
          <p:cNvSpPr/>
          <p:nvPr/>
        </p:nvSpPr>
        <p:spPr>
          <a:xfrm>
            <a:off x="2818939" y="2890078"/>
            <a:ext cx="528797" cy="12599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500" b="1" dirty="0" smtClean="0">
                <a:solidFill>
                  <a:schemeClr val="bg1"/>
                </a:solidFill>
                <a:latin typeface="Trebuchet MS"/>
                <a:cs typeface="Trebuchet MS"/>
              </a:rPr>
              <a:t>PHONE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72" name="Rectangle à coins arrondis 171"/>
          <p:cNvSpPr/>
          <p:nvPr/>
        </p:nvSpPr>
        <p:spPr>
          <a:xfrm>
            <a:off x="2815923" y="3055334"/>
            <a:ext cx="528797" cy="12599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mr-IN" sz="500" b="1" dirty="0" smtClean="0">
                <a:solidFill>
                  <a:schemeClr val="bg1"/>
                </a:solidFill>
                <a:latin typeface="Trebuchet MS"/>
                <a:cs typeface="Trebuchet MS"/>
              </a:rPr>
              <a:t>…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73" name="Rectangle à coins arrondis 172"/>
          <p:cNvSpPr/>
          <p:nvPr/>
        </p:nvSpPr>
        <p:spPr>
          <a:xfrm>
            <a:off x="2146956" y="2827833"/>
            <a:ext cx="1261683" cy="397279"/>
          </a:xfrm>
          <a:prstGeom prst="roundRect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75" name="Connecteur en arc 174"/>
          <p:cNvCxnSpPr>
            <a:stCxn id="149" idx="6"/>
            <a:endCxn id="173" idx="1"/>
          </p:cNvCxnSpPr>
          <p:nvPr/>
        </p:nvCxnSpPr>
        <p:spPr bwMode="auto">
          <a:xfrm flipV="1">
            <a:off x="1183882" y="3026473"/>
            <a:ext cx="963074" cy="71956"/>
          </a:xfrm>
          <a:prstGeom prst="curvedConnector3">
            <a:avLst>
              <a:gd name="adj1" fmla="val 50000"/>
            </a:avLst>
          </a:prstGeom>
          <a:ln w="25400">
            <a:solidFill>
              <a:srgbClr val="F2F2F2">
                <a:alpha val="25000"/>
              </a:srgbClr>
            </a:solidFill>
          </a:ln>
        </p:spPr>
      </p:cxnSp>
      <p:sp>
        <p:nvSpPr>
          <p:cNvPr id="179" name="Rectangle à coins arrondis 178"/>
          <p:cNvSpPr/>
          <p:nvPr/>
        </p:nvSpPr>
        <p:spPr>
          <a:xfrm>
            <a:off x="1369249" y="2968074"/>
            <a:ext cx="615561" cy="17069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500" b="1" smtClean="0">
                <a:solidFill>
                  <a:schemeClr val="bg1"/>
                </a:solidFill>
                <a:latin typeface="Trebuchet MS"/>
                <a:cs typeface="Trebuchet MS"/>
              </a:rPr>
              <a:t>AVAILABILITY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85" name="Ellipse 184"/>
          <p:cNvSpPr/>
          <p:nvPr/>
        </p:nvSpPr>
        <p:spPr>
          <a:xfrm>
            <a:off x="6154689" y="4045911"/>
            <a:ext cx="712694" cy="363871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87" name="Rectangle à coins arrondis 186"/>
          <p:cNvSpPr/>
          <p:nvPr/>
        </p:nvSpPr>
        <p:spPr>
          <a:xfrm>
            <a:off x="6762442" y="3448605"/>
            <a:ext cx="637210" cy="14664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3"/>
                </a:solidFill>
                <a:latin typeface="Trebuchet MS"/>
                <a:cs typeface="Trebuchet MS"/>
              </a:rPr>
              <a:t>ENTERPRISE</a:t>
            </a:r>
            <a:endParaRPr lang="fr-FR" sz="600" b="1" dirty="0">
              <a:solidFill>
                <a:schemeClr val="accent3"/>
              </a:solidFill>
              <a:latin typeface="Trebuchet MS"/>
              <a:cs typeface="Trebuchet MS"/>
            </a:endParaRPr>
          </a:p>
        </p:txBody>
      </p:sp>
      <p:sp>
        <p:nvSpPr>
          <p:cNvPr id="189" name="Rectangle à coins arrondis 188"/>
          <p:cNvSpPr/>
          <p:nvPr/>
        </p:nvSpPr>
        <p:spPr>
          <a:xfrm>
            <a:off x="6867383" y="3564459"/>
            <a:ext cx="427966" cy="115153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6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90" name="Rectangle à coins arrondis 189"/>
          <p:cNvSpPr/>
          <p:nvPr/>
        </p:nvSpPr>
        <p:spPr>
          <a:xfrm>
            <a:off x="6191809" y="4339566"/>
            <a:ext cx="637210" cy="14664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3"/>
                </a:solidFill>
                <a:latin typeface="Trebuchet MS"/>
                <a:cs typeface="Trebuchet MS"/>
              </a:rPr>
              <a:t>BUSINESS</a:t>
            </a:r>
            <a:endParaRPr lang="fr-FR" sz="600" b="1" dirty="0">
              <a:solidFill>
                <a:schemeClr val="accent3"/>
              </a:solidFill>
              <a:latin typeface="Trebuchet MS"/>
              <a:cs typeface="Trebuchet MS"/>
            </a:endParaRPr>
          </a:p>
        </p:txBody>
      </p:sp>
      <p:sp>
        <p:nvSpPr>
          <p:cNvPr id="191" name="Rectangle à coins arrondis 190"/>
          <p:cNvSpPr/>
          <p:nvPr/>
        </p:nvSpPr>
        <p:spPr>
          <a:xfrm>
            <a:off x="6296750" y="4455420"/>
            <a:ext cx="427966" cy="115153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bg1"/>
                </a:solidFill>
                <a:latin typeface="Trebuchet MS"/>
                <a:cs typeface="Trebuchet MS"/>
              </a:rPr>
              <a:t>ADMIN</a:t>
            </a:r>
            <a:endParaRPr lang="fr-FR" sz="6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92" name="Ellipse 191"/>
          <p:cNvSpPr/>
          <p:nvPr/>
        </p:nvSpPr>
        <p:spPr>
          <a:xfrm>
            <a:off x="7710960" y="3805486"/>
            <a:ext cx="712694" cy="363871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93" name="Rectangle à coins arrondis 192"/>
          <p:cNvSpPr/>
          <p:nvPr/>
        </p:nvSpPr>
        <p:spPr>
          <a:xfrm>
            <a:off x="7748080" y="4099141"/>
            <a:ext cx="637210" cy="14664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3"/>
                </a:solidFill>
                <a:latin typeface="Trebuchet MS"/>
                <a:cs typeface="Trebuchet MS"/>
              </a:rPr>
              <a:t>ESSENTIAL</a:t>
            </a:r>
            <a:endParaRPr lang="fr-FR" sz="600" b="1" dirty="0">
              <a:solidFill>
                <a:schemeClr val="accent3"/>
              </a:solidFill>
              <a:latin typeface="Trebuchet MS"/>
              <a:cs typeface="Trebuchet MS"/>
            </a:endParaRPr>
          </a:p>
        </p:txBody>
      </p:sp>
      <p:sp>
        <p:nvSpPr>
          <p:cNvPr id="194" name="Rectangle à coins arrondis 193"/>
          <p:cNvSpPr/>
          <p:nvPr/>
        </p:nvSpPr>
        <p:spPr>
          <a:xfrm>
            <a:off x="7853021" y="4214995"/>
            <a:ext cx="427966" cy="115153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6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cxnSp>
        <p:nvCxnSpPr>
          <p:cNvPr id="195" name="Connecteur en arc 194"/>
          <p:cNvCxnSpPr>
            <a:stCxn id="193" idx="1"/>
            <a:endCxn id="74" idx="1"/>
          </p:cNvCxnSpPr>
          <p:nvPr/>
        </p:nvCxnSpPr>
        <p:spPr bwMode="auto">
          <a:xfrm rot="10800000">
            <a:off x="7113808" y="3667984"/>
            <a:ext cx="634272" cy="504480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  <a:headEnd type="none"/>
            <a:tailEnd type="triangle"/>
          </a:ln>
        </p:spPr>
      </p:cxnSp>
      <p:cxnSp>
        <p:nvCxnSpPr>
          <p:cNvPr id="197" name="Connecteur en arc 196"/>
          <p:cNvCxnSpPr>
            <a:stCxn id="189" idx="2"/>
            <a:endCxn id="190" idx="3"/>
          </p:cNvCxnSpPr>
          <p:nvPr/>
        </p:nvCxnSpPr>
        <p:spPr bwMode="auto">
          <a:xfrm rot="5400000">
            <a:off x="6588555" y="3920077"/>
            <a:ext cx="733277" cy="252347"/>
          </a:xfrm>
          <a:prstGeom prst="curvedConnector2">
            <a:avLst/>
          </a:prstGeom>
          <a:ln w="25400">
            <a:solidFill>
              <a:srgbClr val="F2F2F2">
                <a:alpha val="25000"/>
              </a:srgbClr>
            </a:solidFill>
            <a:headEnd type="triangle"/>
            <a:tailEnd type="triangle"/>
          </a:ln>
        </p:spPr>
      </p:cxnSp>
      <p:sp>
        <p:nvSpPr>
          <p:cNvPr id="203" name="Ellipse 202"/>
          <p:cNvSpPr/>
          <p:nvPr/>
        </p:nvSpPr>
        <p:spPr>
          <a:xfrm>
            <a:off x="4969225" y="3148521"/>
            <a:ext cx="712694" cy="363871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204" name="Rectangle à coins arrondis 203"/>
          <p:cNvSpPr/>
          <p:nvPr/>
        </p:nvSpPr>
        <p:spPr>
          <a:xfrm>
            <a:off x="5006345" y="3442176"/>
            <a:ext cx="637210" cy="14664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3"/>
                </a:solidFill>
                <a:latin typeface="Trebuchet MS"/>
                <a:cs typeface="Trebuchet MS"/>
              </a:rPr>
              <a:t>CPAAS</a:t>
            </a:r>
            <a:endParaRPr lang="fr-FR" sz="600" b="1" dirty="0">
              <a:solidFill>
                <a:schemeClr val="accent3"/>
              </a:solidFill>
              <a:latin typeface="Trebuchet MS"/>
              <a:cs typeface="Trebuchet MS"/>
            </a:endParaRPr>
          </a:p>
        </p:txBody>
      </p:sp>
      <p:sp>
        <p:nvSpPr>
          <p:cNvPr id="205" name="Rectangle à coins arrondis 204"/>
          <p:cNvSpPr/>
          <p:nvPr/>
        </p:nvSpPr>
        <p:spPr>
          <a:xfrm>
            <a:off x="5111286" y="3558030"/>
            <a:ext cx="427966" cy="115153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6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206" name="Ellipse 205"/>
          <p:cNvSpPr/>
          <p:nvPr/>
        </p:nvSpPr>
        <p:spPr>
          <a:xfrm>
            <a:off x="4742520" y="4100924"/>
            <a:ext cx="712694" cy="363871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smtClean="0">
                <a:solidFill>
                  <a:schemeClr val="bg1"/>
                </a:solidFill>
                <a:latin typeface="Trebuchet MS"/>
                <a:cs typeface="Trebuchet MS"/>
              </a:rPr>
              <a:t>USER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207" name="Rectangle à coins arrondis 206"/>
          <p:cNvSpPr/>
          <p:nvPr/>
        </p:nvSpPr>
        <p:spPr>
          <a:xfrm>
            <a:off x="4779640" y="4394579"/>
            <a:ext cx="637210" cy="14664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accent3"/>
                </a:solidFill>
                <a:latin typeface="Trebuchet MS"/>
                <a:cs typeface="Trebuchet MS"/>
              </a:rPr>
              <a:t>CPAAS</a:t>
            </a:r>
            <a:endParaRPr lang="fr-FR" sz="600" b="1" dirty="0">
              <a:solidFill>
                <a:schemeClr val="accent3"/>
              </a:solidFill>
              <a:latin typeface="Trebuchet MS"/>
              <a:cs typeface="Trebuchet MS"/>
            </a:endParaRPr>
          </a:p>
        </p:txBody>
      </p:sp>
      <p:sp>
        <p:nvSpPr>
          <p:cNvPr id="208" name="Rectangle à coins arrondis 207"/>
          <p:cNvSpPr/>
          <p:nvPr/>
        </p:nvSpPr>
        <p:spPr>
          <a:xfrm>
            <a:off x="4884581" y="4510433"/>
            <a:ext cx="427966" cy="115153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bg1"/>
                </a:solidFill>
                <a:latin typeface="Trebuchet MS"/>
                <a:cs typeface="Trebuchet MS"/>
              </a:rPr>
              <a:t>GUEST</a:t>
            </a:r>
            <a:endParaRPr lang="fr-FR" sz="6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cxnSp>
        <p:nvCxnSpPr>
          <p:cNvPr id="213" name="Connecteur en arc 212"/>
          <p:cNvCxnSpPr>
            <a:stCxn id="205" idx="2"/>
            <a:endCxn id="206" idx="0"/>
          </p:cNvCxnSpPr>
          <p:nvPr/>
        </p:nvCxnSpPr>
        <p:spPr bwMode="auto">
          <a:xfrm rot="5400000">
            <a:off x="4998198" y="3773852"/>
            <a:ext cx="427741" cy="226402"/>
          </a:xfrm>
          <a:prstGeom prst="curvedConnector3">
            <a:avLst>
              <a:gd name="adj1" fmla="val 50000"/>
            </a:avLst>
          </a:prstGeom>
          <a:ln w="25400">
            <a:solidFill>
              <a:srgbClr val="F2F2F2">
                <a:alpha val="25000"/>
              </a:srgbClr>
            </a:solidFill>
            <a:tailEnd type="none"/>
          </a:ln>
        </p:spPr>
      </p:cxnSp>
      <p:sp>
        <p:nvSpPr>
          <p:cNvPr id="216" name="Rectangle à coins arrondis 215"/>
          <p:cNvSpPr/>
          <p:nvPr/>
        </p:nvSpPr>
        <p:spPr>
          <a:xfrm>
            <a:off x="7195080" y="3958896"/>
            <a:ext cx="427908" cy="17069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500" b="1" dirty="0" smtClean="0">
                <a:solidFill>
                  <a:schemeClr val="bg1"/>
                </a:solidFill>
                <a:latin typeface="Trebuchet MS"/>
                <a:cs typeface="Trebuchet MS"/>
              </a:rPr>
              <a:t>P2P </a:t>
            </a:r>
            <a:r>
              <a:rPr lang="fr-FR" sz="500" b="1" dirty="0" err="1" smtClean="0">
                <a:solidFill>
                  <a:schemeClr val="bg1"/>
                </a:solidFill>
                <a:latin typeface="Trebuchet MS"/>
                <a:cs typeface="Trebuchet MS"/>
              </a:rPr>
              <a:t>Video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221" name="Rectangle à coins arrondis 220"/>
          <p:cNvSpPr/>
          <p:nvPr/>
        </p:nvSpPr>
        <p:spPr>
          <a:xfrm>
            <a:off x="6807158" y="4108276"/>
            <a:ext cx="343936" cy="17069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500" b="1" dirty="0" smtClean="0">
                <a:solidFill>
                  <a:schemeClr val="bg1"/>
                </a:solidFill>
                <a:latin typeface="Trebuchet MS"/>
                <a:cs typeface="Trebuchet MS"/>
              </a:rPr>
              <a:t>SFU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222" name="Rectangle à coins arrondis 221"/>
          <p:cNvSpPr/>
          <p:nvPr/>
        </p:nvSpPr>
        <p:spPr>
          <a:xfrm>
            <a:off x="5063327" y="3784288"/>
            <a:ext cx="343936" cy="17069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500" b="1" dirty="0" smtClean="0">
                <a:solidFill>
                  <a:schemeClr val="bg1"/>
                </a:solidFill>
                <a:latin typeface="Trebuchet MS"/>
                <a:cs typeface="Trebuchet MS"/>
              </a:rPr>
              <a:t>IM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227" name="ZoneTexte 226"/>
          <p:cNvSpPr txBox="1"/>
          <p:nvPr/>
        </p:nvSpPr>
        <p:spPr>
          <a:xfrm>
            <a:off x="5550260" y="3384456"/>
            <a:ext cx="46317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Profile</a:t>
            </a:r>
            <a:endParaRPr lang="fr-FR" sz="12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28" name="ZoneTexte 227"/>
          <p:cNvSpPr txBox="1"/>
          <p:nvPr/>
        </p:nvSpPr>
        <p:spPr>
          <a:xfrm>
            <a:off x="5405956" y="3541350"/>
            <a:ext cx="46317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err="1" smtClean="0">
                <a:solidFill>
                  <a:schemeClr val="bg1"/>
                </a:solidFill>
                <a:latin typeface="Trebuchet MS" pitchFamily="34" charset="0"/>
              </a:rPr>
              <a:t>Role</a:t>
            </a:r>
            <a:endParaRPr lang="fr-FR" sz="12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229" name="Connecteur en arc 228"/>
          <p:cNvCxnSpPr>
            <a:endCxn id="92" idx="1"/>
          </p:cNvCxnSpPr>
          <p:nvPr/>
        </p:nvCxnSpPr>
        <p:spPr bwMode="auto">
          <a:xfrm>
            <a:off x="7179370" y="1224102"/>
            <a:ext cx="804394" cy="388616"/>
          </a:xfrm>
          <a:prstGeom prst="curvedConnector3">
            <a:avLst>
              <a:gd name="adj1" fmla="val 50000"/>
            </a:avLst>
          </a:prstGeom>
          <a:ln w="25400">
            <a:solidFill>
              <a:srgbClr val="F2F2F2">
                <a:alpha val="25000"/>
              </a:srgbClr>
            </a:solidFill>
            <a:prstDash val="sysDash"/>
            <a:tailEnd type="none"/>
          </a:ln>
        </p:spPr>
      </p:cxnSp>
      <p:sp>
        <p:nvSpPr>
          <p:cNvPr id="247" name="Rectangle à coins arrondis 246"/>
          <p:cNvSpPr/>
          <p:nvPr/>
        </p:nvSpPr>
        <p:spPr>
          <a:xfrm>
            <a:off x="5399654" y="1868671"/>
            <a:ext cx="527795" cy="22306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chemeClr val="bg1"/>
                </a:solidFill>
                <a:latin typeface="Trebuchet MS"/>
                <a:cs typeface="Trebuchet MS"/>
              </a:rPr>
              <a:t>PRIVACY</a:t>
            </a:r>
            <a:br>
              <a:rPr lang="fr-FR" sz="600" b="1" dirty="0" smtClean="0">
                <a:solidFill>
                  <a:schemeClr val="bg1"/>
                </a:solidFill>
                <a:latin typeface="Trebuchet MS"/>
                <a:cs typeface="Trebuchet MS"/>
              </a:rPr>
            </a:br>
            <a:r>
              <a:rPr lang="fr-FR" sz="600" b="1" dirty="0" smtClean="0">
                <a:solidFill>
                  <a:schemeClr val="bg1"/>
                </a:solidFill>
                <a:latin typeface="Trebuchet MS"/>
                <a:cs typeface="Trebuchet MS"/>
              </a:rPr>
              <a:t>RULES</a:t>
            </a:r>
            <a:endParaRPr lang="fr-FR" sz="6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248" name="ZoneTexte 247"/>
          <p:cNvSpPr txBox="1"/>
          <p:nvPr/>
        </p:nvSpPr>
        <p:spPr>
          <a:xfrm>
            <a:off x="7362253" y="1269159"/>
            <a:ext cx="4386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accent5"/>
                </a:solidFill>
                <a:latin typeface="Trebuchet MS" pitchFamily="34" charset="0"/>
              </a:rPr>
              <a:t>X</a:t>
            </a:r>
            <a:endParaRPr lang="fr-FR" sz="1200" b="1" dirty="0" smtClean="0">
              <a:solidFill>
                <a:schemeClr val="accent5"/>
              </a:solidFill>
              <a:latin typeface="Trebuchet MS" pitchFamily="34" charset="0"/>
            </a:endParaRPr>
          </a:p>
        </p:txBody>
      </p:sp>
      <p:sp>
        <p:nvSpPr>
          <p:cNvPr id="251" name="Rectangle à coins arrondis 250"/>
          <p:cNvSpPr/>
          <p:nvPr/>
        </p:nvSpPr>
        <p:spPr>
          <a:xfrm>
            <a:off x="3260284" y="1038042"/>
            <a:ext cx="518271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rgbClr val="0085CA"/>
                </a:solidFill>
                <a:latin typeface="Trebuchet MS"/>
                <a:cs typeface="Trebuchet MS"/>
              </a:rPr>
              <a:t>IDENTITY</a:t>
            </a:r>
            <a:endParaRPr lang="fr-FR" sz="800" b="1" dirty="0">
              <a:solidFill>
                <a:srgbClr val="0085CA"/>
              </a:solidFill>
              <a:latin typeface="Trebuchet MS"/>
              <a:cs typeface="Trebuchet MS"/>
            </a:endParaRPr>
          </a:p>
        </p:txBody>
      </p:sp>
      <p:sp>
        <p:nvSpPr>
          <p:cNvPr id="252" name="Rectangle à coins arrondis 251"/>
          <p:cNvSpPr/>
          <p:nvPr/>
        </p:nvSpPr>
        <p:spPr>
          <a:xfrm>
            <a:off x="3396253" y="1876496"/>
            <a:ext cx="518271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rgbClr val="0085CA"/>
                </a:solidFill>
                <a:latin typeface="Trebuchet MS"/>
                <a:cs typeface="Trebuchet MS"/>
              </a:rPr>
              <a:t>IDENTITY</a:t>
            </a:r>
            <a:endParaRPr lang="fr-FR" sz="800" b="1" dirty="0">
              <a:solidFill>
                <a:srgbClr val="0085CA"/>
              </a:solidFill>
              <a:latin typeface="Trebuchet MS"/>
              <a:cs typeface="Trebuchet MS"/>
            </a:endParaRPr>
          </a:p>
        </p:txBody>
      </p:sp>
      <p:sp>
        <p:nvSpPr>
          <p:cNvPr id="253" name="Rectangle à coins arrondis 252"/>
          <p:cNvSpPr/>
          <p:nvPr/>
        </p:nvSpPr>
        <p:spPr>
          <a:xfrm>
            <a:off x="2283851" y="2140257"/>
            <a:ext cx="518271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rgbClr val="0085CA"/>
                </a:solidFill>
                <a:latin typeface="Trebuchet MS"/>
                <a:cs typeface="Trebuchet MS"/>
              </a:rPr>
              <a:t>IDENTITY</a:t>
            </a:r>
            <a:endParaRPr lang="fr-FR" sz="800" b="1" dirty="0">
              <a:solidFill>
                <a:srgbClr val="0085CA"/>
              </a:solidFill>
              <a:latin typeface="Trebuchet MS"/>
              <a:cs typeface="Trebuchet MS"/>
            </a:endParaRPr>
          </a:p>
        </p:txBody>
      </p:sp>
      <p:sp>
        <p:nvSpPr>
          <p:cNvPr id="254" name="Rectangle à coins arrondis 253"/>
          <p:cNvSpPr/>
          <p:nvPr/>
        </p:nvSpPr>
        <p:spPr>
          <a:xfrm>
            <a:off x="985589" y="2268265"/>
            <a:ext cx="518271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rgbClr val="0085CA"/>
                </a:solidFill>
                <a:latin typeface="Trebuchet MS"/>
                <a:cs typeface="Trebuchet MS"/>
              </a:rPr>
              <a:t>IDENTITY</a:t>
            </a:r>
            <a:endParaRPr lang="fr-FR" sz="800" b="1" dirty="0">
              <a:solidFill>
                <a:srgbClr val="0085CA"/>
              </a:solidFill>
              <a:latin typeface="Trebuchet MS"/>
              <a:cs typeface="Trebuchet MS"/>
            </a:endParaRPr>
          </a:p>
        </p:txBody>
      </p:sp>
      <p:sp>
        <p:nvSpPr>
          <p:cNvPr id="255" name="Rectangle à coins arrondis 254"/>
          <p:cNvSpPr/>
          <p:nvPr/>
        </p:nvSpPr>
        <p:spPr>
          <a:xfrm>
            <a:off x="1087281" y="1429506"/>
            <a:ext cx="518271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rgbClr val="0085CA"/>
                </a:solidFill>
                <a:latin typeface="Trebuchet MS"/>
                <a:cs typeface="Trebuchet MS"/>
              </a:rPr>
              <a:t>IDENTITY</a:t>
            </a:r>
            <a:endParaRPr lang="fr-FR" sz="800" b="1" dirty="0">
              <a:solidFill>
                <a:srgbClr val="0085CA"/>
              </a:solidFill>
              <a:latin typeface="Trebuchet MS"/>
              <a:cs typeface="Trebuchet MS"/>
            </a:endParaRPr>
          </a:p>
        </p:txBody>
      </p:sp>
      <p:sp>
        <p:nvSpPr>
          <p:cNvPr id="259" name="Rectangle à coins arrondis 258"/>
          <p:cNvSpPr/>
          <p:nvPr/>
        </p:nvSpPr>
        <p:spPr>
          <a:xfrm>
            <a:off x="1313515" y="1085716"/>
            <a:ext cx="518271" cy="1188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rgbClr val="0085CA"/>
                </a:solidFill>
                <a:latin typeface="Trebuchet MS"/>
                <a:cs typeface="Trebuchet MS"/>
              </a:rPr>
              <a:t>IDENTITY</a:t>
            </a:r>
            <a:endParaRPr lang="fr-FR" sz="800" b="1" dirty="0">
              <a:solidFill>
                <a:srgbClr val="0085CA"/>
              </a:solidFill>
              <a:latin typeface="Trebuchet MS"/>
              <a:cs typeface="Trebuchet MS"/>
            </a:endParaRPr>
          </a:p>
        </p:txBody>
      </p:sp>
      <p:sp>
        <p:nvSpPr>
          <p:cNvPr id="261" name="Rectangle à coins arrondis 260"/>
          <p:cNvSpPr/>
          <p:nvPr/>
        </p:nvSpPr>
        <p:spPr>
          <a:xfrm>
            <a:off x="3909862" y="2175790"/>
            <a:ext cx="284254" cy="103078"/>
          </a:xfrm>
          <a:prstGeom prst="roundRect">
            <a:avLst/>
          </a:prstGeom>
          <a:solidFill>
            <a:schemeClr val="accent5">
              <a:alpha val="54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bg1"/>
                </a:solidFill>
                <a:latin typeface="Trebuchet MS"/>
                <a:cs typeface="Trebuchet MS"/>
              </a:rPr>
              <a:t>ID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262" name="Rectangle à coins arrondis 261"/>
          <p:cNvSpPr/>
          <p:nvPr/>
        </p:nvSpPr>
        <p:spPr>
          <a:xfrm>
            <a:off x="3964284" y="2012303"/>
            <a:ext cx="402467" cy="107822"/>
          </a:xfrm>
          <a:prstGeom prst="round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rgbClr val="0085CA"/>
                </a:solidFill>
                <a:latin typeface="Trebuchet MS"/>
                <a:cs typeface="Trebuchet MS"/>
              </a:rPr>
              <a:t>Name</a:t>
            </a:r>
            <a:endParaRPr lang="fr-FR" sz="800" b="1" dirty="0">
              <a:solidFill>
                <a:srgbClr val="0085CA"/>
              </a:solidFill>
              <a:latin typeface="Trebuchet MS"/>
              <a:cs typeface="Trebuchet MS"/>
            </a:endParaRPr>
          </a:p>
        </p:txBody>
      </p:sp>
      <p:sp>
        <p:nvSpPr>
          <p:cNvPr id="263" name="Rectangle à coins arrondis 262"/>
          <p:cNvSpPr/>
          <p:nvPr/>
        </p:nvSpPr>
        <p:spPr>
          <a:xfrm>
            <a:off x="3448552" y="2210833"/>
            <a:ext cx="402467" cy="107822"/>
          </a:xfrm>
          <a:prstGeom prst="round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dirty="0" smtClean="0">
                <a:solidFill>
                  <a:srgbClr val="0085CA"/>
                </a:solidFill>
                <a:latin typeface="Trebuchet MS"/>
                <a:cs typeface="Trebuchet MS"/>
              </a:rPr>
              <a:t>Login</a:t>
            </a:r>
            <a:endParaRPr lang="fr-FR" sz="800" b="1" dirty="0">
              <a:solidFill>
                <a:srgbClr val="0085CA"/>
              </a:solidFill>
              <a:latin typeface="Trebuchet MS"/>
              <a:cs typeface="Trebuchet MS"/>
            </a:endParaRPr>
          </a:p>
        </p:txBody>
      </p:sp>
      <p:grpSp>
        <p:nvGrpSpPr>
          <p:cNvPr id="98" name="Group 12"/>
          <p:cNvGrpSpPr/>
          <p:nvPr/>
        </p:nvGrpSpPr>
        <p:grpSpPr>
          <a:xfrm>
            <a:off x="86400" y="73297"/>
            <a:ext cx="576232" cy="576232"/>
            <a:chOff x="4871871" y="2527436"/>
            <a:chExt cx="576232" cy="576232"/>
          </a:xfrm>
        </p:grpSpPr>
        <p:sp>
          <p:nvSpPr>
            <p:cNvPr id="99" name="Oval 28"/>
            <p:cNvSpPr/>
            <p:nvPr/>
          </p:nvSpPr>
          <p:spPr>
            <a:xfrm>
              <a:off x="4871871" y="2527436"/>
              <a:ext cx="576232" cy="576232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00" name="Oval 29"/>
            <p:cNvSpPr/>
            <p:nvPr/>
          </p:nvSpPr>
          <p:spPr>
            <a:xfrm>
              <a:off x="4935302" y="2590867"/>
              <a:ext cx="448718" cy="448718"/>
            </a:xfrm>
            <a:prstGeom prst="ellipse">
              <a:avLst/>
            </a:prstGeom>
            <a:solidFill>
              <a:schemeClr val="accent3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01" name="TextBox 30"/>
            <p:cNvSpPr txBox="1"/>
            <p:nvPr/>
          </p:nvSpPr>
          <p:spPr>
            <a:xfrm>
              <a:off x="4887542" y="260729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3</a:t>
              </a:r>
            </a:p>
          </p:txBody>
        </p:sp>
      </p:grpSp>
      <p:sp>
        <p:nvSpPr>
          <p:cNvPr id="102" name="Rectangle à coins arrondis 101"/>
          <p:cNvSpPr/>
          <p:nvPr/>
        </p:nvSpPr>
        <p:spPr>
          <a:xfrm>
            <a:off x="4154403" y="941244"/>
            <a:ext cx="284254" cy="103078"/>
          </a:xfrm>
          <a:prstGeom prst="roundRect">
            <a:avLst/>
          </a:prstGeom>
          <a:solidFill>
            <a:schemeClr val="accent5">
              <a:alpha val="54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bg1"/>
                </a:solidFill>
                <a:latin typeface="Trebuchet MS"/>
                <a:cs typeface="Trebuchet MS"/>
              </a:rPr>
              <a:t>ID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03" name="Rectangle à coins arrondis 102"/>
          <p:cNvSpPr/>
          <p:nvPr/>
        </p:nvSpPr>
        <p:spPr>
          <a:xfrm>
            <a:off x="757016" y="908871"/>
            <a:ext cx="284254" cy="103078"/>
          </a:xfrm>
          <a:prstGeom prst="roundRect">
            <a:avLst/>
          </a:prstGeom>
          <a:solidFill>
            <a:schemeClr val="accent5">
              <a:alpha val="54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bg1"/>
                </a:solidFill>
                <a:latin typeface="Trebuchet MS"/>
                <a:cs typeface="Trebuchet MS"/>
              </a:rPr>
              <a:t>ID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04" name="Rectangle à coins arrondis 103"/>
          <p:cNvSpPr/>
          <p:nvPr/>
        </p:nvSpPr>
        <p:spPr>
          <a:xfrm>
            <a:off x="630019" y="1634001"/>
            <a:ext cx="284254" cy="103078"/>
          </a:xfrm>
          <a:prstGeom prst="roundRect">
            <a:avLst/>
          </a:prstGeom>
          <a:solidFill>
            <a:schemeClr val="accent5">
              <a:alpha val="54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bg1"/>
                </a:solidFill>
                <a:latin typeface="Trebuchet MS"/>
                <a:cs typeface="Trebuchet MS"/>
              </a:rPr>
              <a:t>ID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05" name="Rectangle à coins arrondis 104"/>
          <p:cNvSpPr/>
          <p:nvPr/>
        </p:nvSpPr>
        <p:spPr>
          <a:xfrm>
            <a:off x="537280" y="2454836"/>
            <a:ext cx="284254" cy="103078"/>
          </a:xfrm>
          <a:prstGeom prst="roundRect">
            <a:avLst/>
          </a:prstGeom>
          <a:solidFill>
            <a:schemeClr val="accent5">
              <a:alpha val="54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bg1"/>
                </a:solidFill>
                <a:latin typeface="Trebuchet MS"/>
                <a:cs typeface="Trebuchet MS"/>
              </a:rPr>
              <a:t>ID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06" name="Rectangle à coins arrondis 105"/>
          <p:cNvSpPr/>
          <p:nvPr/>
        </p:nvSpPr>
        <p:spPr>
          <a:xfrm>
            <a:off x="1936392" y="1773418"/>
            <a:ext cx="284254" cy="103078"/>
          </a:xfrm>
          <a:prstGeom prst="roundRect">
            <a:avLst/>
          </a:prstGeom>
          <a:solidFill>
            <a:schemeClr val="accent5">
              <a:alpha val="54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bg1"/>
                </a:solidFill>
                <a:latin typeface="Trebuchet MS"/>
                <a:cs typeface="Trebuchet MS"/>
              </a:rPr>
              <a:t>ID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07" name="Rectangle à coins arrondis 106"/>
          <p:cNvSpPr/>
          <p:nvPr/>
        </p:nvSpPr>
        <p:spPr>
          <a:xfrm>
            <a:off x="2451748" y="2536674"/>
            <a:ext cx="284254" cy="103078"/>
          </a:xfrm>
          <a:prstGeom prst="roundRect">
            <a:avLst/>
          </a:prstGeom>
          <a:solidFill>
            <a:schemeClr val="accent5">
              <a:alpha val="54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b="1" smtClean="0">
                <a:solidFill>
                  <a:schemeClr val="bg1"/>
                </a:solidFill>
                <a:latin typeface="Trebuchet MS"/>
                <a:cs typeface="Trebuchet MS"/>
              </a:rPr>
              <a:t>ID</a:t>
            </a:r>
            <a:endParaRPr lang="fr-FR" sz="800" b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1285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65138" y="176109"/>
            <a:ext cx="6331466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DEVELOPERS SANDBOXED PLATFORM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sp>
        <p:nvSpPr>
          <p:cNvPr id="6" name="Freeform 72"/>
          <p:cNvSpPr>
            <a:spLocks noEditPoints="1"/>
          </p:cNvSpPr>
          <p:nvPr/>
        </p:nvSpPr>
        <p:spPr bwMode="auto">
          <a:xfrm>
            <a:off x="1055209" y="723561"/>
            <a:ext cx="2487288" cy="1435437"/>
          </a:xfrm>
          <a:custGeom>
            <a:avLst/>
            <a:gdLst/>
            <a:ahLst/>
            <a:cxnLst>
              <a:cxn ang="0">
                <a:pos x="869" y="243"/>
              </a:cxn>
              <a:cxn ang="0">
                <a:pos x="737" y="147"/>
              </a:cxn>
              <a:cxn ang="0">
                <a:pos x="588" y="0"/>
              </a:cxn>
              <a:cxn ang="0">
                <a:pos x="453" y="87"/>
              </a:cxn>
              <a:cxn ang="0">
                <a:pos x="361" y="64"/>
              </a:cxn>
              <a:cxn ang="0">
                <a:pos x="305" y="72"/>
              </a:cxn>
              <a:cxn ang="0">
                <a:pos x="320" y="115"/>
              </a:cxn>
              <a:cxn ang="0">
                <a:pos x="250" y="185"/>
              </a:cxn>
              <a:cxn ang="0">
                <a:pos x="195" y="159"/>
              </a:cxn>
              <a:cxn ang="0">
                <a:pos x="168" y="257"/>
              </a:cxn>
              <a:cxn ang="0">
                <a:pos x="170" y="277"/>
              </a:cxn>
              <a:cxn ang="0">
                <a:pos x="0" y="424"/>
              </a:cxn>
              <a:cxn ang="0">
                <a:pos x="264" y="581"/>
              </a:cxn>
              <a:cxn ang="0">
                <a:pos x="431" y="545"/>
              </a:cxn>
              <a:cxn ang="0">
                <a:pos x="592" y="635"/>
              </a:cxn>
              <a:cxn ang="0">
                <a:pos x="758" y="534"/>
              </a:cxn>
              <a:cxn ang="0">
                <a:pos x="776" y="535"/>
              </a:cxn>
              <a:cxn ang="0">
                <a:pos x="811" y="533"/>
              </a:cxn>
              <a:cxn ang="0">
                <a:pos x="844" y="535"/>
              </a:cxn>
              <a:cxn ang="0">
                <a:pos x="1088" y="388"/>
              </a:cxn>
              <a:cxn ang="0">
                <a:pos x="869" y="243"/>
              </a:cxn>
              <a:cxn ang="0">
                <a:pos x="250" y="141"/>
              </a:cxn>
              <a:cxn ang="0">
                <a:pos x="278" y="113"/>
              </a:cxn>
              <a:cxn ang="0">
                <a:pos x="250" y="84"/>
              </a:cxn>
              <a:cxn ang="0">
                <a:pos x="221" y="113"/>
              </a:cxn>
              <a:cxn ang="0">
                <a:pos x="250" y="141"/>
              </a:cxn>
            </a:cxnLst>
            <a:rect l="0" t="0" r="r" b="b"/>
            <a:pathLst>
              <a:path w="1088" h="635">
                <a:moveTo>
                  <a:pt x="869" y="243"/>
                </a:moveTo>
                <a:cubicBezTo>
                  <a:pt x="848" y="189"/>
                  <a:pt x="797" y="150"/>
                  <a:pt x="737" y="147"/>
                </a:cubicBezTo>
                <a:cubicBezTo>
                  <a:pt x="736" y="66"/>
                  <a:pt x="670" y="0"/>
                  <a:pt x="588" y="0"/>
                </a:cubicBezTo>
                <a:cubicBezTo>
                  <a:pt x="528" y="0"/>
                  <a:pt x="477" y="36"/>
                  <a:pt x="453" y="87"/>
                </a:cubicBezTo>
                <a:cubicBezTo>
                  <a:pt x="426" y="72"/>
                  <a:pt x="394" y="64"/>
                  <a:pt x="361" y="64"/>
                </a:cubicBezTo>
                <a:cubicBezTo>
                  <a:pt x="342" y="64"/>
                  <a:pt x="323" y="67"/>
                  <a:pt x="305" y="72"/>
                </a:cubicBezTo>
                <a:cubicBezTo>
                  <a:pt x="314" y="84"/>
                  <a:pt x="320" y="99"/>
                  <a:pt x="320" y="115"/>
                </a:cubicBezTo>
                <a:cubicBezTo>
                  <a:pt x="320" y="154"/>
                  <a:pt x="288" y="185"/>
                  <a:pt x="250" y="185"/>
                </a:cubicBezTo>
                <a:cubicBezTo>
                  <a:pt x="228" y="185"/>
                  <a:pt x="208" y="175"/>
                  <a:pt x="195" y="159"/>
                </a:cubicBezTo>
                <a:cubicBezTo>
                  <a:pt x="178" y="187"/>
                  <a:pt x="168" y="221"/>
                  <a:pt x="168" y="257"/>
                </a:cubicBezTo>
                <a:cubicBezTo>
                  <a:pt x="168" y="263"/>
                  <a:pt x="169" y="270"/>
                  <a:pt x="170" y="277"/>
                </a:cubicBezTo>
                <a:cubicBezTo>
                  <a:pt x="71" y="300"/>
                  <a:pt x="0" y="357"/>
                  <a:pt x="0" y="424"/>
                </a:cubicBezTo>
                <a:cubicBezTo>
                  <a:pt x="0" y="511"/>
                  <a:pt x="118" y="581"/>
                  <a:pt x="264" y="581"/>
                </a:cubicBezTo>
                <a:cubicBezTo>
                  <a:pt x="327" y="581"/>
                  <a:pt x="385" y="568"/>
                  <a:pt x="431" y="545"/>
                </a:cubicBezTo>
                <a:cubicBezTo>
                  <a:pt x="460" y="598"/>
                  <a:pt x="521" y="635"/>
                  <a:pt x="592" y="635"/>
                </a:cubicBezTo>
                <a:cubicBezTo>
                  <a:pt x="667" y="635"/>
                  <a:pt x="732" y="593"/>
                  <a:pt x="758" y="534"/>
                </a:cubicBezTo>
                <a:cubicBezTo>
                  <a:pt x="764" y="535"/>
                  <a:pt x="770" y="535"/>
                  <a:pt x="776" y="535"/>
                </a:cubicBezTo>
                <a:cubicBezTo>
                  <a:pt x="788" y="535"/>
                  <a:pt x="800" y="534"/>
                  <a:pt x="811" y="533"/>
                </a:cubicBezTo>
                <a:cubicBezTo>
                  <a:pt x="822" y="534"/>
                  <a:pt x="833" y="535"/>
                  <a:pt x="844" y="535"/>
                </a:cubicBezTo>
                <a:cubicBezTo>
                  <a:pt x="979" y="535"/>
                  <a:pt x="1088" y="469"/>
                  <a:pt x="1088" y="388"/>
                </a:cubicBezTo>
                <a:cubicBezTo>
                  <a:pt x="1088" y="312"/>
                  <a:pt x="992" y="250"/>
                  <a:pt x="869" y="243"/>
                </a:cubicBezTo>
                <a:close/>
                <a:moveTo>
                  <a:pt x="250" y="141"/>
                </a:moveTo>
                <a:cubicBezTo>
                  <a:pt x="266" y="141"/>
                  <a:pt x="278" y="129"/>
                  <a:pt x="278" y="113"/>
                </a:cubicBezTo>
                <a:cubicBezTo>
                  <a:pt x="278" y="97"/>
                  <a:pt x="266" y="84"/>
                  <a:pt x="250" y="84"/>
                </a:cubicBezTo>
                <a:cubicBezTo>
                  <a:pt x="234" y="84"/>
                  <a:pt x="221" y="97"/>
                  <a:pt x="221" y="113"/>
                </a:cubicBezTo>
                <a:cubicBezTo>
                  <a:pt x="221" y="129"/>
                  <a:pt x="234" y="141"/>
                  <a:pt x="250" y="141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308782" y="1183615"/>
            <a:ext cx="19801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DEVELOPERS SANDBOXED </a:t>
            </a:r>
          </a:p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PLATFORM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8" name="Freeform 72"/>
          <p:cNvSpPr>
            <a:spLocks noEditPoints="1"/>
          </p:cNvSpPr>
          <p:nvPr/>
        </p:nvSpPr>
        <p:spPr bwMode="auto">
          <a:xfrm>
            <a:off x="5568091" y="723561"/>
            <a:ext cx="2487288" cy="1435437"/>
          </a:xfrm>
          <a:custGeom>
            <a:avLst/>
            <a:gdLst/>
            <a:ahLst/>
            <a:cxnLst>
              <a:cxn ang="0">
                <a:pos x="869" y="243"/>
              </a:cxn>
              <a:cxn ang="0">
                <a:pos x="737" y="147"/>
              </a:cxn>
              <a:cxn ang="0">
                <a:pos x="588" y="0"/>
              </a:cxn>
              <a:cxn ang="0">
                <a:pos x="453" y="87"/>
              </a:cxn>
              <a:cxn ang="0">
                <a:pos x="361" y="64"/>
              </a:cxn>
              <a:cxn ang="0">
                <a:pos x="305" y="72"/>
              </a:cxn>
              <a:cxn ang="0">
                <a:pos x="320" y="115"/>
              </a:cxn>
              <a:cxn ang="0">
                <a:pos x="250" y="185"/>
              </a:cxn>
              <a:cxn ang="0">
                <a:pos x="195" y="159"/>
              </a:cxn>
              <a:cxn ang="0">
                <a:pos x="168" y="257"/>
              </a:cxn>
              <a:cxn ang="0">
                <a:pos x="170" y="277"/>
              </a:cxn>
              <a:cxn ang="0">
                <a:pos x="0" y="424"/>
              </a:cxn>
              <a:cxn ang="0">
                <a:pos x="264" y="581"/>
              </a:cxn>
              <a:cxn ang="0">
                <a:pos x="431" y="545"/>
              </a:cxn>
              <a:cxn ang="0">
                <a:pos x="592" y="635"/>
              </a:cxn>
              <a:cxn ang="0">
                <a:pos x="758" y="534"/>
              </a:cxn>
              <a:cxn ang="0">
                <a:pos x="776" y="535"/>
              </a:cxn>
              <a:cxn ang="0">
                <a:pos x="811" y="533"/>
              </a:cxn>
              <a:cxn ang="0">
                <a:pos x="844" y="535"/>
              </a:cxn>
              <a:cxn ang="0">
                <a:pos x="1088" y="388"/>
              </a:cxn>
              <a:cxn ang="0">
                <a:pos x="869" y="243"/>
              </a:cxn>
              <a:cxn ang="0">
                <a:pos x="250" y="141"/>
              </a:cxn>
              <a:cxn ang="0">
                <a:pos x="278" y="113"/>
              </a:cxn>
              <a:cxn ang="0">
                <a:pos x="250" y="84"/>
              </a:cxn>
              <a:cxn ang="0">
                <a:pos x="221" y="113"/>
              </a:cxn>
              <a:cxn ang="0">
                <a:pos x="250" y="141"/>
              </a:cxn>
            </a:cxnLst>
            <a:rect l="0" t="0" r="r" b="b"/>
            <a:pathLst>
              <a:path w="1088" h="635">
                <a:moveTo>
                  <a:pt x="869" y="243"/>
                </a:moveTo>
                <a:cubicBezTo>
                  <a:pt x="848" y="189"/>
                  <a:pt x="797" y="150"/>
                  <a:pt x="737" y="147"/>
                </a:cubicBezTo>
                <a:cubicBezTo>
                  <a:pt x="736" y="66"/>
                  <a:pt x="670" y="0"/>
                  <a:pt x="588" y="0"/>
                </a:cubicBezTo>
                <a:cubicBezTo>
                  <a:pt x="528" y="0"/>
                  <a:pt x="477" y="36"/>
                  <a:pt x="453" y="87"/>
                </a:cubicBezTo>
                <a:cubicBezTo>
                  <a:pt x="426" y="72"/>
                  <a:pt x="394" y="64"/>
                  <a:pt x="361" y="64"/>
                </a:cubicBezTo>
                <a:cubicBezTo>
                  <a:pt x="342" y="64"/>
                  <a:pt x="323" y="67"/>
                  <a:pt x="305" y="72"/>
                </a:cubicBezTo>
                <a:cubicBezTo>
                  <a:pt x="314" y="84"/>
                  <a:pt x="320" y="99"/>
                  <a:pt x="320" y="115"/>
                </a:cubicBezTo>
                <a:cubicBezTo>
                  <a:pt x="320" y="154"/>
                  <a:pt x="288" y="185"/>
                  <a:pt x="250" y="185"/>
                </a:cubicBezTo>
                <a:cubicBezTo>
                  <a:pt x="228" y="185"/>
                  <a:pt x="208" y="175"/>
                  <a:pt x="195" y="159"/>
                </a:cubicBezTo>
                <a:cubicBezTo>
                  <a:pt x="178" y="187"/>
                  <a:pt x="168" y="221"/>
                  <a:pt x="168" y="257"/>
                </a:cubicBezTo>
                <a:cubicBezTo>
                  <a:pt x="168" y="263"/>
                  <a:pt x="169" y="270"/>
                  <a:pt x="170" y="277"/>
                </a:cubicBezTo>
                <a:cubicBezTo>
                  <a:pt x="71" y="300"/>
                  <a:pt x="0" y="357"/>
                  <a:pt x="0" y="424"/>
                </a:cubicBezTo>
                <a:cubicBezTo>
                  <a:pt x="0" y="511"/>
                  <a:pt x="118" y="581"/>
                  <a:pt x="264" y="581"/>
                </a:cubicBezTo>
                <a:cubicBezTo>
                  <a:pt x="327" y="581"/>
                  <a:pt x="385" y="568"/>
                  <a:pt x="431" y="545"/>
                </a:cubicBezTo>
                <a:cubicBezTo>
                  <a:pt x="460" y="598"/>
                  <a:pt x="521" y="635"/>
                  <a:pt x="592" y="635"/>
                </a:cubicBezTo>
                <a:cubicBezTo>
                  <a:pt x="667" y="635"/>
                  <a:pt x="732" y="593"/>
                  <a:pt x="758" y="534"/>
                </a:cubicBezTo>
                <a:cubicBezTo>
                  <a:pt x="764" y="535"/>
                  <a:pt x="770" y="535"/>
                  <a:pt x="776" y="535"/>
                </a:cubicBezTo>
                <a:cubicBezTo>
                  <a:pt x="788" y="535"/>
                  <a:pt x="800" y="534"/>
                  <a:pt x="811" y="533"/>
                </a:cubicBezTo>
                <a:cubicBezTo>
                  <a:pt x="822" y="534"/>
                  <a:pt x="833" y="535"/>
                  <a:pt x="844" y="535"/>
                </a:cubicBezTo>
                <a:cubicBezTo>
                  <a:pt x="979" y="535"/>
                  <a:pt x="1088" y="469"/>
                  <a:pt x="1088" y="388"/>
                </a:cubicBezTo>
                <a:cubicBezTo>
                  <a:pt x="1088" y="312"/>
                  <a:pt x="992" y="250"/>
                  <a:pt x="869" y="243"/>
                </a:cubicBezTo>
                <a:close/>
                <a:moveTo>
                  <a:pt x="250" y="141"/>
                </a:moveTo>
                <a:cubicBezTo>
                  <a:pt x="266" y="141"/>
                  <a:pt x="278" y="129"/>
                  <a:pt x="278" y="113"/>
                </a:cubicBezTo>
                <a:cubicBezTo>
                  <a:pt x="278" y="97"/>
                  <a:pt x="266" y="84"/>
                  <a:pt x="250" y="84"/>
                </a:cubicBezTo>
                <a:cubicBezTo>
                  <a:pt x="234" y="84"/>
                  <a:pt x="221" y="97"/>
                  <a:pt x="221" y="113"/>
                </a:cubicBezTo>
                <a:cubicBezTo>
                  <a:pt x="221" y="129"/>
                  <a:pt x="234" y="141"/>
                  <a:pt x="250" y="141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821664" y="1183615"/>
            <a:ext cx="1980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RAINBOW </a:t>
            </a:r>
          </a:p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PLATFORM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0" name="Straight Connector 112"/>
          <p:cNvSpPr/>
          <p:nvPr/>
        </p:nvSpPr>
        <p:spPr>
          <a:xfrm flipH="1" flipV="1">
            <a:off x="4559298" y="1209733"/>
            <a:ext cx="46778" cy="3657600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1" name="ZoneTexte 10"/>
          <p:cNvSpPr txBox="1"/>
          <p:nvPr/>
        </p:nvSpPr>
        <p:spPr>
          <a:xfrm>
            <a:off x="945875" y="2299837"/>
            <a:ext cx="27059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Limited to </a:t>
            </a:r>
            <a:r>
              <a:rPr lang="fr-FR" sz="1200" b="1" dirty="0" err="1" smtClean="0">
                <a:solidFill>
                  <a:srgbClr val="FFFFFF"/>
                </a:solidFill>
                <a:latin typeface="Trebuchet MS" pitchFamily="34" charset="0"/>
              </a:rPr>
              <a:t>developers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5564665" y="2299836"/>
            <a:ext cx="27059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End-</a:t>
            </a:r>
            <a:r>
              <a:rPr lang="fr-FR" sz="1200" b="1" dirty="0" err="1" smtClean="0">
                <a:solidFill>
                  <a:srgbClr val="FFFFFF"/>
                </a:solidFill>
                <a:latin typeface="Trebuchet MS" pitchFamily="34" charset="0"/>
              </a:rPr>
              <a:t>Customers</a:t>
            </a: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 Rainbow </a:t>
            </a:r>
            <a:r>
              <a:rPr lang="fr-FR" sz="1200" b="1" dirty="0" err="1" smtClean="0">
                <a:solidFill>
                  <a:srgbClr val="FFFFFF"/>
                </a:solidFill>
                <a:latin typeface="Trebuchet MS" pitchFamily="34" charset="0"/>
              </a:rPr>
              <a:t>account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945875" y="2651020"/>
            <a:ext cx="27059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Limited to basic Rainbow services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5564665" y="2651020"/>
            <a:ext cx="27059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Full Rainbow services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945875" y="3002203"/>
            <a:ext cx="27059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Free of Charge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5564664" y="3002202"/>
            <a:ext cx="27059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200" b="1" dirty="0" err="1" smtClean="0">
                <a:solidFill>
                  <a:srgbClr val="FFFFFF"/>
                </a:solidFill>
                <a:latin typeface="Trebuchet MS" pitchFamily="34" charset="0"/>
              </a:rPr>
              <a:t>Fees</a:t>
            </a: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1200" b="1" dirty="0" err="1" smtClean="0">
                <a:solidFill>
                  <a:srgbClr val="FFFFFF"/>
                </a:solidFill>
                <a:latin typeface="Trebuchet MS" pitchFamily="34" charset="0"/>
              </a:rPr>
              <a:t>depending</a:t>
            </a: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 API usage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430928" y="3624797"/>
            <a:ext cx="3748472" cy="24622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1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developer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account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with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company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admin right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1181994" y="4733525"/>
            <a:ext cx="2233716" cy="246221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Special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configuration on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demand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2648989" y="4149287"/>
            <a:ext cx="16214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fr-FR" sz="700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Others</a:t>
            </a:r>
            <a:r>
              <a:rPr lang="fr-FR" sz="7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 test </a:t>
            </a:r>
            <a:r>
              <a:rPr lang="fr-FR" sz="700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accounts</a:t>
            </a:r>
            <a:r>
              <a:rPr lang="fr-FR" sz="7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 </a:t>
            </a:r>
            <a:r>
              <a:rPr lang="fr-FR" sz="700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can</a:t>
            </a:r>
            <a:r>
              <a:rPr lang="fr-FR" sz="7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 </a:t>
            </a:r>
            <a:r>
              <a:rPr lang="fr-FR" sz="700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be</a:t>
            </a:r>
            <a:r>
              <a:rPr lang="fr-FR" sz="7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 </a:t>
            </a:r>
            <a:r>
              <a:rPr lang="fr-FR" sz="700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created</a:t>
            </a:r>
            <a:r>
              <a:rPr lang="fr-FR" sz="7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 in </a:t>
            </a:r>
            <a:r>
              <a:rPr lang="fr-FR" sz="700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that</a:t>
            </a:r>
            <a:r>
              <a:rPr lang="fr-FR" sz="7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 </a:t>
            </a:r>
            <a:r>
              <a:rPr lang="fr-FR" sz="700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Trebuchet MS" pitchFamily="34" charset="0"/>
              </a:rPr>
              <a:t>company</a:t>
            </a:r>
            <a:endParaRPr lang="fr-FR" sz="700" i="1" dirty="0" smtClean="0">
              <a:solidFill>
                <a:schemeClr val="accent4">
                  <a:lumMod val="20000"/>
                  <a:lumOff val="80000"/>
                </a:schemeClr>
              </a:solidFill>
              <a:latin typeface="Trebuchet MS" pitchFamily="34" charset="0"/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430928" y="3944956"/>
            <a:ext cx="3748472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1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private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company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grpSp>
        <p:nvGrpSpPr>
          <p:cNvPr id="30" name="Group 12"/>
          <p:cNvGrpSpPr/>
          <p:nvPr/>
        </p:nvGrpSpPr>
        <p:grpSpPr>
          <a:xfrm>
            <a:off x="86400" y="73297"/>
            <a:ext cx="576232" cy="576232"/>
            <a:chOff x="4871871" y="2527436"/>
            <a:chExt cx="576232" cy="576232"/>
          </a:xfrm>
        </p:grpSpPr>
        <p:sp>
          <p:nvSpPr>
            <p:cNvPr id="31" name="Oval 28"/>
            <p:cNvSpPr/>
            <p:nvPr/>
          </p:nvSpPr>
          <p:spPr>
            <a:xfrm>
              <a:off x="4871871" y="2527436"/>
              <a:ext cx="576232" cy="576232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2" name="Oval 29"/>
            <p:cNvSpPr/>
            <p:nvPr/>
          </p:nvSpPr>
          <p:spPr>
            <a:xfrm>
              <a:off x="4935302" y="2590867"/>
              <a:ext cx="448718" cy="448718"/>
            </a:xfrm>
            <a:prstGeom prst="ellipse">
              <a:avLst/>
            </a:prstGeom>
            <a:solidFill>
              <a:schemeClr val="accent3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3" name="TextBox 30"/>
            <p:cNvSpPr txBox="1"/>
            <p:nvPr/>
          </p:nvSpPr>
          <p:spPr>
            <a:xfrm>
              <a:off x="4887542" y="260729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1130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58552" y="170260"/>
            <a:ext cx="4052804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SECURED OPENNESS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sp>
        <p:nvSpPr>
          <p:cNvPr id="8" name="Freeform 72"/>
          <p:cNvSpPr>
            <a:spLocks noEditPoints="1"/>
          </p:cNvSpPr>
          <p:nvPr/>
        </p:nvSpPr>
        <p:spPr bwMode="auto">
          <a:xfrm>
            <a:off x="5634836" y="3159776"/>
            <a:ext cx="2487288" cy="1435437"/>
          </a:xfrm>
          <a:custGeom>
            <a:avLst/>
            <a:gdLst/>
            <a:ahLst/>
            <a:cxnLst>
              <a:cxn ang="0">
                <a:pos x="869" y="243"/>
              </a:cxn>
              <a:cxn ang="0">
                <a:pos x="737" y="147"/>
              </a:cxn>
              <a:cxn ang="0">
                <a:pos x="588" y="0"/>
              </a:cxn>
              <a:cxn ang="0">
                <a:pos x="453" y="87"/>
              </a:cxn>
              <a:cxn ang="0">
                <a:pos x="361" y="64"/>
              </a:cxn>
              <a:cxn ang="0">
                <a:pos x="305" y="72"/>
              </a:cxn>
              <a:cxn ang="0">
                <a:pos x="320" y="115"/>
              </a:cxn>
              <a:cxn ang="0">
                <a:pos x="250" y="185"/>
              </a:cxn>
              <a:cxn ang="0">
                <a:pos x="195" y="159"/>
              </a:cxn>
              <a:cxn ang="0">
                <a:pos x="168" y="257"/>
              </a:cxn>
              <a:cxn ang="0">
                <a:pos x="170" y="277"/>
              </a:cxn>
              <a:cxn ang="0">
                <a:pos x="0" y="424"/>
              </a:cxn>
              <a:cxn ang="0">
                <a:pos x="264" y="581"/>
              </a:cxn>
              <a:cxn ang="0">
                <a:pos x="431" y="545"/>
              </a:cxn>
              <a:cxn ang="0">
                <a:pos x="592" y="635"/>
              </a:cxn>
              <a:cxn ang="0">
                <a:pos x="758" y="534"/>
              </a:cxn>
              <a:cxn ang="0">
                <a:pos x="776" y="535"/>
              </a:cxn>
              <a:cxn ang="0">
                <a:pos x="811" y="533"/>
              </a:cxn>
              <a:cxn ang="0">
                <a:pos x="844" y="535"/>
              </a:cxn>
              <a:cxn ang="0">
                <a:pos x="1088" y="388"/>
              </a:cxn>
              <a:cxn ang="0">
                <a:pos x="869" y="243"/>
              </a:cxn>
              <a:cxn ang="0">
                <a:pos x="250" y="141"/>
              </a:cxn>
              <a:cxn ang="0">
                <a:pos x="278" y="113"/>
              </a:cxn>
              <a:cxn ang="0">
                <a:pos x="250" y="84"/>
              </a:cxn>
              <a:cxn ang="0">
                <a:pos x="221" y="113"/>
              </a:cxn>
              <a:cxn ang="0">
                <a:pos x="250" y="141"/>
              </a:cxn>
            </a:cxnLst>
            <a:rect l="0" t="0" r="r" b="b"/>
            <a:pathLst>
              <a:path w="1088" h="635">
                <a:moveTo>
                  <a:pt x="869" y="243"/>
                </a:moveTo>
                <a:cubicBezTo>
                  <a:pt x="848" y="189"/>
                  <a:pt x="797" y="150"/>
                  <a:pt x="737" y="147"/>
                </a:cubicBezTo>
                <a:cubicBezTo>
                  <a:pt x="736" y="66"/>
                  <a:pt x="670" y="0"/>
                  <a:pt x="588" y="0"/>
                </a:cubicBezTo>
                <a:cubicBezTo>
                  <a:pt x="528" y="0"/>
                  <a:pt x="477" y="36"/>
                  <a:pt x="453" y="87"/>
                </a:cubicBezTo>
                <a:cubicBezTo>
                  <a:pt x="426" y="72"/>
                  <a:pt x="394" y="64"/>
                  <a:pt x="361" y="64"/>
                </a:cubicBezTo>
                <a:cubicBezTo>
                  <a:pt x="342" y="64"/>
                  <a:pt x="323" y="67"/>
                  <a:pt x="305" y="72"/>
                </a:cubicBezTo>
                <a:cubicBezTo>
                  <a:pt x="314" y="84"/>
                  <a:pt x="320" y="99"/>
                  <a:pt x="320" y="115"/>
                </a:cubicBezTo>
                <a:cubicBezTo>
                  <a:pt x="320" y="154"/>
                  <a:pt x="288" y="185"/>
                  <a:pt x="250" y="185"/>
                </a:cubicBezTo>
                <a:cubicBezTo>
                  <a:pt x="228" y="185"/>
                  <a:pt x="208" y="175"/>
                  <a:pt x="195" y="159"/>
                </a:cubicBezTo>
                <a:cubicBezTo>
                  <a:pt x="178" y="187"/>
                  <a:pt x="168" y="221"/>
                  <a:pt x="168" y="257"/>
                </a:cubicBezTo>
                <a:cubicBezTo>
                  <a:pt x="168" y="263"/>
                  <a:pt x="169" y="270"/>
                  <a:pt x="170" y="277"/>
                </a:cubicBezTo>
                <a:cubicBezTo>
                  <a:pt x="71" y="300"/>
                  <a:pt x="0" y="357"/>
                  <a:pt x="0" y="424"/>
                </a:cubicBezTo>
                <a:cubicBezTo>
                  <a:pt x="0" y="511"/>
                  <a:pt x="118" y="581"/>
                  <a:pt x="264" y="581"/>
                </a:cubicBezTo>
                <a:cubicBezTo>
                  <a:pt x="327" y="581"/>
                  <a:pt x="385" y="568"/>
                  <a:pt x="431" y="545"/>
                </a:cubicBezTo>
                <a:cubicBezTo>
                  <a:pt x="460" y="598"/>
                  <a:pt x="521" y="635"/>
                  <a:pt x="592" y="635"/>
                </a:cubicBezTo>
                <a:cubicBezTo>
                  <a:pt x="667" y="635"/>
                  <a:pt x="732" y="593"/>
                  <a:pt x="758" y="534"/>
                </a:cubicBezTo>
                <a:cubicBezTo>
                  <a:pt x="764" y="535"/>
                  <a:pt x="770" y="535"/>
                  <a:pt x="776" y="535"/>
                </a:cubicBezTo>
                <a:cubicBezTo>
                  <a:pt x="788" y="535"/>
                  <a:pt x="800" y="534"/>
                  <a:pt x="811" y="533"/>
                </a:cubicBezTo>
                <a:cubicBezTo>
                  <a:pt x="822" y="534"/>
                  <a:pt x="833" y="535"/>
                  <a:pt x="844" y="535"/>
                </a:cubicBezTo>
                <a:cubicBezTo>
                  <a:pt x="979" y="535"/>
                  <a:pt x="1088" y="469"/>
                  <a:pt x="1088" y="388"/>
                </a:cubicBezTo>
                <a:cubicBezTo>
                  <a:pt x="1088" y="312"/>
                  <a:pt x="992" y="250"/>
                  <a:pt x="869" y="243"/>
                </a:cubicBezTo>
                <a:close/>
                <a:moveTo>
                  <a:pt x="250" y="141"/>
                </a:moveTo>
                <a:cubicBezTo>
                  <a:pt x="266" y="141"/>
                  <a:pt x="278" y="129"/>
                  <a:pt x="278" y="113"/>
                </a:cubicBezTo>
                <a:cubicBezTo>
                  <a:pt x="278" y="97"/>
                  <a:pt x="266" y="84"/>
                  <a:pt x="250" y="84"/>
                </a:cubicBezTo>
                <a:cubicBezTo>
                  <a:pt x="234" y="84"/>
                  <a:pt x="221" y="97"/>
                  <a:pt x="221" y="113"/>
                </a:cubicBezTo>
                <a:cubicBezTo>
                  <a:pt x="221" y="129"/>
                  <a:pt x="234" y="141"/>
                  <a:pt x="250" y="141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888409" y="3646661"/>
            <a:ext cx="1980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RAINBOW </a:t>
            </a:r>
          </a:p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PLATFORM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21" name="Virage 20"/>
          <p:cNvSpPr/>
          <p:nvPr/>
        </p:nvSpPr>
        <p:spPr>
          <a:xfrm rot="5400000">
            <a:off x="4429077" y="522582"/>
            <a:ext cx="736847" cy="4488091"/>
          </a:xfrm>
          <a:prstGeom prst="bentArrow">
            <a:avLst>
              <a:gd name="adj1" fmla="val 16847"/>
              <a:gd name="adj2" fmla="val 15489"/>
              <a:gd name="adj3" fmla="val 18659"/>
              <a:gd name="adj4" fmla="val 43750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grpSp>
        <p:nvGrpSpPr>
          <p:cNvPr id="41" name="Groupe 26"/>
          <p:cNvGrpSpPr/>
          <p:nvPr/>
        </p:nvGrpSpPr>
        <p:grpSpPr>
          <a:xfrm>
            <a:off x="1520822" y="1935837"/>
            <a:ext cx="1032633" cy="1020845"/>
            <a:chOff x="-1" y="-1"/>
            <a:chExt cx="3648002" cy="3648002"/>
          </a:xfrm>
        </p:grpSpPr>
        <p:grpSp>
          <p:nvGrpSpPr>
            <p:cNvPr id="42" name="Group 64"/>
            <p:cNvGrpSpPr/>
            <p:nvPr/>
          </p:nvGrpSpPr>
          <p:grpSpPr>
            <a:xfrm>
              <a:off x="-1" y="-1"/>
              <a:ext cx="3648002" cy="3648002"/>
              <a:chOff x="0" y="0"/>
              <a:chExt cx="3648000" cy="3648000"/>
            </a:xfrm>
          </p:grpSpPr>
          <p:sp>
            <p:nvSpPr>
              <p:cNvPr id="60" name="Oval 65"/>
              <p:cNvSpPr/>
              <p:nvPr/>
            </p:nvSpPr>
            <p:spPr>
              <a:xfrm>
                <a:off x="-1" y="-1"/>
                <a:ext cx="3648002" cy="3648002"/>
              </a:xfrm>
              <a:prstGeom prst="ellipse">
                <a:avLst/>
              </a:prstGeom>
              <a:solidFill>
                <a:schemeClr val="accent1">
                  <a:alpha val="6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 algn="ctr">
                  <a:spcBef>
                    <a:spcPts val="0"/>
                  </a:spcBef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61" name="Oval 66"/>
              <p:cNvSpPr/>
              <p:nvPr/>
            </p:nvSpPr>
            <p:spPr>
              <a:xfrm>
                <a:off x="401570" y="401570"/>
                <a:ext cx="2840737" cy="2840737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 algn="ctr">
                  <a:spcBef>
                    <a:spcPts val="0"/>
                  </a:spcBef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</p:grpSp>
        <p:sp>
          <p:nvSpPr>
            <p:cNvPr id="43" name="TextBox 70"/>
            <p:cNvSpPr/>
            <p:nvPr/>
          </p:nvSpPr>
          <p:spPr>
            <a:xfrm>
              <a:off x="386175" y="2350905"/>
              <a:ext cx="2843853" cy="742394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spcBef>
                  <a:spcPts val="2200"/>
                </a:spcBef>
                <a:defRPr sz="3600">
                  <a:solidFill>
                    <a:srgbClr val="FFFFFF"/>
                  </a:solidFill>
                </a:defRPr>
              </a:lvl1pPr>
            </a:lstStyle>
            <a:p>
              <a:r>
                <a:rPr lang="fr-FR" sz="1350" dirty="0" smtClean="0"/>
                <a:t>APP</a:t>
              </a:r>
              <a:endParaRPr sz="1350" dirty="0"/>
            </a:p>
          </p:txBody>
        </p:sp>
        <p:grpSp>
          <p:nvGrpSpPr>
            <p:cNvPr id="44" name="Group 42"/>
            <p:cNvGrpSpPr/>
            <p:nvPr/>
          </p:nvGrpSpPr>
          <p:grpSpPr>
            <a:xfrm>
              <a:off x="947626" y="995593"/>
              <a:ext cx="1762085" cy="1191040"/>
              <a:chOff x="0" y="0"/>
              <a:chExt cx="1762084" cy="1191039"/>
            </a:xfrm>
          </p:grpSpPr>
          <p:sp>
            <p:nvSpPr>
              <p:cNvPr id="45" name="Oval 149"/>
              <p:cNvSpPr/>
              <p:nvPr/>
            </p:nvSpPr>
            <p:spPr>
              <a:xfrm>
                <a:off x="3262" y="16314"/>
                <a:ext cx="107686" cy="107686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48" name="Freeform 150"/>
              <p:cNvSpPr/>
              <p:nvPr/>
            </p:nvSpPr>
            <p:spPr>
              <a:xfrm>
                <a:off x="0" y="-1"/>
                <a:ext cx="1762085" cy="11910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93" y="0"/>
                    </a:moveTo>
                    <a:cubicBezTo>
                      <a:pt x="2129" y="0"/>
                      <a:pt x="2129" y="0"/>
                      <a:pt x="2129" y="0"/>
                    </a:cubicBezTo>
                    <a:cubicBezTo>
                      <a:pt x="2295" y="386"/>
                      <a:pt x="2389" y="842"/>
                      <a:pt x="2389" y="1332"/>
                    </a:cubicBezTo>
                    <a:cubicBezTo>
                      <a:pt x="2389" y="2735"/>
                      <a:pt x="1632" y="3857"/>
                      <a:pt x="710" y="3857"/>
                    </a:cubicBezTo>
                    <a:cubicBezTo>
                      <a:pt x="450" y="3857"/>
                      <a:pt x="213" y="3752"/>
                      <a:pt x="0" y="3612"/>
                    </a:cubicBezTo>
                    <a:cubicBezTo>
                      <a:pt x="0" y="20092"/>
                      <a:pt x="0" y="20092"/>
                      <a:pt x="0" y="20092"/>
                    </a:cubicBezTo>
                    <a:cubicBezTo>
                      <a:pt x="0" y="20934"/>
                      <a:pt x="520" y="21600"/>
                      <a:pt x="1207" y="21600"/>
                    </a:cubicBezTo>
                    <a:cubicBezTo>
                      <a:pt x="20393" y="21600"/>
                      <a:pt x="20393" y="21600"/>
                      <a:pt x="20393" y="21600"/>
                    </a:cubicBezTo>
                    <a:cubicBezTo>
                      <a:pt x="21080" y="21600"/>
                      <a:pt x="21600" y="20934"/>
                      <a:pt x="21600" y="20092"/>
                    </a:cubicBezTo>
                    <a:cubicBezTo>
                      <a:pt x="21600" y="1508"/>
                      <a:pt x="21600" y="1508"/>
                      <a:pt x="21600" y="1508"/>
                    </a:cubicBezTo>
                    <a:cubicBezTo>
                      <a:pt x="21600" y="701"/>
                      <a:pt x="21080" y="0"/>
                      <a:pt x="20393" y="0"/>
                    </a:cubicBezTo>
                    <a:close/>
                    <a:moveTo>
                      <a:pt x="19423" y="18339"/>
                    </a:moveTo>
                    <a:cubicBezTo>
                      <a:pt x="2153" y="18339"/>
                      <a:pt x="2153" y="18339"/>
                      <a:pt x="2153" y="18339"/>
                    </a:cubicBezTo>
                    <a:cubicBezTo>
                      <a:pt x="2153" y="3261"/>
                      <a:pt x="2153" y="3261"/>
                      <a:pt x="2153" y="3261"/>
                    </a:cubicBezTo>
                    <a:cubicBezTo>
                      <a:pt x="19423" y="3261"/>
                      <a:pt x="19423" y="3261"/>
                      <a:pt x="19423" y="3261"/>
                    </a:cubicBezTo>
                    <a:lnTo>
                      <a:pt x="19423" y="18339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49" name="Freeform 151"/>
              <p:cNvSpPr/>
              <p:nvPr/>
            </p:nvSpPr>
            <p:spPr>
              <a:xfrm>
                <a:off x="913673" y="531887"/>
                <a:ext cx="629784" cy="4046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210" y="8268"/>
                    </a:moveTo>
                    <a:cubicBezTo>
                      <a:pt x="17745" y="6408"/>
                      <a:pt x="16615" y="5064"/>
                      <a:pt x="15286" y="4961"/>
                    </a:cubicBezTo>
                    <a:cubicBezTo>
                      <a:pt x="15286" y="2274"/>
                      <a:pt x="13824" y="0"/>
                      <a:pt x="12030" y="0"/>
                    </a:cubicBezTo>
                    <a:cubicBezTo>
                      <a:pt x="10767" y="0"/>
                      <a:pt x="9637" y="1240"/>
                      <a:pt x="9105" y="2997"/>
                    </a:cubicBezTo>
                    <a:cubicBezTo>
                      <a:pt x="8507" y="2480"/>
                      <a:pt x="7776" y="2170"/>
                      <a:pt x="7045" y="2170"/>
                    </a:cubicBezTo>
                    <a:cubicBezTo>
                      <a:pt x="6646" y="2170"/>
                      <a:pt x="6247" y="2274"/>
                      <a:pt x="5849" y="2480"/>
                    </a:cubicBezTo>
                    <a:cubicBezTo>
                      <a:pt x="4652" y="2997"/>
                      <a:pt x="3788" y="4444"/>
                      <a:pt x="3456" y="5374"/>
                    </a:cubicBezTo>
                    <a:cubicBezTo>
                      <a:pt x="3057" y="6408"/>
                      <a:pt x="2858" y="7544"/>
                      <a:pt x="2858" y="8681"/>
                    </a:cubicBezTo>
                    <a:cubicBezTo>
                      <a:pt x="2858" y="8991"/>
                      <a:pt x="2858" y="9198"/>
                      <a:pt x="2858" y="9405"/>
                    </a:cubicBezTo>
                    <a:cubicBezTo>
                      <a:pt x="665" y="10232"/>
                      <a:pt x="0" y="11989"/>
                      <a:pt x="0" y="14262"/>
                    </a:cubicBezTo>
                    <a:cubicBezTo>
                      <a:pt x="0" y="17259"/>
                      <a:pt x="2260" y="20153"/>
                      <a:pt x="5051" y="19740"/>
                    </a:cubicBezTo>
                    <a:cubicBezTo>
                      <a:pt x="6447" y="19636"/>
                      <a:pt x="7577" y="19326"/>
                      <a:pt x="8574" y="18603"/>
                    </a:cubicBezTo>
                    <a:cubicBezTo>
                      <a:pt x="9238" y="20360"/>
                      <a:pt x="10567" y="21600"/>
                      <a:pt x="12162" y="21600"/>
                    </a:cubicBezTo>
                    <a:cubicBezTo>
                      <a:pt x="13758" y="21600"/>
                      <a:pt x="15220" y="20256"/>
                      <a:pt x="15751" y="18189"/>
                    </a:cubicBezTo>
                    <a:cubicBezTo>
                      <a:pt x="15884" y="18189"/>
                      <a:pt x="16017" y="18189"/>
                      <a:pt x="16150" y="18189"/>
                    </a:cubicBezTo>
                    <a:cubicBezTo>
                      <a:pt x="16416" y="18189"/>
                      <a:pt x="16682" y="18189"/>
                      <a:pt x="16948" y="18189"/>
                    </a:cubicBezTo>
                    <a:cubicBezTo>
                      <a:pt x="17147" y="18189"/>
                      <a:pt x="17413" y="18293"/>
                      <a:pt x="17679" y="18189"/>
                    </a:cubicBezTo>
                    <a:cubicBezTo>
                      <a:pt x="19872" y="17983"/>
                      <a:pt x="21600" y="16536"/>
                      <a:pt x="21600" y="13849"/>
                    </a:cubicBezTo>
                    <a:cubicBezTo>
                      <a:pt x="21600" y="11162"/>
                      <a:pt x="20603" y="8991"/>
                      <a:pt x="18210" y="82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0" name="Rectangle 152"/>
              <p:cNvSpPr/>
              <p:nvPr/>
            </p:nvSpPr>
            <p:spPr>
              <a:xfrm>
                <a:off x="225154" y="228418"/>
                <a:ext cx="730937" cy="110945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1" name="Rectangle 153"/>
              <p:cNvSpPr/>
              <p:nvPr/>
            </p:nvSpPr>
            <p:spPr>
              <a:xfrm>
                <a:off x="991988" y="228418"/>
                <a:ext cx="531889" cy="110945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2" name="Rectangle 154"/>
              <p:cNvSpPr/>
              <p:nvPr/>
            </p:nvSpPr>
            <p:spPr>
              <a:xfrm>
                <a:off x="234944" y="776622"/>
                <a:ext cx="189260" cy="176209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3" name="Rectangle 155"/>
              <p:cNvSpPr/>
              <p:nvPr/>
            </p:nvSpPr>
            <p:spPr>
              <a:xfrm>
                <a:off x="450310" y="776622"/>
                <a:ext cx="185998" cy="176209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4" name="Rectangle 156"/>
              <p:cNvSpPr/>
              <p:nvPr/>
            </p:nvSpPr>
            <p:spPr>
              <a:xfrm>
                <a:off x="662412" y="776622"/>
                <a:ext cx="189259" cy="176209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5" name="Rectangle 157"/>
              <p:cNvSpPr/>
              <p:nvPr/>
            </p:nvSpPr>
            <p:spPr>
              <a:xfrm>
                <a:off x="231680" y="417679"/>
                <a:ext cx="711358" cy="3915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6" name="Rectangle 158"/>
              <p:cNvSpPr/>
              <p:nvPr/>
            </p:nvSpPr>
            <p:spPr>
              <a:xfrm>
                <a:off x="995250" y="417679"/>
                <a:ext cx="518835" cy="3915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7" name="Rectangle 159"/>
              <p:cNvSpPr/>
              <p:nvPr/>
            </p:nvSpPr>
            <p:spPr>
              <a:xfrm>
                <a:off x="231680" y="489467"/>
                <a:ext cx="711358" cy="39159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8" name="Rectangle 160"/>
              <p:cNvSpPr/>
              <p:nvPr/>
            </p:nvSpPr>
            <p:spPr>
              <a:xfrm>
                <a:off x="231680" y="561256"/>
                <a:ext cx="711358" cy="3915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59" name="Rectangle 161"/>
              <p:cNvSpPr/>
              <p:nvPr/>
            </p:nvSpPr>
            <p:spPr>
              <a:xfrm>
                <a:off x="231680" y="633045"/>
                <a:ext cx="711358" cy="3915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</p:grpSp>
      </p:grpSp>
      <p:grpSp>
        <p:nvGrpSpPr>
          <p:cNvPr id="68" name="Groupe 199"/>
          <p:cNvGrpSpPr/>
          <p:nvPr/>
        </p:nvGrpSpPr>
        <p:grpSpPr>
          <a:xfrm>
            <a:off x="4413532" y="1620423"/>
            <a:ext cx="4037429" cy="771168"/>
            <a:chOff x="0" y="0"/>
            <a:chExt cx="10766469" cy="2056446"/>
          </a:xfrm>
        </p:grpSpPr>
        <p:sp>
          <p:nvSpPr>
            <p:cNvPr id="69" name="Rectangle 64"/>
            <p:cNvSpPr/>
            <p:nvPr/>
          </p:nvSpPr>
          <p:spPr>
            <a:xfrm>
              <a:off x="2072641" y="775717"/>
              <a:ext cx="8693828" cy="507832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45720" tIns="45720" rIns="45720" bIns="45720" numCol="1" anchor="t">
              <a:spAutoFit/>
            </a:bodyPr>
            <a:lstStyle>
              <a:lvl1pPr>
                <a:lnSpc>
                  <a:spcPct val="50000"/>
                </a:lnSpc>
                <a:spcBef>
                  <a:spcPts val="2000"/>
                </a:spcBef>
                <a:defRPr sz="3400">
                  <a:solidFill>
                    <a:srgbClr val="FFFFFF"/>
                  </a:solidFill>
                </a:defRPr>
              </a:lvl1pPr>
            </a:lstStyle>
            <a:p>
              <a:r>
                <a:rPr lang="fr-FR" sz="1275" dirty="0" smtClean="0"/>
                <a:t>Access </a:t>
              </a:r>
              <a:r>
                <a:rPr lang="fr-FR" sz="1275" dirty="0" err="1" smtClean="0"/>
                <a:t>granted</a:t>
              </a:r>
              <a:r>
                <a:rPr lang="fr-FR" sz="1275" dirty="0" smtClean="0"/>
                <a:t> to </a:t>
              </a:r>
              <a:r>
                <a:rPr lang="fr-FR" sz="1275" dirty="0" err="1" smtClean="0"/>
                <a:t>identified</a:t>
              </a:r>
              <a:r>
                <a:rPr lang="fr-FR" sz="1275" dirty="0" smtClean="0"/>
                <a:t> application </a:t>
              </a:r>
              <a:r>
                <a:rPr lang="fr-FR" sz="1275" dirty="0" err="1" smtClean="0"/>
                <a:t>only</a:t>
              </a:r>
              <a:endParaRPr sz="1275" dirty="0"/>
            </a:p>
          </p:txBody>
        </p:sp>
        <p:grpSp>
          <p:nvGrpSpPr>
            <p:cNvPr id="70" name="Groupe 198"/>
            <p:cNvGrpSpPr/>
            <p:nvPr/>
          </p:nvGrpSpPr>
          <p:grpSpPr>
            <a:xfrm>
              <a:off x="0" y="0"/>
              <a:ext cx="2072641" cy="2056446"/>
              <a:chOff x="0" y="0"/>
              <a:chExt cx="2072640" cy="2056445"/>
            </a:xfrm>
          </p:grpSpPr>
          <p:sp>
            <p:nvSpPr>
              <p:cNvPr id="71" name="Ellipse 98"/>
              <p:cNvSpPr/>
              <p:nvPr/>
            </p:nvSpPr>
            <p:spPr>
              <a:xfrm>
                <a:off x="121919" y="137906"/>
                <a:ext cx="1679788" cy="1679788"/>
              </a:xfrm>
              <a:prstGeom prst="ellipse">
                <a:avLst/>
              </a:prstGeom>
              <a:solidFill>
                <a:srgbClr val="FC2B0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/>
              </a:p>
            </p:txBody>
          </p:sp>
          <p:pic>
            <p:nvPicPr>
              <p:cNvPr id="72" name="Image 139" descr="Image 139"/>
              <p:cNvPicPr>
                <a:picLocks noChangeAspect="1"/>
              </p:cNvPicPr>
              <p:nvPr/>
            </p:nvPicPr>
            <p:blipFill>
              <a:blip r:embed="rId4">
                <a:extLst/>
              </a:blip>
              <a:stretch>
                <a:fillRect/>
              </a:stretch>
            </p:blipFill>
            <p:spPr>
              <a:xfrm>
                <a:off x="0" y="0"/>
                <a:ext cx="2072641" cy="2056446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</p:grpSp>
      <p:sp>
        <p:nvSpPr>
          <p:cNvPr id="73" name="Rectangle 64"/>
          <p:cNvSpPr/>
          <p:nvPr/>
        </p:nvSpPr>
        <p:spPr>
          <a:xfrm>
            <a:off x="4515006" y="2579165"/>
            <a:ext cx="518412" cy="19954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5720" tIns="45720" rIns="45720" bIns="45720" numCol="1" anchor="t">
            <a:spAutoFit/>
          </a:bodyPr>
          <a:lstStyle>
            <a:lvl1pPr>
              <a:lnSpc>
                <a:spcPct val="50000"/>
              </a:lnSpc>
              <a:spcBef>
                <a:spcPts val="2000"/>
              </a:spcBef>
              <a:defRPr sz="3400">
                <a:solidFill>
                  <a:srgbClr val="FFFFFF"/>
                </a:solidFill>
              </a:defRPr>
            </a:lvl1pPr>
          </a:lstStyle>
          <a:p>
            <a:r>
              <a:rPr lang="fr-FR" sz="1275" dirty="0" err="1" smtClean="0"/>
              <a:t>Token</a:t>
            </a:r>
            <a:endParaRPr sz="1275" dirty="0"/>
          </a:p>
        </p:txBody>
      </p:sp>
      <p:sp>
        <p:nvSpPr>
          <p:cNvPr id="33" name="Rectangle 64"/>
          <p:cNvSpPr/>
          <p:nvPr/>
        </p:nvSpPr>
        <p:spPr>
          <a:xfrm>
            <a:off x="5195819" y="2097799"/>
            <a:ext cx="1777090" cy="17312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5720" tIns="45720" rIns="45720" bIns="45720" numCol="1" anchor="t">
            <a:spAutoFit/>
          </a:bodyPr>
          <a:lstStyle>
            <a:lvl1pPr>
              <a:lnSpc>
                <a:spcPct val="50000"/>
              </a:lnSpc>
              <a:spcBef>
                <a:spcPts val="2000"/>
              </a:spcBef>
              <a:defRPr sz="3400">
                <a:solidFill>
                  <a:srgbClr val="FFFFFF"/>
                </a:solidFill>
              </a:defRPr>
            </a:lvl1pPr>
          </a:lstStyle>
          <a:p>
            <a:r>
              <a:rPr lang="fr-FR" sz="1050" dirty="0" smtClean="0">
                <a:solidFill>
                  <a:schemeClr val="accent1"/>
                </a:solidFill>
              </a:rPr>
              <a:t>(Application ID / Secret key)</a:t>
            </a:r>
            <a:endParaRPr sz="1050" dirty="0">
              <a:solidFill>
                <a:schemeClr val="accent1"/>
              </a:solidFill>
            </a:endParaRPr>
          </a:p>
        </p:txBody>
      </p:sp>
      <p:sp>
        <p:nvSpPr>
          <p:cNvPr id="34" name="Rectangle 64"/>
          <p:cNvSpPr/>
          <p:nvPr/>
        </p:nvSpPr>
        <p:spPr>
          <a:xfrm>
            <a:off x="2116052" y="4055274"/>
            <a:ext cx="3518784" cy="19954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5720" tIns="45720" rIns="45720" bIns="45720" numCol="1" anchor="t">
            <a:spAutoFit/>
          </a:bodyPr>
          <a:lstStyle>
            <a:lvl1pPr>
              <a:lnSpc>
                <a:spcPct val="50000"/>
              </a:lnSpc>
              <a:spcBef>
                <a:spcPts val="2000"/>
              </a:spcBef>
              <a:defRPr sz="3400">
                <a:solidFill>
                  <a:srgbClr val="FFFFFF"/>
                </a:solidFill>
              </a:defRPr>
            </a:lvl1pPr>
          </a:lstStyle>
          <a:p>
            <a:r>
              <a:rPr lang="fr-FR" sz="1275" dirty="0" smtClean="0">
                <a:solidFill>
                  <a:schemeClr val="accent5"/>
                </a:solidFill>
              </a:rPr>
              <a:t>/!\ </a:t>
            </a:r>
            <a:r>
              <a:rPr lang="fr-FR" sz="1275" dirty="0" err="1" smtClean="0"/>
              <a:t>Token</a:t>
            </a:r>
            <a:r>
              <a:rPr lang="fr-FR" sz="1275" dirty="0" smtClean="0"/>
              <a:t> </a:t>
            </a:r>
            <a:r>
              <a:rPr lang="fr-FR" sz="1275" dirty="0" err="1" smtClean="0"/>
              <a:t>will</a:t>
            </a:r>
            <a:r>
              <a:rPr lang="fr-FR" sz="1275" dirty="0" smtClean="0"/>
              <a:t> </a:t>
            </a:r>
            <a:r>
              <a:rPr lang="fr-FR" sz="1275" dirty="0" err="1" smtClean="0"/>
              <a:t>be</a:t>
            </a:r>
            <a:r>
              <a:rPr lang="fr-FR" sz="1275" dirty="0" smtClean="0"/>
              <a:t> </a:t>
            </a:r>
            <a:r>
              <a:rPr lang="fr-FR" sz="1275" dirty="0" err="1" smtClean="0"/>
              <a:t>mandatory</a:t>
            </a:r>
            <a:r>
              <a:rPr lang="fr-FR" sz="1275" dirty="0" smtClean="0"/>
              <a:t> </a:t>
            </a:r>
            <a:r>
              <a:rPr lang="fr-FR" sz="1275" dirty="0" err="1" smtClean="0"/>
              <a:t>starting</a:t>
            </a:r>
            <a:r>
              <a:rPr lang="fr-FR" sz="1275" dirty="0" smtClean="0"/>
              <a:t> January’18</a:t>
            </a:r>
          </a:p>
        </p:txBody>
      </p:sp>
      <p:grpSp>
        <p:nvGrpSpPr>
          <p:cNvPr id="35" name="Group 12"/>
          <p:cNvGrpSpPr/>
          <p:nvPr/>
        </p:nvGrpSpPr>
        <p:grpSpPr>
          <a:xfrm>
            <a:off x="86400" y="73297"/>
            <a:ext cx="576232" cy="576232"/>
            <a:chOff x="4871871" y="2527436"/>
            <a:chExt cx="576232" cy="576232"/>
          </a:xfrm>
        </p:grpSpPr>
        <p:sp>
          <p:nvSpPr>
            <p:cNvPr id="36" name="Oval 28"/>
            <p:cNvSpPr/>
            <p:nvPr/>
          </p:nvSpPr>
          <p:spPr>
            <a:xfrm>
              <a:off x="4871871" y="2527436"/>
              <a:ext cx="576232" cy="576232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7" name="Oval 29"/>
            <p:cNvSpPr/>
            <p:nvPr/>
          </p:nvSpPr>
          <p:spPr>
            <a:xfrm>
              <a:off x="4935302" y="2590867"/>
              <a:ext cx="448718" cy="448718"/>
            </a:xfrm>
            <a:prstGeom prst="ellipse">
              <a:avLst/>
            </a:prstGeom>
            <a:solidFill>
              <a:schemeClr val="accent3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8" name="TextBox 30"/>
            <p:cNvSpPr txBox="1"/>
            <p:nvPr/>
          </p:nvSpPr>
          <p:spPr>
            <a:xfrm>
              <a:off x="4887542" y="260729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3</a:t>
              </a:r>
            </a:p>
          </p:txBody>
        </p:sp>
      </p:grpSp>
      <p:sp>
        <p:nvSpPr>
          <p:cNvPr id="39" name="Rectangle 64"/>
          <p:cNvSpPr/>
          <p:nvPr/>
        </p:nvSpPr>
        <p:spPr>
          <a:xfrm>
            <a:off x="1717166" y="3030137"/>
            <a:ext cx="677686" cy="19954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5720" tIns="45720" rIns="45720" bIns="45720" numCol="1" anchor="t">
            <a:spAutoFit/>
          </a:bodyPr>
          <a:lstStyle>
            <a:lvl1pPr>
              <a:lnSpc>
                <a:spcPct val="50000"/>
              </a:lnSpc>
              <a:spcBef>
                <a:spcPts val="2000"/>
              </a:spcBef>
              <a:defRPr sz="3400">
                <a:solidFill>
                  <a:srgbClr val="FFFFFF"/>
                </a:solidFill>
              </a:defRPr>
            </a:lvl1pPr>
          </a:lstStyle>
          <a:p>
            <a:r>
              <a:rPr lang="fr-FR" sz="1275" smtClean="0"/>
              <a:t>Register</a:t>
            </a:r>
            <a:endParaRPr sz="1275" dirty="0"/>
          </a:p>
        </p:txBody>
      </p:sp>
      <p:pic>
        <p:nvPicPr>
          <p:cNvPr id="40" name="Picture 2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727" y="1325876"/>
            <a:ext cx="2223042" cy="6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77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70025" y="170260"/>
            <a:ext cx="4022797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DEPLOY YOUR APPLICATION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sp>
        <p:nvSpPr>
          <p:cNvPr id="10" name="Freeform 72"/>
          <p:cNvSpPr>
            <a:spLocks noEditPoints="1"/>
          </p:cNvSpPr>
          <p:nvPr/>
        </p:nvSpPr>
        <p:spPr bwMode="auto">
          <a:xfrm>
            <a:off x="3315328" y="296927"/>
            <a:ext cx="2487288" cy="1435437"/>
          </a:xfrm>
          <a:custGeom>
            <a:avLst/>
            <a:gdLst/>
            <a:ahLst/>
            <a:cxnLst>
              <a:cxn ang="0">
                <a:pos x="869" y="243"/>
              </a:cxn>
              <a:cxn ang="0">
                <a:pos x="737" y="147"/>
              </a:cxn>
              <a:cxn ang="0">
                <a:pos x="588" y="0"/>
              </a:cxn>
              <a:cxn ang="0">
                <a:pos x="453" y="87"/>
              </a:cxn>
              <a:cxn ang="0">
                <a:pos x="361" y="64"/>
              </a:cxn>
              <a:cxn ang="0">
                <a:pos x="305" y="72"/>
              </a:cxn>
              <a:cxn ang="0">
                <a:pos x="320" y="115"/>
              </a:cxn>
              <a:cxn ang="0">
                <a:pos x="250" y="185"/>
              </a:cxn>
              <a:cxn ang="0">
                <a:pos x="195" y="159"/>
              </a:cxn>
              <a:cxn ang="0">
                <a:pos x="168" y="257"/>
              </a:cxn>
              <a:cxn ang="0">
                <a:pos x="170" y="277"/>
              </a:cxn>
              <a:cxn ang="0">
                <a:pos x="0" y="424"/>
              </a:cxn>
              <a:cxn ang="0">
                <a:pos x="264" y="581"/>
              </a:cxn>
              <a:cxn ang="0">
                <a:pos x="431" y="545"/>
              </a:cxn>
              <a:cxn ang="0">
                <a:pos x="592" y="635"/>
              </a:cxn>
              <a:cxn ang="0">
                <a:pos x="758" y="534"/>
              </a:cxn>
              <a:cxn ang="0">
                <a:pos x="776" y="535"/>
              </a:cxn>
              <a:cxn ang="0">
                <a:pos x="811" y="533"/>
              </a:cxn>
              <a:cxn ang="0">
                <a:pos x="844" y="535"/>
              </a:cxn>
              <a:cxn ang="0">
                <a:pos x="1088" y="388"/>
              </a:cxn>
              <a:cxn ang="0">
                <a:pos x="869" y="243"/>
              </a:cxn>
              <a:cxn ang="0">
                <a:pos x="250" y="141"/>
              </a:cxn>
              <a:cxn ang="0">
                <a:pos x="278" y="113"/>
              </a:cxn>
              <a:cxn ang="0">
                <a:pos x="250" y="84"/>
              </a:cxn>
              <a:cxn ang="0">
                <a:pos x="221" y="113"/>
              </a:cxn>
              <a:cxn ang="0">
                <a:pos x="250" y="141"/>
              </a:cxn>
            </a:cxnLst>
            <a:rect l="0" t="0" r="r" b="b"/>
            <a:pathLst>
              <a:path w="1088" h="635">
                <a:moveTo>
                  <a:pt x="869" y="243"/>
                </a:moveTo>
                <a:cubicBezTo>
                  <a:pt x="848" y="189"/>
                  <a:pt x="797" y="150"/>
                  <a:pt x="737" y="147"/>
                </a:cubicBezTo>
                <a:cubicBezTo>
                  <a:pt x="736" y="66"/>
                  <a:pt x="670" y="0"/>
                  <a:pt x="588" y="0"/>
                </a:cubicBezTo>
                <a:cubicBezTo>
                  <a:pt x="528" y="0"/>
                  <a:pt x="477" y="36"/>
                  <a:pt x="453" y="87"/>
                </a:cubicBezTo>
                <a:cubicBezTo>
                  <a:pt x="426" y="72"/>
                  <a:pt x="394" y="64"/>
                  <a:pt x="361" y="64"/>
                </a:cubicBezTo>
                <a:cubicBezTo>
                  <a:pt x="342" y="64"/>
                  <a:pt x="323" y="67"/>
                  <a:pt x="305" y="72"/>
                </a:cubicBezTo>
                <a:cubicBezTo>
                  <a:pt x="314" y="84"/>
                  <a:pt x="320" y="99"/>
                  <a:pt x="320" y="115"/>
                </a:cubicBezTo>
                <a:cubicBezTo>
                  <a:pt x="320" y="154"/>
                  <a:pt x="288" y="185"/>
                  <a:pt x="250" y="185"/>
                </a:cubicBezTo>
                <a:cubicBezTo>
                  <a:pt x="228" y="185"/>
                  <a:pt x="208" y="175"/>
                  <a:pt x="195" y="159"/>
                </a:cubicBezTo>
                <a:cubicBezTo>
                  <a:pt x="178" y="187"/>
                  <a:pt x="168" y="221"/>
                  <a:pt x="168" y="257"/>
                </a:cubicBezTo>
                <a:cubicBezTo>
                  <a:pt x="168" y="263"/>
                  <a:pt x="169" y="270"/>
                  <a:pt x="170" y="277"/>
                </a:cubicBezTo>
                <a:cubicBezTo>
                  <a:pt x="71" y="300"/>
                  <a:pt x="0" y="357"/>
                  <a:pt x="0" y="424"/>
                </a:cubicBezTo>
                <a:cubicBezTo>
                  <a:pt x="0" y="511"/>
                  <a:pt x="118" y="581"/>
                  <a:pt x="264" y="581"/>
                </a:cubicBezTo>
                <a:cubicBezTo>
                  <a:pt x="327" y="581"/>
                  <a:pt x="385" y="568"/>
                  <a:pt x="431" y="545"/>
                </a:cubicBezTo>
                <a:cubicBezTo>
                  <a:pt x="460" y="598"/>
                  <a:pt x="521" y="635"/>
                  <a:pt x="592" y="635"/>
                </a:cubicBezTo>
                <a:cubicBezTo>
                  <a:pt x="667" y="635"/>
                  <a:pt x="732" y="593"/>
                  <a:pt x="758" y="534"/>
                </a:cubicBezTo>
                <a:cubicBezTo>
                  <a:pt x="764" y="535"/>
                  <a:pt x="770" y="535"/>
                  <a:pt x="776" y="535"/>
                </a:cubicBezTo>
                <a:cubicBezTo>
                  <a:pt x="788" y="535"/>
                  <a:pt x="800" y="534"/>
                  <a:pt x="811" y="533"/>
                </a:cubicBezTo>
                <a:cubicBezTo>
                  <a:pt x="822" y="534"/>
                  <a:pt x="833" y="535"/>
                  <a:pt x="844" y="535"/>
                </a:cubicBezTo>
                <a:cubicBezTo>
                  <a:pt x="979" y="535"/>
                  <a:pt x="1088" y="469"/>
                  <a:pt x="1088" y="388"/>
                </a:cubicBezTo>
                <a:cubicBezTo>
                  <a:pt x="1088" y="312"/>
                  <a:pt x="992" y="250"/>
                  <a:pt x="869" y="243"/>
                </a:cubicBezTo>
                <a:close/>
                <a:moveTo>
                  <a:pt x="250" y="141"/>
                </a:moveTo>
                <a:cubicBezTo>
                  <a:pt x="266" y="141"/>
                  <a:pt x="278" y="129"/>
                  <a:pt x="278" y="113"/>
                </a:cubicBezTo>
                <a:cubicBezTo>
                  <a:pt x="278" y="97"/>
                  <a:pt x="266" y="84"/>
                  <a:pt x="250" y="84"/>
                </a:cubicBezTo>
                <a:cubicBezTo>
                  <a:pt x="234" y="84"/>
                  <a:pt x="221" y="97"/>
                  <a:pt x="221" y="113"/>
                </a:cubicBezTo>
                <a:cubicBezTo>
                  <a:pt x="221" y="129"/>
                  <a:pt x="234" y="141"/>
                  <a:pt x="250" y="141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3567967" y="1195227"/>
            <a:ext cx="1980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DEPLOY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3" name="Oval 79"/>
          <p:cNvSpPr/>
          <p:nvPr/>
        </p:nvSpPr>
        <p:spPr>
          <a:xfrm>
            <a:off x="898423" y="2466254"/>
            <a:ext cx="916401" cy="890193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4" name="Group 69"/>
          <p:cNvGrpSpPr/>
          <p:nvPr/>
        </p:nvGrpSpPr>
        <p:grpSpPr>
          <a:xfrm>
            <a:off x="1151291" y="2552320"/>
            <a:ext cx="415897" cy="689431"/>
            <a:chOff x="0" y="0"/>
            <a:chExt cx="847666" cy="1429440"/>
          </a:xfrm>
        </p:grpSpPr>
        <p:sp>
          <p:nvSpPr>
            <p:cNvPr id="15" name="Freeform 59"/>
            <p:cNvSpPr/>
            <p:nvPr/>
          </p:nvSpPr>
          <p:spPr>
            <a:xfrm>
              <a:off x="95962" y="0"/>
              <a:ext cx="645080" cy="6237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16835" y="21600"/>
                    <a:pt x="21600" y="16764"/>
                    <a:pt x="21600" y="10961"/>
                  </a:cubicBezTo>
                  <a:cubicBezTo>
                    <a:pt x="21600" y="4836"/>
                    <a:pt x="16835" y="0"/>
                    <a:pt x="10800" y="0"/>
                  </a:cubicBezTo>
                  <a:cubicBezTo>
                    <a:pt x="5082" y="0"/>
                    <a:pt x="0" y="4836"/>
                    <a:pt x="0" y="10961"/>
                  </a:cubicBezTo>
                  <a:cubicBezTo>
                    <a:pt x="0" y="16764"/>
                    <a:pt x="5082" y="21600"/>
                    <a:pt x="10800" y="21600"/>
                  </a:cubicBezTo>
                  <a:close/>
                  <a:moveTo>
                    <a:pt x="4447" y="10961"/>
                  </a:moveTo>
                  <a:cubicBezTo>
                    <a:pt x="5082" y="10961"/>
                    <a:pt x="5718" y="11284"/>
                    <a:pt x="5718" y="11928"/>
                  </a:cubicBezTo>
                  <a:cubicBezTo>
                    <a:pt x="6035" y="13863"/>
                    <a:pt x="9212" y="14830"/>
                    <a:pt x="11118" y="14830"/>
                  </a:cubicBezTo>
                  <a:cubicBezTo>
                    <a:pt x="13024" y="14830"/>
                    <a:pt x="15882" y="13863"/>
                    <a:pt x="16200" y="11928"/>
                  </a:cubicBezTo>
                  <a:cubicBezTo>
                    <a:pt x="16518" y="11284"/>
                    <a:pt x="16835" y="10961"/>
                    <a:pt x="17471" y="10961"/>
                  </a:cubicBezTo>
                  <a:cubicBezTo>
                    <a:pt x="18106" y="10961"/>
                    <a:pt x="18424" y="11606"/>
                    <a:pt x="18424" y="12251"/>
                  </a:cubicBezTo>
                  <a:cubicBezTo>
                    <a:pt x="17788" y="15475"/>
                    <a:pt x="13659" y="17087"/>
                    <a:pt x="11118" y="17087"/>
                  </a:cubicBezTo>
                  <a:cubicBezTo>
                    <a:pt x="8259" y="17087"/>
                    <a:pt x="4129" y="15475"/>
                    <a:pt x="3812" y="12251"/>
                  </a:cubicBezTo>
                  <a:cubicBezTo>
                    <a:pt x="3494" y="11606"/>
                    <a:pt x="4129" y="10961"/>
                    <a:pt x="4447" y="109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6" name="Freeform 60"/>
            <p:cNvSpPr/>
            <p:nvPr/>
          </p:nvSpPr>
          <p:spPr>
            <a:xfrm>
              <a:off x="28867" y="730081"/>
              <a:ext cx="171508" cy="17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54" h="19854" extrusionOk="0">
                  <a:moveTo>
                    <a:pt x="7767" y="19647"/>
                  </a:moveTo>
                  <a:cubicBezTo>
                    <a:pt x="12087" y="20727"/>
                    <a:pt x="17487" y="17487"/>
                    <a:pt x="19647" y="12087"/>
                  </a:cubicBezTo>
                  <a:cubicBezTo>
                    <a:pt x="20727" y="6687"/>
                    <a:pt x="17487" y="1287"/>
                    <a:pt x="12087" y="207"/>
                  </a:cubicBezTo>
                  <a:cubicBezTo>
                    <a:pt x="6687" y="-873"/>
                    <a:pt x="1287" y="2367"/>
                    <a:pt x="207" y="7767"/>
                  </a:cubicBezTo>
                  <a:cubicBezTo>
                    <a:pt x="-873" y="13167"/>
                    <a:pt x="2367" y="18567"/>
                    <a:pt x="7767" y="1964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7" name="Freeform 61"/>
            <p:cNvSpPr/>
            <p:nvPr/>
          </p:nvSpPr>
          <p:spPr>
            <a:xfrm>
              <a:off x="-1" y="712121"/>
              <a:ext cx="847668" cy="7173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46" y="561"/>
                  </a:moveTo>
                  <a:cubicBezTo>
                    <a:pt x="16746" y="561"/>
                    <a:pt x="16746" y="561"/>
                    <a:pt x="16746" y="561"/>
                  </a:cubicBezTo>
                  <a:cubicBezTo>
                    <a:pt x="16503" y="281"/>
                    <a:pt x="16261" y="281"/>
                    <a:pt x="16018" y="281"/>
                  </a:cubicBezTo>
                  <a:cubicBezTo>
                    <a:pt x="16018" y="281"/>
                    <a:pt x="15775" y="281"/>
                    <a:pt x="15775" y="281"/>
                  </a:cubicBezTo>
                  <a:cubicBezTo>
                    <a:pt x="15533" y="0"/>
                    <a:pt x="15290" y="0"/>
                    <a:pt x="15047" y="0"/>
                  </a:cubicBezTo>
                  <a:cubicBezTo>
                    <a:pt x="15047" y="0"/>
                    <a:pt x="15047" y="0"/>
                    <a:pt x="14804" y="0"/>
                  </a:cubicBezTo>
                  <a:cubicBezTo>
                    <a:pt x="14562" y="0"/>
                    <a:pt x="14319" y="0"/>
                    <a:pt x="14076" y="0"/>
                  </a:cubicBezTo>
                  <a:cubicBezTo>
                    <a:pt x="7766" y="0"/>
                    <a:pt x="7766" y="0"/>
                    <a:pt x="7766" y="0"/>
                  </a:cubicBezTo>
                  <a:cubicBezTo>
                    <a:pt x="8494" y="1403"/>
                    <a:pt x="8980" y="3086"/>
                    <a:pt x="8494" y="5049"/>
                  </a:cubicBezTo>
                  <a:cubicBezTo>
                    <a:pt x="7766" y="8696"/>
                    <a:pt x="4611" y="10940"/>
                    <a:pt x="1456" y="10099"/>
                  </a:cubicBezTo>
                  <a:cubicBezTo>
                    <a:pt x="971" y="9818"/>
                    <a:pt x="485" y="9538"/>
                    <a:pt x="0" y="9257"/>
                  </a:cubicBezTo>
                  <a:cubicBezTo>
                    <a:pt x="0" y="12343"/>
                    <a:pt x="0" y="12343"/>
                    <a:pt x="0" y="12343"/>
                  </a:cubicBezTo>
                  <a:cubicBezTo>
                    <a:pt x="0" y="19075"/>
                    <a:pt x="0" y="19075"/>
                    <a:pt x="0" y="19075"/>
                  </a:cubicBezTo>
                  <a:cubicBezTo>
                    <a:pt x="0" y="20478"/>
                    <a:pt x="1213" y="21600"/>
                    <a:pt x="2670" y="21600"/>
                  </a:cubicBezTo>
                  <a:cubicBezTo>
                    <a:pt x="18930" y="21600"/>
                    <a:pt x="18930" y="21600"/>
                    <a:pt x="18930" y="21600"/>
                  </a:cubicBezTo>
                  <a:cubicBezTo>
                    <a:pt x="20387" y="21600"/>
                    <a:pt x="21600" y="20478"/>
                    <a:pt x="21600" y="19075"/>
                  </a:cubicBezTo>
                  <a:cubicBezTo>
                    <a:pt x="21600" y="8696"/>
                    <a:pt x="21600" y="8696"/>
                    <a:pt x="21600" y="8696"/>
                  </a:cubicBezTo>
                  <a:cubicBezTo>
                    <a:pt x="21600" y="5049"/>
                    <a:pt x="19658" y="1964"/>
                    <a:pt x="16746" y="5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8" name="ZoneTexte 17"/>
          <p:cNvSpPr txBox="1"/>
          <p:nvPr/>
        </p:nvSpPr>
        <p:spPr>
          <a:xfrm>
            <a:off x="309329" y="3428574"/>
            <a:ext cx="21214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ALE VALIDATION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9" name="Titre 15"/>
          <p:cNvSpPr txBox="1">
            <a:spLocks/>
          </p:cNvSpPr>
          <p:nvPr/>
        </p:nvSpPr>
        <p:spPr>
          <a:xfrm>
            <a:off x="584873" y="3826485"/>
            <a:ext cx="2651956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Terms of Use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21" name="Titre 15"/>
          <p:cNvSpPr txBox="1">
            <a:spLocks/>
          </p:cNvSpPr>
          <p:nvPr/>
        </p:nvSpPr>
        <p:spPr>
          <a:xfrm>
            <a:off x="584872" y="4212962"/>
            <a:ext cx="2494731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Payment method 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40" name="Oval 79"/>
          <p:cNvSpPr/>
          <p:nvPr/>
        </p:nvSpPr>
        <p:spPr>
          <a:xfrm>
            <a:off x="4126499" y="2468174"/>
            <a:ext cx="916401" cy="89019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5" name="Freeform 6"/>
          <p:cNvSpPr/>
          <p:nvPr/>
        </p:nvSpPr>
        <p:spPr>
          <a:xfrm>
            <a:off x="4241419" y="2569360"/>
            <a:ext cx="703494" cy="686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5" h="21153" extrusionOk="0">
                <a:moveTo>
                  <a:pt x="20206" y="10311"/>
                </a:moveTo>
                <a:cubicBezTo>
                  <a:pt x="19413" y="10081"/>
                  <a:pt x="18565" y="10512"/>
                  <a:pt x="18237" y="11288"/>
                </a:cubicBezTo>
                <a:cubicBezTo>
                  <a:pt x="15858" y="10656"/>
                  <a:pt x="15858" y="10656"/>
                  <a:pt x="15858" y="10656"/>
                </a:cubicBezTo>
                <a:cubicBezTo>
                  <a:pt x="15913" y="10368"/>
                  <a:pt x="15940" y="10081"/>
                  <a:pt x="15940" y="9794"/>
                </a:cubicBezTo>
                <a:cubicBezTo>
                  <a:pt x="15940" y="7554"/>
                  <a:pt x="14546" y="5629"/>
                  <a:pt x="12605" y="4940"/>
                </a:cubicBezTo>
                <a:cubicBezTo>
                  <a:pt x="13206" y="3130"/>
                  <a:pt x="13206" y="3130"/>
                  <a:pt x="13206" y="3130"/>
                </a:cubicBezTo>
                <a:cubicBezTo>
                  <a:pt x="13944" y="3245"/>
                  <a:pt x="14655" y="2786"/>
                  <a:pt x="14874" y="2010"/>
                </a:cubicBezTo>
                <a:cubicBezTo>
                  <a:pt x="15093" y="1177"/>
                  <a:pt x="14628" y="287"/>
                  <a:pt x="13835" y="57"/>
                </a:cubicBezTo>
                <a:cubicBezTo>
                  <a:pt x="13042" y="-173"/>
                  <a:pt x="12194" y="315"/>
                  <a:pt x="11976" y="1148"/>
                </a:cubicBezTo>
                <a:cubicBezTo>
                  <a:pt x="11784" y="1866"/>
                  <a:pt x="12085" y="2613"/>
                  <a:pt x="12687" y="2958"/>
                </a:cubicBezTo>
                <a:cubicBezTo>
                  <a:pt x="12085" y="4796"/>
                  <a:pt x="12085" y="4796"/>
                  <a:pt x="12085" y="4796"/>
                </a:cubicBezTo>
                <a:cubicBezTo>
                  <a:pt x="11757" y="4739"/>
                  <a:pt x="11429" y="4681"/>
                  <a:pt x="11073" y="4681"/>
                </a:cubicBezTo>
                <a:cubicBezTo>
                  <a:pt x="10745" y="4681"/>
                  <a:pt x="10445" y="4710"/>
                  <a:pt x="10144" y="4767"/>
                </a:cubicBezTo>
                <a:cubicBezTo>
                  <a:pt x="10226" y="5026"/>
                  <a:pt x="10281" y="5284"/>
                  <a:pt x="10281" y="5572"/>
                </a:cubicBezTo>
                <a:cubicBezTo>
                  <a:pt x="10281" y="6692"/>
                  <a:pt x="9406" y="7611"/>
                  <a:pt x="8339" y="7611"/>
                </a:cubicBezTo>
                <a:cubicBezTo>
                  <a:pt x="7820" y="7611"/>
                  <a:pt x="7328" y="7381"/>
                  <a:pt x="6972" y="7037"/>
                </a:cubicBezTo>
                <a:cubicBezTo>
                  <a:pt x="6808" y="7295"/>
                  <a:pt x="6699" y="7554"/>
                  <a:pt x="6589" y="7841"/>
                </a:cubicBezTo>
                <a:cubicBezTo>
                  <a:pt x="4894" y="7266"/>
                  <a:pt x="4894" y="7266"/>
                  <a:pt x="4894" y="7266"/>
                </a:cubicBezTo>
                <a:cubicBezTo>
                  <a:pt x="4949" y="7094"/>
                  <a:pt x="4949" y="6922"/>
                  <a:pt x="4949" y="6721"/>
                </a:cubicBezTo>
                <a:cubicBezTo>
                  <a:pt x="4949" y="5284"/>
                  <a:pt x="3855" y="4136"/>
                  <a:pt x="2488" y="4136"/>
                </a:cubicBezTo>
                <a:cubicBezTo>
                  <a:pt x="1121" y="4136"/>
                  <a:pt x="0" y="5284"/>
                  <a:pt x="0" y="6721"/>
                </a:cubicBezTo>
                <a:cubicBezTo>
                  <a:pt x="0" y="8186"/>
                  <a:pt x="1121" y="9334"/>
                  <a:pt x="2488" y="9334"/>
                </a:cubicBezTo>
                <a:cubicBezTo>
                  <a:pt x="3472" y="9334"/>
                  <a:pt x="4320" y="8703"/>
                  <a:pt x="4730" y="7812"/>
                </a:cubicBezTo>
                <a:cubicBezTo>
                  <a:pt x="6398" y="8387"/>
                  <a:pt x="6398" y="8387"/>
                  <a:pt x="6398" y="8387"/>
                </a:cubicBezTo>
                <a:cubicBezTo>
                  <a:pt x="6261" y="8846"/>
                  <a:pt x="6207" y="9306"/>
                  <a:pt x="6207" y="9794"/>
                </a:cubicBezTo>
                <a:cubicBezTo>
                  <a:pt x="6207" y="10570"/>
                  <a:pt x="6371" y="11316"/>
                  <a:pt x="6671" y="11977"/>
                </a:cubicBezTo>
                <a:cubicBezTo>
                  <a:pt x="4074" y="13729"/>
                  <a:pt x="4074" y="13729"/>
                  <a:pt x="4074" y="13729"/>
                </a:cubicBezTo>
                <a:cubicBezTo>
                  <a:pt x="3965" y="13614"/>
                  <a:pt x="3828" y="13528"/>
                  <a:pt x="3664" y="13471"/>
                </a:cubicBezTo>
                <a:cubicBezTo>
                  <a:pt x="3117" y="13298"/>
                  <a:pt x="2543" y="13643"/>
                  <a:pt x="2379" y="14217"/>
                </a:cubicBezTo>
                <a:cubicBezTo>
                  <a:pt x="2215" y="14792"/>
                  <a:pt x="2543" y="15395"/>
                  <a:pt x="3090" y="15567"/>
                </a:cubicBezTo>
                <a:cubicBezTo>
                  <a:pt x="3636" y="15740"/>
                  <a:pt x="4211" y="15395"/>
                  <a:pt x="4375" y="14821"/>
                </a:cubicBezTo>
                <a:cubicBezTo>
                  <a:pt x="4429" y="14620"/>
                  <a:pt x="4402" y="14390"/>
                  <a:pt x="4347" y="14189"/>
                </a:cubicBezTo>
                <a:cubicBezTo>
                  <a:pt x="6945" y="12494"/>
                  <a:pt x="6945" y="12494"/>
                  <a:pt x="6945" y="12494"/>
                </a:cubicBezTo>
                <a:cubicBezTo>
                  <a:pt x="7710" y="13787"/>
                  <a:pt x="8995" y="14677"/>
                  <a:pt x="10472" y="14849"/>
                </a:cubicBezTo>
                <a:cubicBezTo>
                  <a:pt x="10445" y="17262"/>
                  <a:pt x="10445" y="17262"/>
                  <a:pt x="10445" y="17262"/>
                </a:cubicBezTo>
                <a:cubicBezTo>
                  <a:pt x="10253" y="17291"/>
                  <a:pt x="10062" y="17348"/>
                  <a:pt x="9870" y="17463"/>
                </a:cubicBezTo>
                <a:cubicBezTo>
                  <a:pt x="8941" y="17951"/>
                  <a:pt x="8585" y="19129"/>
                  <a:pt x="9050" y="20106"/>
                </a:cubicBezTo>
                <a:cubicBezTo>
                  <a:pt x="9515" y="21054"/>
                  <a:pt x="10663" y="21427"/>
                  <a:pt x="11566" y="20939"/>
                </a:cubicBezTo>
                <a:cubicBezTo>
                  <a:pt x="12495" y="20450"/>
                  <a:pt x="12851" y="19273"/>
                  <a:pt x="12386" y="18296"/>
                </a:cubicBezTo>
                <a:cubicBezTo>
                  <a:pt x="12085" y="17722"/>
                  <a:pt x="11566" y="17348"/>
                  <a:pt x="10991" y="17262"/>
                </a:cubicBezTo>
                <a:cubicBezTo>
                  <a:pt x="11019" y="14907"/>
                  <a:pt x="11019" y="14907"/>
                  <a:pt x="11019" y="14907"/>
                </a:cubicBezTo>
                <a:cubicBezTo>
                  <a:pt x="11046" y="14907"/>
                  <a:pt x="11046" y="14907"/>
                  <a:pt x="11073" y="14907"/>
                </a:cubicBezTo>
                <a:cubicBezTo>
                  <a:pt x="13288" y="14907"/>
                  <a:pt x="15147" y="13356"/>
                  <a:pt x="15749" y="11201"/>
                </a:cubicBezTo>
                <a:cubicBezTo>
                  <a:pt x="18100" y="11833"/>
                  <a:pt x="18100" y="11833"/>
                  <a:pt x="18100" y="11833"/>
                </a:cubicBezTo>
                <a:cubicBezTo>
                  <a:pt x="18046" y="12666"/>
                  <a:pt x="18538" y="13442"/>
                  <a:pt x="19303" y="13672"/>
                </a:cubicBezTo>
                <a:cubicBezTo>
                  <a:pt x="20178" y="13930"/>
                  <a:pt x="21108" y="13384"/>
                  <a:pt x="21354" y="12465"/>
                </a:cubicBezTo>
                <a:cubicBezTo>
                  <a:pt x="21600" y="11546"/>
                  <a:pt x="21081" y="10570"/>
                  <a:pt x="20206" y="10311"/>
                </a:cubicBezTo>
                <a:close/>
                <a:moveTo>
                  <a:pt x="10308" y="13126"/>
                </a:moveTo>
                <a:cubicBezTo>
                  <a:pt x="8148" y="9536"/>
                  <a:pt x="8148" y="9536"/>
                  <a:pt x="8148" y="9536"/>
                </a:cubicBezTo>
                <a:cubicBezTo>
                  <a:pt x="9378" y="9536"/>
                  <a:pt x="9378" y="9536"/>
                  <a:pt x="9378" y="9536"/>
                </a:cubicBezTo>
                <a:cubicBezTo>
                  <a:pt x="10198" y="11230"/>
                  <a:pt x="10198" y="11230"/>
                  <a:pt x="10198" y="11230"/>
                </a:cubicBezTo>
                <a:cubicBezTo>
                  <a:pt x="10226" y="11230"/>
                  <a:pt x="10226" y="11230"/>
                  <a:pt x="10226" y="11230"/>
                </a:cubicBezTo>
                <a:cubicBezTo>
                  <a:pt x="12605" y="7381"/>
                  <a:pt x="12605" y="7381"/>
                  <a:pt x="12605" y="7381"/>
                </a:cubicBezTo>
                <a:cubicBezTo>
                  <a:pt x="13808" y="7381"/>
                  <a:pt x="13808" y="7381"/>
                  <a:pt x="13808" y="7381"/>
                </a:cubicBezTo>
                <a:lnTo>
                  <a:pt x="10308" y="13126"/>
                </a:ln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t">
            <a:noAutofit/>
          </a:bodyPr>
          <a:lstStyle/>
          <a:p>
            <a:pPr>
              <a:defRPr sz="3600" b="1"/>
            </a:pPr>
            <a:endParaRPr sz="1350"/>
          </a:p>
        </p:txBody>
      </p:sp>
      <p:sp>
        <p:nvSpPr>
          <p:cNvPr id="48" name="Titre 15"/>
          <p:cNvSpPr txBox="1">
            <a:spLocks/>
          </p:cNvSpPr>
          <p:nvPr/>
        </p:nvSpPr>
        <p:spPr>
          <a:xfrm>
            <a:off x="3802004" y="3850068"/>
            <a:ext cx="2000612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Whole Rainbow services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0" name="Titre 15"/>
          <p:cNvSpPr txBox="1">
            <a:spLocks/>
          </p:cNvSpPr>
          <p:nvPr/>
        </p:nvSpPr>
        <p:spPr>
          <a:xfrm>
            <a:off x="3802003" y="4212962"/>
            <a:ext cx="1746106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3447586" y="3444290"/>
            <a:ext cx="2291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ACCESS RAINBOW OFFICIAL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3" name="Oval 79"/>
          <p:cNvSpPr/>
          <p:nvPr/>
        </p:nvSpPr>
        <p:spPr>
          <a:xfrm>
            <a:off x="6989707" y="2500825"/>
            <a:ext cx="916401" cy="890193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4" name="Freeform 22"/>
          <p:cNvSpPr/>
          <p:nvPr/>
        </p:nvSpPr>
        <p:spPr>
          <a:xfrm>
            <a:off x="7196750" y="2663994"/>
            <a:ext cx="502314" cy="463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50" y="7706"/>
                </a:moveTo>
                <a:cubicBezTo>
                  <a:pt x="20688" y="7706"/>
                  <a:pt x="20559" y="7843"/>
                  <a:pt x="20430" y="7979"/>
                </a:cubicBezTo>
                <a:cubicBezTo>
                  <a:pt x="13921" y="7156"/>
                  <a:pt x="13921" y="7156"/>
                  <a:pt x="13921" y="7156"/>
                </a:cubicBezTo>
                <a:cubicBezTo>
                  <a:pt x="11060" y="1101"/>
                  <a:pt x="11060" y="1101"/>
                  <a:pt x="11060" y="1101"/>
                </a:cubicBezTo>
                <a:cubicBezTo>
                  <a:pt x="11060" y="960"/>
                  <a:pt x="11189" y="823"/>
                  <a:pt x="11189" y="687"/>
                </a:cubicBezTo>
                <a:cubicBezTo>
                  <a:pt x="11189" y="273"/>
                  <a:pt x="10927" y="0"/>
                  <a:pt x="10673" y="0"/>
                </a:cubicBezTo>
                <a:cubicBezTo>
                  <a:pt x="10282" y="0"/>
                  <a:pt x="10023" y="273"/>
                  <a:pt x="10023" y="550"/>
                </a:cubicBezTo>
                <a:cubicBezTo>
                  <a:pt x="10023" y="823"/>
                  <a:pt x="10152" y="960"/>
                  <a:pt x="10282" y="1101"/>
                </a:cubicBezTo>
                <a:cubicBezTo>
                  <a:pt x="9240" y="3439"/>
                  <a:pt x="9240" y="3439"/>
                  <a:pt x="9240" y="3439"/>
                </a:cubicBezTo>
                <a:cubicBezTo>
                  <a:pt x="9761" y="4404"/>
                  <a:pt x="9890" y="5505"/>
                  <a:pt x="9370" y="6601"/>
                </a:cubicBezTo>
                <a:cubicBezTo>
                  <a:pt x="8720" y="8257"/>
                  <a:pt x="6767" y="8944"/>
                  <a:pt x="5205" y="8257"/>
                </a:cubicBezTo>
                <a:cubicBezTo>
                  <a:pt x="4947" y="8116"/>
                  <a:pt x="4685" y="7979"/>
                  <a:pt x="4427" y="7706"/>
                </a:cubicBezTo>
                <a:cubicBezTo>
                  <a:pt x="1174" y="8257"/>
                  <a:pt x="1174" y="8257"/>
                  <a:pt x="1174" y="8257"/>
                </a:cubicBezTo>
                <a:cubicBezTo>
                  <a:pt x="1174" y="7979"/>
                  <a:pt x="912" y="7843"/>
                  <a:pt x="654" y="7706"/>
                </a:cubicBezTo>
                <a:cubicBezTo>
                  <a:pt x="391" y="7706"/>
                  <a:pt x="133" y="7979"/>
                  <a:pt x="0" y="8393"/>
                </a:cubicBezTo>
                <a:cubicBezTo>
                  <a:pt x="0" y="8666"/>
                  <a:pt x="262" y="9080"/>
                  <a:pt x="654" y="9080"/>
                </a:cubicBezTo>
                <a:cubicBezTo>
                  <a:pt x="783" y="9080"/>
                  <a:pt x="912" y="8944"/>
                  <a:pt x="912" y="8944"/>
                </a:cubicBezTo>
                <a:cubicBezTo>
                  <a:pt x="5597" y="13616"/>
                  <a:pt x="5597" y="13616"/>
                  <a:pt x="5597" y="13616"/>
                </a:cubicBezTo>
                <a:cubicBezTo>
                  <a:pt x="4556" y="20363"/>
                  <a:pt x="4556" y="20363"/>
                  <a:pt x="4556" y="20363"/>
                </a:cubicBezTo>
                <a:cubicBezTo>
                  <a:pt x="4298" y="20363"/>
                  <a:pt x="4035" y="20636"/>
                  <a:pt x="3906" y="20913"/>
                </a:cubicBezTo>
                <a:cubicBezTo>
                  <a:pt x="3906" y="21323"/>
                  <a:pt x="4164" y="21600"/>
                  <a:pt x="4556" y="21600"/>
                </a:cubicBezTo>
                <a:cubicBezTo>
                  <a:pt x="4818" y="21600"/>
                  <a:pt x="5076" y="21323"/>
                  <a:pt x="5205" y="20913"/>
                </a:cubicBezTo>
                <a:cubicBezTo>
                  <a:pt x="5205" y="20913"/>
                  <a:pt x="5205" y="20772"/>
                  <a:pt x="5076" y="20772"/>
                </a:cubicBezTo>
                <a:cubicBezTo>
                  <a:pt x="10802" y="17469"/>
                  <a:pt x="10802" y="17469"/>
                  <a:pt x="10802" y="17469"/>
                </a:cubicBezTo>
                <a:cubicBezTo>
                  <a:pt x="16653" y="20636"/>
                  <a:pt x="16653" y="20636"/>
                  <a:pt x="16653" y="20636"/>
                </a:cubicBezTo>
                <a:cubicBezTo>
                  <a:pt x="16653" y="20772"/>
                  <a:pt x="16653" y="20772"/>
                  <a:pt x="16653" y="20913"/>
                </a:cubicBezTo>
                <a:cubicBezTo>
                  <a:pt x="16653" y="21186"/>
                  <a:pt x="16915" y="21600"/>
                  <a:pt x="17173" y="21600"/>
                </a:cubicBezTo>
                <a:cubicBezTo>
                  <a:pt x="17565" y="21600"/>
                  <a:pt x="17827" y="21323"/>
                  <a:pt x="17827" y="20913"/>
                </a:cubicBezTo>
                <a:cubicBezTo>
                  <a:pt x="17827" y="20636"/>
                  <a:pt x="17565" y="20363"/>
                  <a:pt x="17307" y="20363"/>
                </a:cubicBezTo>
                <a:cubicBezTo>
                  <a:pt x="17173" y="20363"/>
                  <a:pt x="17173" y="20363"/>
                  <a:pt x="17044" y="20363"/>
                </a:cubicBezTo>
                <a:cubicBezTo>
                  <a:pt x="15874" y="13480"/>
                  <a:pt x="15874" y="13480"/>
                  <a:pt x="15874" y="13480"/>
                </a:cubicBezTo>
                <a:cubicBezTo>
                  <a:pt x="20430" y="8666"/>
                  <a:pt x="20430" y="8666"/>
                  <a:pt x="20430" y="8666"/>
                </a:cubicBezTo>
                <a:cubicBezTo>
                  <a:pt x="20559" y="8807"/>
                  <a:pt x="20688" y="8944"/>
                  <a:pt x="20950" y="8944"/>
                </a:cubicBezTo>
                <a:cubicBezTo>
                  <a:pt x="21209" y="8944"/>
                  <a:pt x="21471" y="8666"/>
                  <a:pt x="21600" y="8257"/>
                </a:cubicBezTo>
                <a:cubicBezTo>
                  <a:pt x="21600" y="7979"/>
                  <a:pt x="21338" y="7706"/>
                  <a:pt x="20950" y="7706"/>
                </a:cubicBezTo>
              </a:path>
            </a:pathLst>
          </a:custGeom>
          <a:solidFill>
            <a:srgbClr val="FFFFFF">
              <a:alpha val="85000"/>
            </a:srgbClr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ctr">
            <a:normAutofit/>
          </a:bodyPr>
          <a:lstStyle/>
          <a:p>
            <a:pPr>
              <a:spcBef>
                <a:spcPts val="0"/>
              </a:spcBef>
              <a:defRPr sz="4000">
                <a:latin typeface="Arial"/>
                <a:ea typeface="Arial"/>
                <a:cs typeface="Arial"/>
                <a:sym typeface="Arial"/>
              </a:defRPr>
            </a:pPr>
            <a:endParaRPr sz="1500"/>
          </a:p>
        </p:txBody>
      </p:sp>
      <p:sp>
        <p:nvSpPr>
          <p:cNvPr id="65" name="ZoneTexte 64"/>
          <p:cNvSpPr txBox="1"/>
          <p:nvPr/>
        </p:nvSpPr>
        <p:spPr>
          <a:xfrm>
            <a:off x="6291848" y="3444291"/>
            <a:ext cx="2312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SDK ESR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6" name="Titre 15"/>
          <p:cNvSpPr txBox="1">
            <a:spLocks/>
          </p:cNvSpPr>
          <p:nvPr/>
        </p:nvSpPr>
        <p:spPr>
          <a:xfrm>
            <a:off x="6654199" y="3832758"/>
            <a:ext cx="2083025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Extended Support Release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68" name="Titre 15"/>
          <p:cNvSpPr txBox="1">
            <a:spLocks/>
          </p:cNvSpPr>
          <p:nvPr/>
        </p:nvSpPr>
        <p:spPr>
          <a:xfrm>
            <a:off x="6666806" y="4212962"/>
            <a:ext cx="1584541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ALE Support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74" name="Straight Connector 112"/>
          <p:cNvSpPr/>
          <p:nvPr/>
        </p:nvSpPr>
        <p:spPr>
          <a:xfrm flipV="1">
            <a:off x="1764178" y="1546979"/>
            <a:ext cx="1732589" cy="1117015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5" name="Straight Connector 112"/>
          <p:cNvSpPr/>
          <p:nvPr/>
        </p:nvSpPr>
        <p:spPr>
          <a:xfrm flipH="1" flipV="1">
            <a:off x="4554702" y="1732163"/>
            <a:ext cx="6673" cy="681696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6" name="Straight Connector 112"/>
          <p:cNvSpPr/>
          <p:nvPr/>
        </p:nvSpPr>
        <p:spPr>
          <a:xfrm flipH="1" flipV="1">
            <a:off x="5560033" y="1527696"/>
            <a:ext cx="1534910" cy="1001489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cxnSp>
        <p:nvCxnSpPr>
          <p:cNvPr id="77" name="Connecteur droit 76"/>
          <p:cNvCxnSpPr/>
          <p:nvPr/>
        </p:nvCxnSpPr>
        <p:spPr bwMode="auto">
          <a:xfrm flipV="1">
            <a:off x="644376" y="3752879"/>
            <a:ext cx="1424494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8" name="Connecteur droit 77"/>
          <p:cNvCxnSpPr/>
          <p:nvPr/>
        </p:nvCxnSpPr>
        <p:spPr bwMode="auto">
          <a:xfrm flipV="1">
            <a:off x="3880919" y="3779879"/>
            <a:ext cx="1424494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9" name="Connecteur droit 78"/>
          <p:cNvCxnSpPr/>
          <p:nvPr/>
        </p:nvCxnSpPr>
        <p:spPr bwMode="auto">
          <a:xfrm flipV="1">
            <a:off x="6697039" y="3783212"/>
            <a:ext cx="1424494" cy="1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34" name="Group 92"/>
          <p:cNvGrpSpPr/>
          <p:nvPr/>
        </p:nvGrpSpPr>
        <p:grpSpPr>
          <a:xfrm>
            <a:off x="4266586" y="560405"/>
            <a:ext cx="576232" cy="576232"/>
            <a:chOff x="2156490" y="2774869"/>
            <a:chExt cx="576232" cy="576232"/>
          </a:xfrm>
        </p:grpSpPr>
        <p:sp>
          <p:nvSpPr>
            <p:cNvPr id="35" name="Oval 38"/>
            <p:cNvSpPr/>
            <p:nvPr/>
          </p:nvSpPr>
          <p:spPr>
            <a:xfrm>
              <a:off x="2156490" y="2774869"/>
              <a:ext cx="576232" cy="576232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6" name="Oval 39"/>
            <p:cNvSpPr/>
            <p:nvPr/>
          </p:nvSpPr>
          <p:spPr>
            <a:xfrm>
              <a:off x="2221795" y="2837993"/>
              <a:ext cx="448718" cy="448718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7" name="TextBox 40"/>
            <p:cNvSpPr txBox="1"/>
            <p:nvPr/>
          </p:nvSpPr>
          <p:spPr>
            <a:xfrm>
              <a:off x="2172398" y="2835799"/>
              <a:ext cx="526415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4</a:t>
              </a:r>
            </a:p>
          </p:txBody>
        </p:sp>
      </p:grpSp>
      <p:grpSp>
        <p:nvGrpSpPr>
          <p:cNvPr id="38" name="Group 92"/>
          <p:cNvGrpSpPr/>
          <p:nvPr/>
        </p:nvGrpSpPr>
        <p:grpSpPr>
          <a:xfrm>
            <a:off x="86400" y="73297"/>
            <a:ext cx="576232" cy="576232"/>
            <a:chOff x="2156490" y="2774869"/>
            <a:chExt cx="576232" cy="576232"/>
          </a:xfrm>
        </p:grpSpPr>
        <p:sp>
          <p:nvSpPr>
            <p:cNvPr id="39" name="Oval 38"/>
            <p:cNvSpPr/>
            <p:nvPr/>
          </p:nvSpPr>
          <p:spPr>
            <a:xfrm>
              <a:off x="2156490" y="2774869"/>
              <a:ext cx="576232" cy="576232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1" name="Oval 39"/>
            <p:cNvSpPr/>
            <p:nvPr/>
          </p:nvSpPr>
          <p:spPr>
            <a:xfrm>
              <a:off x="2221795" y="2837993"/>
              <a:ext cx="448718" cy="448718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2" name="TextBox 40"/>
            <p:cNvSpPr txBox="1"/>
            <p:nvPr/>
          </p:nvSpPr>
          <p:spPr>
            <a:xfrm>
              <a:off x="2172398" y="2835799"/>
              <a:ext cx="526415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4</a:t>
              </a:r>
            </a:p>
          </p:txBody>
        </p:sp>
      </p:grpSp>
      <p:sp>
        <p:nvSpPr>
          <p:cNvPr id="43" name="Titre 15"/>
          <p:cNvSpPr txBox="1">
            <a:spLocks/>
          </p:cNvSpPr>
          <p:nvPr/>
        </p:nvSpPr>
        <p:spPr>
          <a:xfrm>
            <a:off x="3802002" y="4209198"/>
            <a:ext cx="2000612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Application Lifecycle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16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68783" y="170260"/>
            <a:ext cx="3986971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APPLICATION LIFECYCLE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76476" y="4067067"/>
            <a:ext cx="2763224" cy="23360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537525" y="4068358"/>
            <a:ext cx="2183649" cy="23360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1" name="Titre 15"/>
          <p:cNvSpPr txBox="1">
            <a:spLocks/>
          </p:cNvSpPr>
          <p:nvPr/>
        </p:nvSpPr>
        <p:spPr>
          <a:xfrm>
            <a:off x="124488" y="4300673"/>
            <a:ext cx="3148933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DEVELOPERS SANDBOXED PLATFORM</a:t>
            </a:r>
            <a:endParaRPr lang="fr-FR" sz="10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12" name="Titre 15"/>
          <p:cNvSpPr txBox="1">
            <a:spLocks/>
          </p:cNvSpPr>
          <p:nvPr/>
        </p:nvSpPr>
        <p:spPr>
          <a:xfrm>
            <a:off x="4490807" y="4300673"/>
            <a:ext cx="3148933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RAINBOW PLATFORM</a:t>
            </a:r>
            <a:endParaRPr lang="fr-FR" sz="10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13" name="Straight Connector 112"/>
          <p:cNvSpPr/>
          <p:nvPr/>
        </p:nvSpPr>
        <p:spPr>
          <a:xfrm flipV="1">
            <a:off x="3693750" y="2855498"/>
            <a:ext cx="11688" cy="1928057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3" name="Rectangle à coins arrondis 2"/>
          <p:cNvSpPr/>
          <p:nvPr/>
        </p:nvSpPr>
        <p:spPr>
          <a:xfrm>
            <a:off x="611938" y="2640713"/>
            <a:ext cx="946150" cy="25363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800" dirty="0" smtClean="0">
                <a:solidFill>
                  <a:schemeClr val="bg1"/>
                </a:solidFill>
                <a:latin typeface="Trebuchet MS"/>
                <a:cs typeface="Trebuchet MS"/>
              </a:rPr>
              <a:t>ASK TO DEPLOY</a:t>
            </a:r>
            <a:endParaRPr lang="fr-FR" sz="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3236689" y="1813787"/>
            <a:ext cx="946150" cy="94615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499887" y="2415136"/>
            <a:ext cx="4411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ALE</a:t>
            </a:r>
            <a:endParaRPr lang="fr-FR" sz="1200" dirty="0"/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611938" y="2930440"/>
            <a:ext cx="946150" cy="1098550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557594" y="2897302"/>
            <a:ext cx="4475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smtClean="0">
                <a:solidFill>
                  <a:srgbClr val="FFFFFF"/>
                </a:solidFill>
              </a:rPr>
              <a:t>APP</a:t>
            </a:r>
            <a:endParaRPr lang="fr-FR" sz="1200" dirty="0"/>
          </a:p>
        </p:txBody>
      </p:sp>
      <p:sp>
        <p:nvSpPr>
          <p:cNvPr id="21" name="Rectangle 20"/>
          <p:cNvSpPr/>
          <p:nvPr/>
        </p:nvSpPr>
        <p:spPr>
          <a:xfrm>
            <a:off x="622342" y="3207439"/>
            <a:ext cx="85151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 smtClean="0">
                <a:solidFill>
                  <a:srgbClr val="FFFFFF"/>
                </a:solidFill>
              </a:rPr>
              <a:t>ENV: </a:t>
            </a:r>
            <a:r>
              <a:rPr lang="en-US" sz="700" b="1" dirty="0" smtClean="0">
                <a:solidFill>
                  <a:schemeClr val="accent6"/>
                </a:solidFill>
              </a:rPr>
              <a:t>SANDBOX</a:t>
            </a:r>
            <a:endParaRPr lang="fr-FR" sz="700" b="1" dirty="0">
              <a:solidFill>
                <a:schemeClr val="accent6"/>
              </a:solidFill>
            </a:endParaRPr>
          </a:p>
        </p:txBody>
      </p:sp>
      <p:pic>
        <p:nvPicPr>
          <p:cNvPr id="22" name="Image 21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4629272" y="2923851"/>
            <a:ext cx="946150" cy="1098550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4574928" y="2890713"/>
            <a:ext cx="4475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smtClean="0">
                <a:solidFill>
                  <a:srgbClr val="FFFFFF"/>
                </a:solidFill>
              </a:rPr>
              <a:t>APP</a:t>
            </a:r>
            <a:endParaRPr lang="fr-FR" sz="1200" dirty="0"/>
          </a:p>
        </p:txBody>
      </p:sp>
      <p:sp>
        <p:nvSpPr>
          <p:cNvPr id="24" name="Rectangle 23"/>
          <p:cNvSpPr/>
          <p:nvPr/>
        </p:nvSpPr>
        <p:spPr>
          <a:xfrm>
            <a:off x="4638861" y="3200850"/>
            <a:ext cx="891591" cy="361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 smtClean="0">
                <a:solidFill>
                  <a:srgbClr val="FFFFFF"/>
                </a:solidFill>
              </a:rPr>
              <a:t>ENV: </a:t>
            </a:r>
            <a:r>
              <a:rPr lang="en-US" sz="700" b="1" dirty="0" smtClean="0">
                <a:solidFill>
                  <a:schemeClr val="accent5"/>
                </a:solidFill>
              </a:rPr>
              <a:t>DEPLOYED</a:t>
            </a:r>
          </a:p>
          <a:p>
            <a:r>
              <a:rPr lang="en-US" sz="700" dirty="0" smtClean="0">
                <a:solidFill>
                  <a:schemeClr val="bg1"/>
                </a:solidFill>
              </a:rPr>
              <a:t>STATE: </a:t>
            </a:r>
            <a:r>
              <a:rPr lang="en-US" sz="700" b="1" dirty="0" smtClean="0">
                <a:solidFill>
                  <a:schemeClr val="accent4"/>
                </a:solidFill>
              </a:rPr>
              <a:t>NEW</a:t>
            </a:r>
            <a:endParaRPr lang="fr-FR" sz="700" b="1" dirty="0">
              <a:solidFill>
                <a:schemeClr val="accent4"/>
              </a:solidFill>
            </a:endParaRPr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5679668" y="2922866"/>
            <a:ext cx="946150" cy="109855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5625324" y="2889728"/>
            <a:ext cx="4475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APP</a:t>
            </a:r>
            <a:endParaRPr lang="fr-FR" sz="1200" dirty="0"/>
          </a:p>
        </p:txBody>
      </p:sp>
      <p:sp>
        <p:nvSpPr>
          <p:cNvPr id="27" name="Rectangle 26"/>
          <p:cNvSpPr/>
          <p:nvPr/>
        </p:nvSpPr>
        <p:spPr>
          <a:xfrm>
            <a:off x="5689257" y="3199865"/>
            <a:ext cx="925253" cy="361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 smtClean="0">
                <a:solidFill>
                  <a:srgbClr val="FFFFFF"/>
                </a:solidFill>
              </a:rPr>
              <a:t>ENV: </a:t>
            </a:r>
            <a:r>
              <a:rPr lang="en-US" sz="700" b="1" dirty="0" smtClean="0">
                <a:solidFill>
                  <a:schemeClr val="accent5"/>
                </a:solidFill>
              </a:rPr>
              <a:t>DEPLOYED</a:t>
            </a:r>
          </a:p>
          <a:p>
            <a:r>
              <a:rPr lang="en-US" sz="700" dirty="0" smtClean="0">
                <a:solidFill>
                  <a:schemeClr val="bg1"/>
                </a:solidFill>
              </a:rPr>
              <a:t>STATE: </a:t>
            </a:r>
            <a:r>
              <a:rPr lang="en-US" sz="700" b="1" dirty="0" smtClean="0">
                <a:solidFill>
                  <a:schemeClr val="accent4"/>
                </a:solidFill>
              </a:rPr>
              <a:t>ACTIVE</a:t>
            </a:r>
            <a:endParaRPr lang="fr-FR" sz="700" b="1" dirty="0">
              <a:solidFill>
                <a:schemeClr val="accent4"/>
              </a:solidFill>
            </a:endParaRPr>
          </a:p>
        </p:txBody>
      </p:sp>
      <p:pic>
        <p:nvPicPr>
          <p:cNvPr id="28" name="Image 27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1700987" y="1051887"/>
            <a:ext cx="946150" cy="1098550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1646643" y="1018749"/>
            <a:ext cx="4475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APP</a:t>
            </a:r>
            <a:endParaRPr lang="fr-FR" sz="1200" dirty="0"/>
          </a:p>
        </p:txBody>
      </p:sp>
      <p:sp>
        <p:nvSpPr>
          <p:cNvPr id="30" name="Rectangle 29"/>
          <p:cNvSpPr/>
          <p:nvPr/>
        </p:nvSpPr>
        <p:spPr>
          <a:xfrm>
            <a:off x="1711391" y="1328886"/>
            <a:ext cx="86641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>
                <a:solidFill>
                  <a:srgbClr val="FFFFFF"/>
                </a:solidFill>
              </a:rPr>
              <a:t>ENV: </a:t>
            </a:r>
            <a:r>
              <a:rPr lang="en-US" sz="700" b="1" dirty="0" smtClean="0">
                <a:solidFill>
                  <a:schemeClr val="accent6"/>
                </a:solidFill>
              </a:rPr>
              <a:t>IN-DEPLOYMENT</a:t>
            </a:r>
            <a:endParaRPr lang="fr-FR" sz="700" b="1" dirty="0">
              <a:solidFill>
                <a:schemeClr val="accent6"/>
              </a:solidFill>
            </a:endParaRPr>
          </a:p>
        </p:txBody>
      </p:sp>
      <p:sp>
        <p:nvSpPr>
          <p:cNvPr id="8" name="Virage 7"/>
          <p:cNvSpPr/>
          <p:nvPr/>
        </p:nvSpPr>
        <p:spPr>
          <a:xfrm>
            <a:off x="1054565" y="2173728"/>
            <a:ext cx="2197164" cy="466985"/>
          </a:xfrm>
          <a:prstGeom prst="bentArrow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4" name="Virage 13"/>
          <p:cNvSpPr/>
          <p:nvPr/>
        </p:nvSpPr>
        <p:spPr>
          <a:xfrm rot="5400000">
            <a:off x="4328350" y="2070035"/>
            <a:ext cx="736847" cy="1005251"/>
          </a:xfrm>
          <a:prstGeom prst="bentArrow">
            <a:avLst>
              <a:gd name="adj1" fmla="val 16847"/>
              <a:gd name="adj2" fmla="val 15489"/>
              <a:gd name="adj3" fmla="val 18659"/>
              <a:gd name="adj4" fmla="val 43750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pic>
        <p:nvPicPr>
          <p:cNvPr id="33" name="Image 32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6856876" y="2921977"/>
            <a:ext cx="946150" cy="1098550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>
          <a:xfrm>
            <a:off x="6802532" y="2888839"/>
            <a:ext cx="4475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smtClean="0">
                <a:solidFill>
                  <a:srgbClr val="FFFFFF"/>
                </a:solidFill>
              </a:rPr>
              <a:t>APP</a:t>
            </a:r>
            <a:endParaRPr lang="fr-FR" sz="1200" dirty="0"/>
          </a:p>
        </p:txBody>
      </p:sp>
      <p:sp>
        <p:nvSpPr>
          <p:cNvPr id="36" name="Rectangle 35"/>
          <p:cNvSpPr/>
          <p:nvPr/>
        </p:nvSpPr>
        <p:spPr>
          <a:xfrm>
            <a:off x="6866465" y="3198976"/>
            <a:ext cx="925253" cy="361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 smtClean="0">
                <a:solidFill>
                  <a:srgbClr val="FFFFFF"/>
                </a:solidFill>
              </a:rPr>
              <a:t>ENV: </a:t>
            </a:r>
            <a:r>
              <a:rPr lang="en-US" sz="700" b="1" dirty="0" smtClean="0">
                <a:solidFill>
                  <a:schemeClr val="accent5"/>
                </a:solidFill>
              </a:rPr>
              <a:t>DEPLOYED</a:t>
            </a:r>
          </a:p>
          <a:p>
            <a:r>
              <a:rPr lang="en-US" sz="700" dirty="0" smtClean="0">
                <a:solidFill>
                  <a:schemeClr val="bg1"/>
                </a:solidFill>
              </a:rPr>
              <a:t>STATE: </a:t>
            </a:r>
            <a:r>
              <a:rPr lang="en-US" sz="700" b="1" dirty="0" smtClean="0">
                <a:solidFill>
                  <a:schemeClr val="accent4"/>
                </a:solidFill>
              </a:rPr>
              <a:t>STOPPED</a:t>
            </a:r>
            <a:endParaRPr lang="fr-FR" sz="700" b="1" dirty="0">
              <a:solidFill>
                <a:schemeClr val="accent4"/>
              </a:solidFill>
            </a:endParaRPr>
          </a:p>
        </p:txBody>
      </p:sp>
      <p:pic>
        <p:nvPicPr>
          <p:cNvPr id="37" name="Image 36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8038889" y="2921977"/>
            <a:ext cx="946150" cy="1098550"/>
          </a:xfrm>
          <a:prstGeom prst="rect">
            <a:avLst/>
          </a:prstGeom>
          <a:pattFill prst="lgCheck">
            <a:fgClr>
              <a:schemeClr val="tx1">
                <a:lumMod val="65000"/>
                <a:lumOff val="35000"/>
              </a:schemeClr>
            </a:fgClr>
            <a:bgClr>
              <a:schemeClr val="bg1">
                <a:lumMod val="50000"/>
              </a:schemeClr>
            </a:bgClr>
          </a:pattFill>
        </p:spPr>
      </p:pic>
      <p:sp>
        <p:nvSpPr>
          <p:cNvPr id="38" name="Rectangle 37"/>
          <p:cNvSpPr/>
          <p:nvPr/>
        </p:nvSpPr>
        <p:spPr>
          <a:xfrm>
            <a:off x="8004570" y="2888839"/>
            <a:ext cx="4475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smtClean="0">
                <a:solidFill>
                  <a:srgbClr val="FFFFFF"/>
                </a:solidFill>
              </a:rPr>
              <a:t>APP</a:t>
            </a:r>
            <a:endParaRPr lang="fr-FR" sz="1200" dirty="0"/>
          </a:p>
        </p:txBody>
      </p:sp>
      <p:sp>
        <p:nvSpPr>
          <p:cNvPr id="39" name="Rectangle 38"/>
          <p:cNvSpPr/>
          <p:nvPr/>
        </p:nvSpPr>
        <p:spPr>
          <a:xfrm>
            <a:off x="8048478" y="3198976"/>
            <a:ext cx="925253" cy="361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 smtClean="0">
                <a:solidFill>
                  <a:srgbClr val="FFFFFF"/>
                </a:solidFill>
              </a:rPr>
              <a:t>ENV: </a:t>
            </a:r>
            <a:r>
              <a:rPr lang="en-US" sz="700" b="1" dirty="0" smtClean="0">
                <a:solidFill>
                  <a:schemeClr val="accent5"/>
                </a:solidFill>
              </a:rPr>
              <a:t>DEPLOYED</a:t>
            </a:r>
          </a:p>
          <a:p>
            <a:r>
              <a:rPr lang="en-US" sz="700" dirty="0" smtClean="0">
                <a:solidFill>
                  <a:schemeClr val="bg1"/>
                </a:solidFill>
              </a:rPr>
              <a:t>STATE: </a:t>
            </a:r>
            <a:r>
              <a:rPr lang="en-US" sz="700" b="1" dirty="0" smtClean="0">
                <a:solidFill>
                  <a:schemeClr val="accent4"/>
                </a:solidFill>
              </a:rPr>
              <a:t>DELETED</a:t>
            </a:r>
            <a:endParaRPr lang="fr-FR" sz="700" b="1" dirty="0">
              <a:solidFill>
                <a:schemeClr val="accent4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6704077" y="4069362"/>
            <a:ext cx="2379854" cy="233606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pic>
        <p:nvPicPr>
          <p:cNvPr id="41" name="Image 4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6851351" y="1705133"/>
            <a:ext cx="946150" cy="1098550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6797007" y="1671995"/>
            <a:ext cx="4475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smtClean="0">
                <a:solidFill>
                  <a:srgbClr val="FFFFFF"/>
                </a:solidFill>
              </a:rPr>
              <a:t>APP</a:t>
            </a:r>
            <a:endParaRPr lang="fr-FR" sz="1200" dirty="0"/>
          </a:p>
        </p:txBody>
      </p:sp>
      <p:sp>
        <p:nvSpPr>
          <p:cNvPr id="43" name="Rectangle 42"/>
          <p:cNvSpPr/>
          <p:nvPr/>
        </p:nvSpPr>
        <p:spPr>
          <a:xfrm>
            <a:off x="6860940" y="1982132"/>
            <a:ext cx="925253" cy="361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 smtClean="0">
                <a:solidFill>
                  <a:srgbClr val="FFFFFF"/>
                </a:solidFill>
              </a:rPr>
              <a:t>ENV: </a:t>
            </a:r>
            <a:r>
              <a:rPr lang="en-US" sz="700" b="1" dirty="0" smtClean="0">
                <a:solidFill>
                  <a:schemeClr val="accent5"/>
                </a:solidFill>
              </a:rPr>
              <a:t>DEPLOYED</a:t>
            </a:r>
          </a:p>
          <a:p>
            <a:r>
              <a:rPr lang="en-US" sz="700" dirty="0" smtClean="0">
                <a:solidFill>
                  <a:schemeClr val="bg1"/>
                </a:solidFill>
              </a:rPr>
              <a:t>STATE: </a:t>
            </a:r>
            <a:r>
              <a:rPr lang="en-US" sz="700" b="1" dirty="0" smtClean="0">
                <a:solidFill>
                  <a:schemeClr val="accent4"/>
                </a:solidFill>
              </a:rPr>
              <a:t>BLOCKED</a:t>
            </a:r>
            <a:endParaRPr lang="fr-FR" sz="700" b="1" dirty="0">
              <a:solidFill>
                <a:schemeClr val="accent4"/>
              </a:solidFill>
            </a:endParaRPr>
          </a:p>
        </p:txBody>
      </p:sp>
      <p:pic>
        <p:nvPicPr>
          <p:cNvPr id="44" name="Image 43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5304953" y="768442"/>
            <a:ext cx="946150" cy="946150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5557455" y="1383606"/>
            <a:ext cx="4411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ALE</a:t>
            </a:r>
            <a:endParaRPr lang="fr-FR" sz="1200" dirty="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549010" y="2084102"/>
            <a:ext cx="342900" cy="342900"/>
          </a:xfrm>
          <a:prstGeom prst="rect">
            <a:avLst/>
          </a:prstGeom>
        </p:spPr>
      </p:pic>
      <p:pic>
        <p:nvPicPr>
          <p:cNvPr id="48" name="Image 4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06577" y="1050506"/>
            <a:ext cx="342900" cy="342900"/>
          </a:xfrm>
          <a:prstGeom prst="rect">
            <a:avLst/>
          </a:prstGeom>
        </p:spPr>
      </p:pic>
      <p:sp>
        <p:nvSpPr>
          <p:cNvPr id="17" name="Virage 16"/>
          <p:cNvSpPr/>
          <p:nvPr/>
        </p:nvSpPr>
        <p:spPr>
          <a:xfrm rot="5400000">
            <a:off x="6538386" y="837665"/>
            <a:ext cx="589645" cy="1164216"/>
          </a:xfrm>
          <a:prstGeom prst="bentArrow">
            <a:avLst>
              <a:gd name="adj1" fmla="val 20472"/>
              <a:gd name="adj2" fmla="val 18208"/>
              <a:gd name="adj3" fmla="val 25000"/>
              <a:gd name="adj4" fmla="val 43750"/>
            </a:avLst>
          </a:prstGeom>
          <a:solidFill>
            <a:srgbClr val="FF000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188964" y="910664"/>
            <a:ext cx="125547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rgbClr val="FF0000"/>
                </a:solidFill>
              </a:rPr>
              <a:t>API MISUSE / ABUSE</a:t>
            </a:r>
            <a:endParaRPr lang="fr-FR" sz="900" dirty="0">
              <a:solidFill>
                <a:srgbClr val="FF0000"/>
              </a:solidFill>
            </a:endParaRPr>
          </a:p>
        </p:txBody>
      </p:sp>
      <p:pic>
        <p:nvPicPr>
          <p:cNvPr id="50" name="Image 49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69794" y="2547625"/>
            <a:ext cx="186267" cy="419100"/>
          </a:xfrm>
          <a:prstGeom prst="rect">
            <a:avLst/>
          </a:prstGeom>
        </p:spPr>
      </p:pic>
      <p:sp>
        <p:nvSpPr>
          <p:cNvPr id="18" name="Flèche vers la droite 17"/>
          <p:cNvSpPr/>
          <p:nvPr/>
        </p:nvSpPr>
        <p:spPr>
          <a:xfrm>
            <a:off x="5199399" y="3627868"/>
            <a:ext cx="873484" cy="233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5222628" y="3642947"/>
            <a:ext cx="809837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700" dirty="0" smtClean="0">
                <a:solidFill>
                  <a:schemeClr val="bg1"/>
                </a:solidFill>
              </a:rPr>
              <a:t>First connection</a:t>
            </a:r>
            <a:endParaRPr lang="fr-FR" sz="700" dirty="0">
              <a:solidFill>
                <a:schemeClr val="bg1"/>
              </a:solidFill>
            </a:endParaRPr>
          </a:p>
        </p:txBody>
      </p:sp>
      <p:grpSp>
        <p:nvGrpSpPr>
          <p:cNvPr id="54" name="Group 92"/>
          <p:cNvGrpSpPr/>
          <p:nvPr/>
        </p:nvGrpSpPr>
        <p:grpSpPr>
          <a:xfrm>
            <a:off x="86400" y="73297"/>
            <a:ext cx="576232" cy="576232"/>
            <a:chOff x="2156490" y="2774869"/>
            <a:chExt cx="576232" cy="576232"/>
          </a:xfrm>
        </p:grpSpPr>
        <p:sp>
          <p:nvSpPr>
            <p:cNvPr id="55" name="Oval 38"/>
            <p:cNvSpPr/>
            <p:nvPr/>
          </p:nvSpPr>
          <p:spPr>
            <a:xfrm>
              <a:off x="2156490" y="2774869"/>
              <a:ext cx="576232" cy="576232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56" name="Oval 39"/>
            <p:cNvSpPr/>
            <p:nvPr/>
          </p:nvSpPr>
          <p:spPr>
            <a:xfrm>
              <a:off x="2221795" y="2837993"/>
              <a:ext cx="448718" cy="448718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57" name="TextBox 40"/>
            <p:cNvSpPr txBox="1"/>
            <p:nvPr/>
          </p:nvSpPr>
          <p:spPr>
            <a:xfrm>
              <a:off x="2172398" y="2835799"/>
              <a:ext cx="526415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4</a:t>
              </a:r>
            </a:p>
          </p:txBody>
        </p:sp>
      </p:grpSp>
      <p:sp>
        <p:nvSpPr>
          <p:cNvPr id="58" name="Titre 15"/>
          <p:cNvSpPr txBox="1">
            <a:spLocks/>
          </p:cNvSpPr>
          <p:nvPr/>
        </p:nvSpPr>
        <p:spPr>
          <a:xfrm>
            <a:off x="63178" y="2334525"/>
            <a:ext cx="799498" cy="26811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800" b="0" dirty="0" smtClean="0">
                <a:solidFill>
                  <a:srgbClr val="FFFFFF"/>
                </a:solidFill>
              </a:rPr>
              <a:t>DEVELOPER</a:t>
            </a:r>
            <a:endParaRPr lang="fr-FR" sz="800" b="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9" name="Titre 15"/>
          <p:cNvSpPr txBox="1">
            <a:spLocks/>
          </p:cNvSpPr>
          <p:nvPr/>
        </p:nvSpPr>
        <p:spPr>
          <a:xfrm>
            <a:off x="3251729" y="1606941"/>
            <a:ext cx="931110" cy="20355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VALIDATION</a:t>
            </a:r>
            <a:endParaRPr lang="fr-FR" sz="10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60" name="Titre 15"/>
          <p:cNvSpPr txBox="1">
            <a:spLocks/>
          </p:cNvSpPr>
          <p:nvPr/>
        </p:nvSpPr>
        <p:spPr>
          <a:xfrm>
            <a:off x="5312472" y="548320"/>
            <a:ext cx="931110" cy="20355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CONTROL</a:t>
            </a:r>
            <a:endParaRPr lang="fr-FR" sz="10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61" name="Straight Connector 112"/>
          <p:cNvSpPr/>
          <p:nvPr/>
        </p:nvSpPr>
        <p:spPr>
          <a:xfrm flipV="1">
            <a:off x="3705437" y="548320"/>
            <a:ext cx="1" cy="1042971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grpSp>
        <p:nvGrpSpPr>
          <p:cNvPr id="5" name="Grouper 4"/>
          <p:cNvGrpSpPr/>
          <p:nvPr/>
        </p:nvGrpSpPr>
        <p:grpSpPr>
          <a:xfrm>
            <a:off x="6340620" y="3625669"/>
            <a:ext cx="815817" cy="234610"/>
            <a:chOff x="6147485" y="4454166"/>
            <a:chExt cx="815817" cy="234610"/>
          </a:xfrm>
        </p:grpSpPr>
        <p:sp>
          <p:nvSpPr>
            <p:cNvPr id="62" name="Flèche vers la droite 61"/>
            <p:cNvSpPr/>
            <p:nvPr/>
          </p:nvSpPr>
          <p:spPr>
            <a:xfrm>
              <a:off x="6265718" y="4454166"/>
              <a:ext cx="697584" cy="233606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fr-FR">
                <a:latin typeface="Trebuchet MS"/>
                <a:cs typeface="Trebuchet MS"/>
              </a:endParaRPr>
            </a:p>
          </p:txBody>
        </p:sp>
        <p:sp>
          <p:nvSpPr>
            <p:cNvPr id="63" name="Flèche vers la droite 62"/>
            <p:cNvSpPr/>
            <p:nvPr/>
          </p:nvSpPr>
          <p:spPr>
            <a:xfrm rot="10800000">
              <a:off x="6147485" y="4455170"/>
              <a:ext cx="685251" cy="233606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fr-FR">
                <a:latin typeface="Trebuchet MS"/>
                <a:cs typeface="Trebuchet MS"/>
              </a:endParaRPr>
            </a:p>
          </p:txBody>
        </p:sp>
      </p:grpSp>
      <p:sp>
        <p:nvSpPr>
          <p:cNvPr id="64" name="Flèche vers la droite 63"/>
          <p:cNvSpPr/>
          <p:nvPr/>
        </p:nvSpPr>
        <p:spPr>
          <a:xfrm>
            <a:off x="7484881" y="3627868"/>
            <a:ext cx="873484" cy="233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pic>
        <p:nvPicPr>
          <p:cNvPr id="52" name="Image 5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668854" y="3323372"/>
            <a:ext cx="186267" cy="41910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840846" y="3323372"/>
            <a:ext cx="186267" cy="419100"/>
          </a:xfrm>
          <a:prstGeom prst="rect">
            <a:avLst/>
          </a:prstGeom>
        </p:spPr>
      </p:pic>
      <p:sp>
        <p:nvSpPr>
          <p:cNvPr id="66" name="Virage 65"/>
          <p:cNvSpPr/>
          <p:nvPr/>
        </p:nvSpPr>
        <p:spPr>
          <a:xfrm>
            <a:off x="6027572" y="1866861"/>
            <a:ext cx="829304" cy="969960"/>
          </a:xfrm>
          <a:prstGeom prst="bentArrow">
            <a:avLst>
              <a:gd name="adj1" fmla="val 16847"/>
              <a:gd name="adj2" fmla="val 15098"/>
              <a:gd name="adj3" fmla="val 18659"/>
              <a:gd name="adj4" fmla="val 43750"/>
            </a:avLst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67" name="Flèche vers la droite 66"/>
          <p:cNvSpPr/>
          <p:nvPr/>
        </p:nvSpPr>
        <p:spPr>
          <a:xfrm rot="5400000" flipV="1">
            <a:off x="5929322" y="2668886"/>
            <a:ext cx="322716" cy="233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93707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68174" y="170260"/>
            <a:ext cx="5962226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SDK BETA AND ESR (EXTENDED SUPPORT RELEASE)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4006" y="4733525"/>
            <a:ext cx="1114882" cy="29878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620388" y="1252842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306744" y="1252841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93100" y="1252840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679456" y="1252839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1620388" y="945062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29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306744" y="94468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30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993100" y="944304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31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679456" y="943925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32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4365812" y="943546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33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5052168" y="943167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34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5738524" y="942788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35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6424880" y="942409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36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7111236" y="942030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37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7797592" y="941651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Rainbow 1.3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365812" y="1252839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052168" y="1252839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738524" y="1252839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424880" y="1252839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111236" y="1252839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797592" y="1252839"/>
            <a:ext cx="56065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620388" y="2080338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1620388" y="1772558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29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306744" y="2085033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2306744" y="177725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0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993100" y="2089728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2993100" y="1781948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1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679456" y="2094423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3679456" y="178664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2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365812" y="2099118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4365812" y="1791338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3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052168" y="2103813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2" name="ZoneTexte 41"/>
          <p:cNvSpPr txBox="1"/>
          <p:nvPr/>
        </p:nvSpPr>
        <p:spPr>
          <a:xfrm>
            <a:off x="5052168" y="179603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4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738524" y="2108508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5738524" y="1800728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5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424880" y="2113203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6424880" y="180542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6</a:t>
            </a:r>
          </a:p>
        </p:txBody>
      </p:sp>
      <p:sp>
        <p:nvSpPr>
          <p:cNvPr id="49" name="Rectangle 48"/>
          <p:cNvSpPr/>
          <p:nvPr/>
        </p:nvSpPr>
        <p:spPr>
          <a:xfrm>
            <a:off x="7111236" y="2117898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7111236" y="1810118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7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797592" y="2122593"/>
            <a:ext cx="560654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2" name="ZoneTexte 51"/>
          <p:cNvSpPr txBox="1"/>
          <p:nvPr/>
        </p:nvSpPr>
        <p:spPr>
          <a:xfrm>
            <a:off x="7797592" y="181481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</a:t>
            </a:r>
            <a:b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8</a:t>
            </a:r>
          </a:p>
        </p:txBody>
      </p:sp>
      <p:sp>
        <p:nvSpPr>
          <p:cNvPr id="53" name="Rectangle 52"/>
          <p:cNvSpPr/>
          <p:nvPr/>
        </p:nvSpPr>
        <p:spPr>
          <a:xfrm>
            <a:off x="1620388" y="2862222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1620388" y="2554442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29.0</a:t>
            </a:r>
          </a:p>
        </p:txBody>
      </p:sp>
      <p:sp>
        <p:nvSpPr>
          <p:cNvPr id="55" name="Rectangle 54"/>
          <p:cNvSpPr/>
          <p:nvPr/>
        </p:nvSpPr>
        <p:spPr>
          <a:xfrm>
            <a:off x="2306744" y="2862222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2306744" y="2554442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29.1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993100" y="2862222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8" name="ZoneTexte 57"/>
          <p:cNvSpPr txBox="1"/>
          <p:nvPr/>
        </p:nvSpPr>
        <p:spPr>
          <a:xfrm>
            <a:off x="2993100" y="2554442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29.2</a:t>
            </a:r>
          </a:p>
        </p:txBody>
      </p:sp>
      <p:sp>
        <p:nvSpPr>
          <p:cNvPr id="59" name="Rectangle 58"/>
          <p:cNvSpPr/>
          <p:nvPr/>
        </p:nvSpPr>
        <p:spPr>
          <a:xfrm>
            <a:off x="3679456" y="2862222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60" name="ZoneTexte 59"/>
          <p:cNvSpPr txBox="1"/>
          <p:nvPr/>
        </p:nvSpPr>
        <p:spPr>
          <a:xfrm>
            <a:off x="3679456" y="2554442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29.3</a:t>
            </a:r>
          </a:p>
        </p:txBody>
      </p:sp>
      <p:sp>
        <p:nvSpPr>
          <p:cNvPr id="61" name="Rectangle 60"/>
          <p:cNvSpPr/>
          <p:nvPr/>
        </p:nvSpPr>
        <p:spPr>
          <a:xfrm>
            <a:off x="4365812" y="2862222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4365812" y="2554442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29.4</a:t>
            </a:r>
          </a:p>
        </p:txBody>
      </p:sp>
      <p:sp>
        <p:nvSpPr>
          <p:cNvPr id="64" name="Rectangle 63"/>
          <p:cNvSpPr/>
          <p:nvPr/>
        </p:nvSpPr>
        <p:spPr>
          <a:xfrm>
            <a:off x="4365812" y="3458113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65" name="ZoneTexte 64"/>
          <p:cNvSpPr txBox="1"/>
          <p:nvPr/>
        </p:nvSpPr>
        <p:spPr>
          <a:xfrm>
            <a:off x="4365812" y="315033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3.0</a:t>
            </a:r>
          </a:p>
        </p:txBody>
      </p:sp>
      <p:sp>
        <p:nvSpPr>
          <p:cNvPr id="66" name="Rectangle 65"/>
          <p:cNvSpPr/>
          <p:nvPr/>
        </p:nvSpPr>
        <p:spPr>
          <a:xfrm>
            <a:off x="5052168" y="3458113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67" name="ZoneTexte 66"/>
          <p:cNvSpPr txBox="1"/>
          <p:nvPr/>
        </p:nvSpPr>
        <p:spPr>
          <a:xfrm>
            <a:off x="5052168" y="315033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3.1</a:t>
            </a:r>
          </a:p>
        </p:txBody>
      </p:sp>
      <p:sp>
        <p:nvSpPr>
          <p:cNvPr id="68" name="Rectangle 67"/>
          <p:cNvSpPr/>
          <p:nvPr/>
        </p:nvSpPr>
        <p:spPr>
          <a:xfrm>
            <a:off x="5738524" y="3458113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69" name="ZoneTexte 68"/>
          <p:cNvSpPr txBox="1"/>
          <p:nvPr/>
        </p:nvSpPr>
        <p:spPr>
          <a:xfrm>
            <a:off x="5738524" y="315033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3.2</a:t>
            </a:r>
          </a:p>
        </p:txBody>
      </p:sp>
      <p:sp>
        <p:nvSpPr>
          <p:cNvPr id="70" name="Rectangle 69"/>
          <p:cNvSpPr/>
          <p:nvPr/>
        </p:nvSpPr>
        <p:spPr>
          <a:xfrm>
            <a:off x="6424880" y="3458113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71" name="ZoneTexte 70"/>
          <p:cNvSpPr txBox="1"/>
          <p:nvPr/>
        </p:nvSpPr>
        <p:spPr>
          <a:xfrm>
            <a:off x="6424880" y="315033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3.3</a:t>
            </a:r>
          </a:p>
        </p:txBody>
      </p:sp>
      <p:sp>
        <p:nvSpPr>
          <p:cNvPr id="72" name="Rectangle 71"/>
          <p:cNvSpPr/>
          <p:nvPr/>
        </p:nvSpPr>
        <p:spPr>
          <a:xfrm>
            <a:off x="7111236" y="3458113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73" name="ZoneTexte 72"/>
          <p:cNvSpPr txBox="1"/>
          <p:nvPr/>
        </p:nvSpPr>
        <p:spPr>
          <a:xfrm>
            <a:off x="7111236" y="3150333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3.4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1236" y="4038790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75" name="ZoneTexte 74"/>
          <p:cNvSpPr txBox="1"/>
          <p:nvPr/>
        </p:nvSpPr>
        <p:spPr>
          <a:xfrm>
            <a:off x="7111236" y="3731010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7.0</a:t>
            </a:r>
          </a:p>
        </p:txBody>
      </p:sp>
      <p:sp>
        <p:nvSpPr>
          <p:cNvPr id="76" name="Rectangle 75"/>
          <p:cNvSpPr/>
          <p:nvPr/>
        </p:nvSpPr>
        <p:spPr>
          <a:xfrm>
            <a:off x="7806714" y="4038790"/>
            <a:ext cx="560654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77" name="ZoneTexte 76"/>
          <p:cNvSpPr txBox="1"/>
          <p:nvPr/>
        </p:nvSpPr>
        <p:spPr>
          <a:xfrm>
            <a:off x="7806714" y="3731010"/>
            <a:ext cx="560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SDK ESR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7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700" dirty="0" smtClean="0">
                <a:solidFill>
                  <a:schemeClr val="bg1"/>
                </a:solidFill>
                <a:latin typeface="Trebuchet MS" pitchFamily="34" charset="0"/>
              </a:rPr>
              <a:t>1.37.1</a:t>
            </a:r>
          </a:p>
        </p:txBody>
      </p:sp>
      <p:cxnSp>
        <p:nvCxnSpPr>
          <p:cNvPr id="7" name="Connecteur droit avec flèche 6"/>
          <p:cNvCxnSpPr/>
          <p:nvPr/>
        </p:nvCxnSpPr>
        <p:spPr bwMode="auto">
          <a:xfrm>
            <a:off x="4365812" y="3600474"/>
            <a:ext cx="560654" cy="0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78" name="ZoneTexte 77"/>
          <p:cNvSpPr txBox="1"/>
          <p:nvPr/>
        </p:nvSpPr>
        <p:spPr>
          <a:xfrm>
            <a:off x="4365812" y="3597142"/>
            <a:ext cx="56065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err="1" smtClean="0">
                <a:solidFill>
                  <a:schemeClr val="bg1"/>
                </a:solidFill>
                <a:latin typeface="Trebuchet MS" pitchFamily="34" charset="0"/>
              </a:rPr>
              <a:t>Qualify</a:t>
            </a:r>
            <a:endParaRPr lang="fr-FR" sz="7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79" name="Connecteur droit avec flèche 78"/>
          <p:cNvCxnSpPr/>
          <p:nvPr/>
        </p:nvCxnSpPr>
        <p:spPr bwMode="auto">
          <a:xfrm>
            <a:off x="7111236" y="4165937"/>
            <a:ext cx="560654" cy="0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80" name="ZoneTexte 79"/>
          <p:cNvSpPr txBox="1"/>
          <p:nvPr/>
        </p:nvSpPr>
        <p:spPr>
          <a:xfrm>
            <a:off x="7111236" y="4153829"/>
            <a:ext cx="56065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00" dirty="0" err="1" smtClean="0">
                <a:solidFill>
                  <a:schemeClr val="bg1"/>
                </a:solidFill>
                <a:latin typeface="Trebuchet MS" pitchFamily="34" charset="0"/>
              </a:rPr>
              <a:t>Qualify</a:t>
            </a:r>
            <a:endParaRPr lang="fr-FR" sz="7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2" name="ZoneTexte 81"/>
          <p:cNvSpPr txBox="1"/>
          <p:nvPr/>
        </p:nvSpPr>
        <p:spPr>
          <a:xfrm>
            <a:off x="639260" y="2549641"/>
            <a:ext cx="767556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ESR VERSION</a:t>
            </a:r>
          </a:p>
          <a:p>
            <a:pPr algn="r"/>
            <a:r>
              <a:rPr lang="fr-FR" sz="700" i="1" dirty="0" smtClean="0">
                <a:solidFill>
                  <a:schemeClr val="bg1">
                    <a:lumMod val="65000"/>
                  </a:schemeClr>
                </a:solidFill>
                <a:latin typeface="Trebuchet MS" pitchFamily="34" charset="0"/>
              </a:rPr>
              <a:t>STABILITY</a:t>
            </a:r>
            <a:br>
              <a:rPr lang="fr-FR" sz="700" i="1" dirty="0" smtClean="0">
                <a:solidFill>
                  <a:schemeClr val="bg1">
                    <a:lumMod val="65000"/>
                  </a:schemeClr>
                </a:solidFill>
                <a:latin typeface="Trebuchet MS" pitchFamily="34" charset="0"/>
              </a:rPr>
            </a:br>
            <a:r>
              <a:rPr lang="fr-FR" sz="700" i="1" dirty="0" smtClean="0">
                <a:solidFill>
                  <a:schemeClr val="bg1">
                    <a:lumMod val="65000"/>
                  </a:schemeClr>
                </a:solidFill>
                <a:latin typeface="Trebuchet MS" pitchFamily="34" charset="0"/>
              </a:rPr>
              <a:t>BUG FIXES</a:t>
            </a:r>
            <a:endParaRPr lang="fr-FR" sz="900" i="1" dirty="0" smtClean="0">
              <a:solidFill>
                <a:schemeClr val="bg1">
                  <a:lumMod val="6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361097" y="2623060"/>
            <a:ext cx="45719" cy="1742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1361096" y="1810118"/>
            <a:ext cx="45719" cy="618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85" name="ZoneTexte 84"/>
          <p:cNvSpPr txBox="1"/>
          <p:nvPr/>
        </p:nvSpPr>
        <p:spPr>
          <a:xfrm>
            <a:off x="639260" y="1737429"/>
            <a:ext cx="767556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BETA</a:t>
            </a:r>
            <a:b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VERSION</a:t>
            </a:r>
          </a:p>
          <a:p>
            <a:pPr algn="r"/>
            <a:r>
              <a:rPr lang="fr-FR" sz="700" i="1" dirty="0" smtClean="0">
                <a:solidFill>
                  <a:schemeClr val="bg1">
                    <a:lumMod val="65000"/>
                  </a:schemeClr>
                </a:solidFill>
                <a:latin typeface="Trebuchet MS" pitchFamily="34" charset="0"/>
              </a:rPr>
              <a:t>NEW</a:t>
            </a:r>
            <a:br>
              <a:rPr lang="fr-FR" sz="700" i="1" dirty="0" smtClean="0">
                <a:solidFill>
                  <a:schemeClr val="bg1">
                    <a:lumMod val="65000"/>
                  </a:schemeClr>
                </a:solidFill>
                <a:latin typeface="Trebuchet MS" pitchFamily="34" charset="0"/>
              </a:rPr>
            </a:br>
            <a:r>
              <a:rPr lang="fr-FR" sz="700" i="1" dirty="0" smtClean="0">
                <a:solidFill>
                  <a:schemeClr val="bg1">
                    <a:lumMod val="65000"/>
                  </a:schemeClr>
                </a:solidFill>
                <a:latin typeface="Trebuchet MS" pitchFamily="34" charset="0"/>
              </a:rPr>
              <a:t>FEATURES</a:t>
            </a:r>
            <a:endParaRPr lang="fr-FR" sz="900" i="1" dirty="0" smtClean="0">
              <a:solidFill>
                <a:schemeClr val="bg1">
                  <a:lumMod val="6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359984" y="1000027"/>
            <a:ext cx="45719" cy="618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87" name="ZoneTexte 86"/>
          <p:cNvSpPr txBox="1"/>
          <p:nvPr/>
        </p:nvSpPr>
        <p:spPr>
          <a:xfrm>
            <a:off x="638148" y="927338"/>
            <a:ext cx="7675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b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VERSION</a:t>
            </a:r>
          </a:p>
        </p:txBody>
      </p:sp>
      <p:grpSp>
        <p:nvGrpSpPr>
          <p:cNvPr id="81" name="Group 92"/>
          <p:cNvGrpSpPr/>
          <p:nvPr/>
        </p:nvGrpSpPr>
        <p:grpSpPr>
          <a:xfrm>
            <a:off x="86400" y="73297"/>
            <a:ext cx="576232" cy="576232"/>
            <a:chOff x="2156490" y="2774869"/>
            <a:chExt cx="576232" cy="576232"/>
          </a:xfrm>
        </p:grpSpPr>
        <p:sp>
          <p:nvSpPr>
            <p:cNvPr id="84" name="Oval 38"/>
            <p:cNvSpPr/>
            <p:nvPr/>
          </p:nvSpPr>
          <p:spPr>
            <a:xfrm>
              <a:off x="2156490" y="2774869"/>
              <a:ext cx="576232" cy="576232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88" name="Oval 39"/>
            <p:cNvSpPr/>
            <p:nvPr/>
          </p:nvSpPr>
          <p:spPr>
            <a:xfrm>
              <a:off x="2221795" y="2837993"/>
              <a:ext cx="448718" cy="448718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89" name="TextBox 40"/>
            <p:cNvSpPr txBox="1"/>
            <p:nvPr/>
          </p:nvSpPr>
          <p:spPr>
            <a:xfrm>
              <a:off x="2172398" y="2835799"/>
              <a:ext cx="526415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17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668158" y="170260"/>
            <a:ext cx="4037020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ANALYZE AND GROWTH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sp>
        <p:nvSpPr>
          <p:cNvPr id="10" name="Freeform 72"/>
          <p:cNvSpPr>
            <a:spLocks noEditPoints="1"/>
          </p:cNvSpPr>
          <p:nvPr/>
        </p:nvSpPr>
        <p:spPr bwMode="auto">
          <a:xfrm>
            <a:off x="3315328" y="296927"/>
            <a:ext cx="2487288" cy="1435437"/>
          </a:xfrm>
          <a:custGeom>
            <a:avLst/>
            <a:gdLst/>
            <a:ahLst/>
            <a:cxnLst>
              <a:cxn ang="0">
                <a:pos x="869" y="243"/>
              </a:cxn>
              <a:cxn ang="0">
                <a:pos x="737" y="147"/>
              </a:cxn>
              <a:cxn ang="0">
                <a:pos x="588" y="0"/>
              </a:cxn>
              <a:cxn ang="0">
                <a:pos x="453" y="87"/>
              </a:cxn>
              <a:cxn ang="0">
                <a:pos x="361" y="64"/>
              </a:cxn>
              <a:cxn ang="0">
                <a:pos x="305" y="72"/>
              </a:cxn>
              <a:cxn ang="0">
                <a:pos x="320" y="115"/>
              </a:cxn>
              <a:cxn ang="0">
                <a:pos x="250" y="185"/>
              </a:cxn>
              <a:cxn ang="0">
                <a:pos x="195" y="159"/>
              </a:cxn>
              <a:cxn ang="0">
                <a:pos x="168" y="257"/>
              </a:cxn>
              <a:cxn ang="0">
                <a:pos x="170" y="277"/>
              </a:cxn>
              <a:cxn ang="0">
                <a:pos x="0" y="424"/>
              </a:cxn>
              <a:cxn ang="0">
                <a:pos x="264" y="581"/>
              </a:cxn>
              <a:cxn ang="0">
                <a:pos x="431" y="545"/>
              </a:cxn>
              <a:cxn ang="0">
                <a:pos x="592" y="635"/>
              </a:cxn>
              <a:cxn ang="0">
                <a:pos x="758" y="534"/>
              </a:cxn>
              <a:cxn ang="0">
                <a:pos x="776" y="535"/>
              </a:cxn>
              <a:cxn ang="0">
                <a:pos x="811" y="533"/>
              </a:cxn>
              <a:cxn ang="0">
                <a:pos x="844" y="535"/>
              </a:cxn>
              <a:cxn ang="0">
                <a:pos x="1088" y="388"/>
              </a:cxn>
              <a:cxn ang="0">
                <a:pos x="869" y="243"/>
              </a:cxn>
              <a:cxn ang="0">
                <a:pos x="250" y="141"/>
              </a:cxn>
              <a:cxn ang="0">
                <a:pos x="278" y="113"/>
              </a:cxn>
              <a:cxn ang="0">
                <a:pos x="250" y="84"/>
              </a:cxn>
              <a:cxn ang="0">
                <a:pos x="221" y="113"/>
              </a:cxn>
              <a:cxn ang="0">
                <a:pos x="250" y="141"/>
              </a:cxn>
            </a:cxnLst>
            <a:rect l="0" t="0" r="r" b="b"/>
            <a:pathLst>
              <a:path w="1088" h="635">
                <a:moveTo>
                  <a:pt x="869" y="243"/>
                </a:moveTo>
                <a:cubicBezTo>
                  <a:pt x="848" y="189"/>
                  <a:pt x="797" y="150"/>
                  <a:pt x="737" y="147"/>
                </a:cubicBezTo>
                <a:cubicBezTo>
                  <a:pt x="736" y="66"/>
                  <a:pt x="670" y="0"/>
                  <a:pt x="588" y="0"/>
                </a:cubicBezTo>
                <a:cubicBezTo>
                  <a:pt x="528" y="0"/>
                  <a:pt x="477" y="36"/>
                  <a:pt x="453" y="87"/>
                </a:cubicBezTo>
                <a:cubicBezTo>
                  <a:pt x="426" y="72"/>
                  <a:pt x="394" y="64"/>
                  <a:pt x="361" y="64"/>
                </a:cubicBezTo>
                <a:cubicBezTo>
                  <a:pt x="342" y="64"/>
                  <a:pt x="323" y="67"/>
                  <a:pt x="305" y="72"/>
                </a:cubicBezTo>
                <a:cubicBezTo>
                  <a:pt x="314" y="84"/>
                  <a:pt x="320" y="99"/>
                  <a:pt x="320" y="115"/>
                </a:cubicBezTo>
                <a:cubicBezTo>
                  <a:pt x="320" y="154"/>
                  <a:pt x="288" y="185"/>
                  <a:pt x="250" y="185"/>
                </a:cubicBezTo>
                <a:cubicBezTo>
                  <a:pt x="228" y="185"/>
                  <a:pt x="208" y="175"/>
                  <a:pt x="195" y="159"/>
                </a:cubicBezTo>
                <a:cubicBezTo>
                  <a:pt x="178" y="187"/>
                  <a:pt x="168" y="221"/>
                  <a:pt x="168" y="257"/>
                </a:cubicBezTo>
                <a:cubicBezTo>
                  <a:pt x="168" y="263"/>
                  <a:pt x="169" y="270"/>
                  <a:pt x="170" y="277"/>
                </a:cubicBezTo>
                <a:cubicBezTo>
                  <a:pt x="71" y="300"/>
                  <a:pt x="0" y="357"/>
                  <a:pt x="0" y="424"/>
                </a:cubicBezTo>
                <a:cubicBezTo>
                  <a:pt x="0" y="511"/>
                  <a:pt x="118" y="581"/>
                  <a:pt x="264" y="581"/>
                </a:cubicBezTo>
                <a:cubicBezTo>
                  <a:pt x="327" y="581"/>
                  <a:pt x="385" y="568"/>
                  <a:pt x="431" y="545"/>
                </a:cubicBezTo>
                <a:cubicBezTo>
                  <a:pt x="460" y="598"/>
                  <a:pt x="521" y="635"/>
                  <a:pt x="592" y="635"/>
                </a:cubicBezTo>
                <a:cubicBezTo>
                  <a:pt x="667" y="635"/>
                  <a:pt x="732" y="593"/>
                  <a:pt x="758" y="534"/>
                </a:cubicBezTo>
                <a:cubicBezTo>
                  <a:pt x="764" y="535"/>
                  <a:pt x="770" y="535"/>
                  <a:pt x="776" y="535"/>
                </a:cubicBezTo>
                <a:cubicBezTo>
                  <a:pt x="788" y="535"/>
                  <a:pt x="800" y="534"/>
                  <a:pt x="811" y="533"/>
                </a:cubicBezTo>
                <a:cubicBezTo>
                  <a:pt x="822" y="534"/>
                  <a:pt x="833" y="535"/>
                  <a:pt x="844" y="535"/>
                </a:cubicBezTo>
                <a:cubicBezTo>
                  <a:pt x="979" y="535"/>
                  <a:pt x="1088" y="469"/>
                  <a:pt x="1088" y="388"/>
                </a:cubicBezTo>
                <a:cubicBezTo>
                  <a:pt x="1088" y="312"/>
                  <a:pt x="992" y="250"/>
                  <a:pt x="869" y="243"/>
                </a:cubicBezTo>
                <a:close/>
                <a:moveTo>
                  <a:pt x="250" y="141"/>
                </a:moveTo>
                <a:cubicBezTo>
                  <a:pt x="266" y="141"/>
                  <a:pt x="278" y="129"/>
                  <a:pt x="278" y="113"/>
                </a:cubicBezTo>
                <a:cubicBezTo>
                  <a:pt x="278" y="97"/>
                  <a:pt x="266" y="84"/>
                  <a:pt x="250" y="84"/>
                </a:cubicBezTo>
                <a:cubicBezTo>
                  <a:pt x="234" y="84"/>
                  <a:pt x="221" y="97"/>
                  <a:pt x="221" y="113"/>
                </a:cubicBezTo>
                <a:cubicBezTo>
                  <a:pt x="221" y="129"/>
                  <a:pt x="234" y="141"/>
                  <a:pt x="250" y="141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3567967" y="1195227"/>
            <a:ext cx="1980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ANALYZE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3" name="Oval 79"/>
          <p:cNvSpPr/>
          <p:nvPr/>
        </p:nvSpPr>
        <p:spPr>
          <a:xfrm>
            <a:off x="898423" y="2466254"/>
            <a:ext cx="916401" cy="890193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4" name="Group 69"/>
          <p:cNvGrpSpPr/>
          <p:nvPr/>
        </p:nvGrpSpPr>
        <p:grpSpPr>
          <a:xfrm>
            <a:off x="1151291" y="2552320"/>
            <a:ext cx="415897" cy="689431"/>
            <a:chOff x="0" y="0"/>
            <a:chExt cx="847666" cy="1429440"/>
          </a:xfrm>
        </p:grpSpPr>
        <p:sp>
          <p:nvSpPr>
            <p:cNvPr id="15" name="Freeform 59"/>
            <p:cNvSpPr/>
            <p:nvPr/>
          </p:nvSpPr>
          <p:spPr>
            <a:xfrm>
              <a:off x="95962" y="0"/>
              <a:ext cx="645080" cy="6237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16835" y="21600"/>
                    <a:pt x="21600" y="16764"/>
                    <a:pt x="21600" y="10961"/>
                  </a:cubicBezTo>
                  <a:cubicBezTo>
                    <a:pt x="21600" y="4836"/>
                    <a:pt x="16835" y="0"/>
                    <a:pt x="10800" y="0"/>
                  </a:cubicBezTo>
                  <a:cubicBezTo>
                    <a:pt x="5082" y="0"/>
                    <a:pt x="0" y="4836"/>
                    <a:pt x="0" y="10961"/>
                  </a:cubicBezTo>
                  <a:cubicBezTo>
                    <a:pt x="0" y="16764"/>
                    <a:pt x="5082" y="21600"/>
                    <a:pt x="10800" y="21600"/>
                  </a:cubicBezTo>
                  <a:close/>
                  <a:moveTo>
                    <a:pt x="4447" y="10961"/>
                  </a:moveTo>
                  <a:cubicBezTo>
                    <a:pt x="5082" y="10961"/>
                    <a:pt x="5718" y="11284"/>
                    <a:pt x="5718" y="11928"/>
                  </a:cubicBezTo>
                  <a:cubicBezTo>
                    <a:pt x="6035" y="13863"/>
                    <a:pt x="9212" y="14830"/>
                    <a:pt x="11118" y="14830"/>
                  </a:cubicBezTo>
                  <a:cubicBezTo>
                    <a:pt x="13024" y="14830"/>
                    <a:pt x="15882" y="13863"/>
                    <a:pt x="16200" y="11928"/>
                  </a:cubicBezTo>
                  <a:cubicBezTo>
                    <a:pt x="16518" y="11284"/>
                    <a:pt x="16835" y="10961"/>
                    <a:pt x="17471" y="10961"/>
                  </a:cubicBezTo>
                  <a:cubicBezTo>
                    <a:pt x="18106" y="10961"/>
                    <a:pt x="18424" y="11606"/>
                    <a:pt x="18424" y="12251"/>
                  </a:cubicBezTo>
                  <a:cubicBezTo>
                    <a:pt x="17788" y="15475"/>
                    <a:pt x="13659" y="17087"/>
                    <a:pt x="11118" y="17087"/>
                  </a:cubicBezTo>
                  <a:cubicBezTo>
                    <a:pt x="8259" y="17087"/>
                    <a:pt x="4129" y="15475"/>
                    <a:pt x="3812" y="12251"/>
                  </a:cubicBezTo>
                  <a:cubicBezTo>
                    <a:pt x="3494" y="11606"/>
                    <a:pt x="4129" y="10961"/>
                    <a:pt x="4447" y="109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6" name="Freeform 60"/>
            <p:cNvSpPr/>
            <p:nvPr/>
          </p:nvSpPr>
          <p:spPr>
            <a:xfrm>
              <a:off x="28867" y="730081"/>
              <a:ext cx="171508" cy="172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54" h="19854" extrusionOk="0">
                  <a:moveTo>
                    <a:pt x="7767" y="19647"/>
                  </a:moveTo>
                  <a:cubicBezTo>
                    <a:pt x="12087" y="20727"/>
                    <a:pt x="17487" y="17487"/>
                    <a:pt x="19647" y="12087"/>
                  </a:cubicBezTo>
                  <a:cubicBezTo>
                    <a:pt x="20727" y="6687"/>
                    <a:pt x="17487" y="1287"/>
                    <a:pt x="12087" y="207"/>
                  </a:cubicBezTo>
                  <a:cubicBezTo>
                    <a:pt x="6687" y="-873"/>
                    <a:pt x="1287" y="2367"/>
                    <a:pt x="207" y="7767"/>
                  </a:cubicBezTo>
                  <a:cubicBezTo>
                    <a:pt x="-873" y="13167"/>
                    <a:pt x="2367" y="18567"/>
                    <a:pt x="7767" y="1964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  <p:sp>
          <p:nvSpPr>
            <p:cNvPr id="17" name="Freeform 61"/>
            <p:cNvSpPr/>
            <p:nvPr/>
          </p:nvSpPr>
          <p:spPr>
            <a:xfrm>
              <a:off x="-1" y="712121"/>
              <a:ext cx="847668" cy="7173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46" y="561"/>
                  </a:moveTo>
                  <a:cubicBezTo>
                    <a:pt x="16746" y="561"/>
                    <a:pt x="16746" y="561"/>
                    <a:pt x="16746" y="561"/>
                  </a:cubicBezTo>
                  <a:cubicBezTo>
                    <a:pt x="16503" y="281"/>
                    <a:pt x="16261" y="281"/>
                    <a:pt x="16018" y="281"/>
                  </a:cubicBezTo>
                  <a:cubicBezTo>
                    <a:pt x="16018" y="281"/>
                    <a:pt x="15775" y="281"/>
                    <a:pt x="15775" y="281"/>
                  </a:cubicBezTo>
                  <a:cubicBezTo>
                    <a:pt x="15533" y="0"/>
                    <a:pt x="15290" y="0"/>
                    <a:pt x="15047" y="0"/>
                  </a:cubicBezTo>
                  <a:cubicBezTo>
                    <a:pt x="15047" y="0"/>
                    <a:pt x="15047" y="0"/>
                    <a:pt x="14804" y="0"/>
                  </a:cubicBezTo>
                  <a:cubicBezTo>
                    <a:pt x="14562" y="0"/>
                    <a:pt x="14319" y="0"/>
                    <a:pt x="14076" y="0"/>
                  </a:cubicBezTo>
                  <a:cubicBezTo>
                    <a:pt x="7766" y="0"/>
                    <a:pt x="7766" y="0"/>
                    <a:pt x="7766" y="0"/>
                  </a:cubicBezTo>
                  <a:cubicBezTo>
                    <a:pt x="8494" y="1403"/>
                    <a:pt x="8980" y="3086"/>
                    <a:pt x="8494" y="5049"/>
                  </a:cubicBezTo>
                  <a:cubicBezTo>
                    <a:pt x="7766" y="8696"/>
                    <a:pt x="4611" y="10940"/>
                    <a:pt x="1456" y="10099"/>
                  </a:cubicBezTo>
                  <a:cubicBezTo>
                    <a:pt x="971" y="9818"/>
                    <a:pt x="485" y="9538"/>
                    <a:pt x="0" y="9257"/>
                  </a:cubicBezTo>
                  <a:cubicBezTo>
                    <a:pt x="0" y="12343"/>
                    <a:pt x="0" y="12343"/>
                    <a:pt x="0" y="12343"/>
                  </a:cubicBezTo>
                  <a:cubicBezTo>
                    <a:pt x="0" y="19075"/>
                    <a:pt x="0" y="19075"/>
                    <a:pt x="0" y="19075"/>
                  </a:cubicBezTo>
                  <a:cubicBezTo>
                    <a:pt x="0" y="20478"/>
                    <a:pt x="1213" y="21600"/>
                    <a:pt x="2670" y="21600"/>
                  </a:cubicBezTo>
                  <a:cubicBezTo>
                    <a:pt x="18930" y="21600"/>
                    <a:pt x="18930" y="21600"/>
                    <a:pt x="18930" y="21600"/>
                  </a:cubicBezTo>
                  <a:cubicBezTo>
                    <a:pt x="20387" y="21600"/>
                    <a:pt x="21600" y="20478"/>
                    <a:pt x="21600" y="19075"/>
                  </a:cubicBezTo>
                  <a:cubicBezTo>
                    <a:pt x="21600" y="8696"/>
                    <a:pt x="21600" y="8696"/>
                    <a:pt x="21600" y="8696"/>
                  </a:cubicBezTo>
                  <a:cubicBezTo>
                    <a:pt x="21600" y="5049"/>
                    <a:pt x="19658" y="1964"/>
                    <a:pt x="16746" y="5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8" name="ZoneTexte 17"/>
          <p:cNvSpPr txBox="1"/>
          <p:nvPr/>
        </p:nvSpPr>
        <p:spPr>
          <a:xfrm>
            <a:off x="309329" y="3428574"/>
            <a:ext cx="21214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API USAGE &amp; FEES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9" name="Titre 15"/>
          <p:cNvSpPr txBox="1">
            <a:spLocks/>
          </p:cNvSpPr>
          <p:nvPr/>
        </p:nvSpPr>
        <p:spPr>
          <a:xfrm>
            <a:off x="602867" y="3824832"/>
            <a:ext cx="2651956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API Consumption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21" name="Titre 15"/>
          <p:cNvSpPr txBox="1">
            <a:spLocks/>
          </p:cNvSpPr>
          <p:nvPr/>
        </p:nvSpPr>
        <p:spPr>
          <a:xfrm>
            <a:off x="602867" y="4183962"/>
            <a:ext cx="2494731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Fees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40" name="Oval 79"/>
          <p:cNvSpPr/>
          <p:nvPr/>
        </p:nvSpPr>
        <p:spPr>
          <a:xfrm>
            <a:off x="4126499" y="2468174"/>
            <a:ext cx="916401" cy="89019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5" name="Freeform 6"/>
          <p:cNvSpPr/>
          <p:nvPr/>
        </p:nvSpPr>
        <p:spPr>
          <a:xfrm>
            <a:off x="4241419" y="2569360"/>
            <a:ext cx="703494" cy="686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5" h="21153" extrusionOk="0">
                <a:moveTo>
                  <a:pt x="20206" y="10311"/>
                </a:moveTo>
                <a:cubicBezTo>
                  <a:pt x="19413" y="10081"/>
                  <a:pt x="18565" y="10512"/>
                  <a:pt x="18237" y="11288"/>
                </a:cubicBezTo>
                <a:cubicBezTo>
                  <a:pt x="15858" y="10656"/>
                  <a:pt x="15858" y="10656"/>
                  <a:pt x="15858" y="10656"/>
                </a:cubicBezTo>
                <a:cubicBezTo>
                  <a:pt x="15913" y="10368"/>
                  <a:pt x="15940" y="10081"/>
                  <a:pt x="15940" y="9794"/>
                </a:cubicBezTo>
                <a:cubicBezTo>
                  <a:pt x="15940" y="7554"/>
                  <a:pt x="14546" y="5629"/>
                  <a:pt x="12605" y="4940"/>
                </a:cubicBezTo>
                <a:cubicBezTo>
                  <a:pt x="13206" y="3130"/>
                  <a:pt x="13206" y="3130"/>
                  <a:pt x="13206" y="3130"/>
                </a:cubicBezTo>
                <a:cubicBezTo>
                  <a:pt x="13944" y="3245"/>
                  <a:pt x="14655" y="2786"/>
                  <a:pt x="14874" y="2010"/>
                </a:cubicBezTo>
                <a:cubicBezTo>
                  <a:pt x="15093" y="1177"/>
                  <a:pt x="14628" y="287"/>
                  <a:pt x="13835" y="57"/>
                </a:cubicBezTo>
                <a:cubicBezTo>
                  <a:pt x="13042" y="-173"/>
                  <a:pt x="12194" y="315"/>
                  <a:pt x="11976" y="1148"/>
                </a:cubicBezTo>
                <a:cubicBezTo>
                  <a:pt x="11784" y="1866"/>
                  <a:pt x="12085" y="2613"/>
                  <a:pt x="12687" y="2958"/>
                </a:cubicBezTo>
                <a:cubicBezTo>
                  <a:pt x="12085" y="4796"/>
                  <a:pt x="12085" y="4796"/>
                  <a:pt x="12085" y="4796"/>
                </a:cubicBezTo>
                <a:cubicBezTo>
                  <a:pt x="11757" y="4739"/>
                  <a:pt x="11429" y="4681"/>
                  <a:pt x="11073" y="4681"/>
                </a:cubicBezTo>
                <a:cubicBezTo>
                  <a:pt x="10745" y="4681"/>
                  <a:pt x="10445" y="4710"/>
                  <a:pt x="10144" y="4767"/>
                </a:cubicBezTo>
                <a:cubicBezTo>
                  <a:pt x="10226" y="5026"/>
                  <a:pt x="10281" y="5284"/>
                  <a:pt x="10281" y="5572"/>
                </a:cubicBezTo>
                <a:cubicBezTo>
                  <a:pt x="10281" y="6692"/>
                  <a:pt x="9406" y="7611"/>
                  <a:pt x="8339" y="7611"/>
                </a:cubicBezTo>
                <a:cubicBezTo>
                  <a:pt x="7820" y="7611"/>
                  <a:pt x="7328" y="7381"/>
                  <a:pt x="6972" y="7037"/>
                </a:cubicBezTo>
                <a:cubicBezTo>
                  <a:pt x="6808" y="7295"/>
                  <a:pt x="6699" y="7554"/>
                  <a:pt x="6589" y="7841"/>
                </a:cubicBezTo>
                <a:cubicBezTo>
                  <a:pt x="4894" y="7266"/>
                  <a:pt x="4894" y="7266"/>
                  <a:pt x="4894" y="7266"/>
                </a:cubicBezTo>
                <a:cubicBezTo>
                  <a:pt x="4949" y="7094"/>
                  <a:pt x="4949" y="6922"/>
                  <a:pt x="4949" y="6721"/>
                </a:cubicBezTo>
                <a:cubicBezTo>
                  <a:pt x="4949" y="5284"/>
                  <a:pt x="3855" y="4136"/>
                  <a:pt x="2488" y="4136"/>
                </a:cubicBezTo>
                <a:cubicBezTo>
                  <a:pt x="1121" y="4136"/>
                  <a:pt x="0" y="5284"/>
                  <a:pt x="0" y="6721"/>
                </a:cubicBezTo>
                <a:cubicBezTo>
                  <a:pt x="0" y="8186"/>
                  <a:pt x="1121" y="9334"/>
                  <a:pt x="2488" y="9334"/>
                </a:cubicBezTo>
                <a:cubicBezTo>
                  <a:pt x="3472" y="9334"/>
                  <a:pt x="4320" y="8703"/>
                  <a:pt x="4730" y="7812"/>
                </a:cubicBezTo>
                <a:cubicBezTo>
                  <a:pt x="6398" y="8387"/>
                  <a:pt x="6398" y="8387"/>
                  <a:pt x="6398" y="8387"/>
                </a:cubicBezTo>
                <a:cubicBezTo>
                  <a:pt x="6261" y="8846"/>
                  <a:pt x="6207" y="9306"/>
                  <a:pt x="6207" y="9794"/>
                </a:cubicBezTo>
                <a:cubicBezTo>
                  <a:pt x="6207" y="10570"/>
                  <a:pt x="6371" y="11316"/>
                  <a:pt x="6671" y="11977"/>
                </a:cubicBezTo>
                <a:cubicBezTo>
                  <a:pt x="4074" y="13729"/>
                  <a:pt x="4074" y="13729"/>
                  <a:pt x="4074" y="13729"/>
                </a:cubicBezTo>
                <a:cubicBezTo>
                  <a:pt x="3965" y="13614"/>
                  <a:pt x="3828" y="13528"/>
                  <a:pt x="3664" y="13471"/>
                </a:cubicBezTo>
                <a:cubicBezTo>
                  <a:pt x="3117" y="13298"/>
                  <a:pt x="2543" y="13643"/>
                  <a:pt x="2379" y="14217"/>
                </a:cubicBezTo>
                <a:cubicBezTo>
                  <a:pt x="2215" y="14792"/>
                  <a:pt x="2543" y="15395"/>
                  <a:pt x="3090" y="15567"/>
                </a:cubicBezTo>
                <a:cubicBezTo>
                  <a:pt x="3636" y="15740"/>
                  <a:pt x="4211" y="15395"/>
                  <a:pt x="4375" y="14821"/>
                </a:cubicBezTo>
                <a:cubicBezTo>
                  <a:pt x="4429" y="14620"/>
                  <a:pt x="4402" y="14390"/>
                  <a:pt x="4347" y="14189"/>
                </a:cubicBezTo>
                <a:cubicBezTo>
                  <a:pt x="6945" y="12494"/>
                  <a:pt x="6945" y="12494"/>
                  <a:pt x="6945" y="12494"/>
                </a:cubicBezTo>
                <a:cubicBezTo>
                  <a:pt x="7710" y="13787"/>
                  <a:pt x="8995" y="14677"/>
                  <a:pt x="10472" y="14849"/>
                </a:cubicBezTo>
                <a:cubicBezTo>
                  <a:pt x="10445" y="17262"/>
                  <a:pt x="10445" y="17262"/>
                  <a:pt x="10445" y="17262"/>
                </a:cubicBezTo>
                <a:cubicBezTo>
                  <a:pt x="10253" y="17291"/>
                  <a:pt x="10062" y="17348"/>
                  <a:pt x="9870" y="17463"/>
                </a:cubicBezTo>
                <a:cubicBezTo>
                  <a:pt x="8941" y="17951"/>
                  <a:pt x="8585" y="19129"/>
                  <a:pt x="9050" y="20106"/>
                </a:cubicBezTo>
                <a:cubicBezTo>
                  <a:pt x="9515" y="21054"/>
                  <a:pt x="10663" y="21427"/>
                  <a:pt x="11566" y="20939"/>
                </a:cubicBezTo>
                <a:cubicBezTo>
                  <a:pt x="12495" y="20450"/>
                  <a:pt x="12851" y="19273"/>
                  <a:pt x="12386" y="18296"/>
                </a:cubicBezTo>
                <a:cubicBezTo>
                  <a:pt x="12085" y="17722"/>
                  <a:pt x="11566" y="17348"/>
                  <a:pt x="10991" y="17262"/>
                </a:cubicBezTo>
                <a:cubicBezTo>
                  <a:pt x="11019" y="14907"/>
                  <a:pt x="11019" y="14907"/>
                  <a:pt x="11019" y="14907"/>
                </a:cubicBezTo>
                <a:cubicBezTo>
                  <a:pt x="11046" y="14907"/>
                  <a:pt x="11046" y="14907"/>
                  <a:pt x="11073" y="14907"/>
                </a:cubicBezTo>
                <a:cubicBezTo>
                  <a:pt x="13288" y="14907"/>
                  <a:pt x="15147" y="13356"/>
                  <a:pt x="15749" y="11201"/>
                </a:cubicBezTo>
                <a:cubicBezTo>
                  <a:pt x="18100" y="11833"/>
                  <a:pt x="18100" y="11833"/>
                  <a:pt x="18100" y="11833"/>
                </a:cubicBezTo>
                <a:cubicBezTo>
                  <a:pt x="18046" y="12666"/>
                  <a:pt x="18538" y="13442"/>
                  <a:pt x="19303" y="13672"/>
                </a:cubicBezTo>
                <a:cubicBezTo>
                  <a:pt x="20178" y="13930"/>
                  <a:pt x="21108" y="13384"/>
                  <a:pt x="21354" y="12465"/>
                </a:cubicBezTo>
                <a:cubicBezTo>
                  <a:pt x="21600" y="11546"/>
                  <a:pt x="21081" y="10570"/>
                  <a:pt x="20206" y="10311"/>
                </a:cubicBezTo>
                <a:close/>
                <a:moveTo>
                  <a:pt x="10308" y="13126"/>
                </a:moveTo>
                <a:cubicBezTo>
                  <a:pt x="8148" y="9536"/>
                  <a:pt x="8148" y="9536"/>
                  <a:pt x="8148" y="9536"/>
                </a:cubicBezTo>
                <a:cubicBezTo>
                  <a:pt x="9378" y="9536"/>
                  <a:pt x="9378" y="9536"/>
                  <a:pt x="9378" y="9536"/>
                </a:cubicBezTo>
                <a:cubicBezTo>
                  <a:pt x="10198" y="11230"/>
                  <a:pt x="10198" y="11230"/>
                  <a:pt x="10198" y="11230"/>
                </a:cubicBezTo>
                <a:cubicBezTo>
                  <a:pt x="10226" y="11230"/>
                  <a:pt x="10226" y="11230"/>
                  <a:pt x="10226" y="11230"/>
                </a:cubicBezTo>
                <a:cubicBezTo>
                  <a:pt x="12605" y="7381"/>
                  <a:pt x="12605" y="7381"/>
                  <a:pt x="12605" y="7381"/>
                </a:cubicBezTo>
                <a:cubicBezTo>
                  <a:pt x="13808" y="7381"/>
                  <a:pt x="13808" y="7381"/>
                  <a:pt x="13808" y="7381"/>
                </a:cubicBezTo>
                <a:lnTo>
                  <a:pt x="10308" y="13126"/>
                </a:ln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t">
            <a:noAutofit/>
          </a:bodyPr>
          <a:lstStyle/>
          <a:p>
            <a:pPr>
              <a:defRPr sz="3600" b="1"/>
            </a:pPr>
            <a:endParaRPr sz="1350"/>
          </a:p>
        </p:txBody>
      </p:sp>
      <p:sp>
        <p:nvSpPr>
          <p:cNvPr id="48" name="Titre 15"/>
          <p:cNvSpPr txBox="1">
            <a:spLocks/>
          </p:cNvSpPr>
          <p:nvPr/>
        </p:nvSpPr>
        <p:spPr>
          <a:xfrm>
            <a:off x="3861031" y="3824832"/>
            <a:ext cx="1447336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Audience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0" name="Titre 15"/>
          <p:cNvSpPr txBox="1">
            <a:spLocks/>
          </p:cNvSpPr>
          <p:nvPr/>
        </p:nvSpPr>
        <p:spPr>
          <a:xfrm>
            <a:off x="3859337" y="4183962"/>
            <a:ext cx="1746106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Usage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3447586" y="3444290"/>
            <a:ext cx="2291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ANALYTICS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3" name="Oval 79"/>
          <p:cNvSpPr/>
          <p:nvPr/>
        </p:nvSpPr>
        <p:spPr>
          <a:xfrm>
            <a:off x="6989707" y="2500825"/>
            <a:ext cx="916401" cy="890193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400000"/>
          </a:ln>
        </p:spPr>
        <p:txBody>
          <a:bodyPr lIns="121919" tIns="121919" rIns="121919" bIns="121919" anchor="ctr"/>
          <a:lstStyle/>
          <a:p>
            <a:pPr defTabSz="1858304">
              <a:defRPr sz="3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4" name="Freeform 22"/>
          <p:cNvSpPr/>
          <p:nvPr/>
        </p:nvSpPr>
        <p:spPr>
          <a:xfrm>
            <a:off x="7196750" y="2663994"/>
            <a:ext cx="502314" cy="463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50" y="7706"/>
                </a:moveTo>
                <a:cubicBezTo>
                  <a:pt x="20688" y="7706"/>
                  <a:pt x="20559" y="7843"/>
                  <a:pt x="20430" y="7979"/>
                </a:cubicBezTo>
                <a:cubicBezTo>
                  <a:pt x="13921" y="7156"/>
                  <a:pt x="13921" y="7156"/>
                  <a:pt x="13921" y="7156"/>
                </a:cubicBezTo>
                <a:cubicBezTo>
                  <a:pt x="11060" y="1101"/>
                  <a:pt x="11060" y="1101"/>
                  <a:pt x="11060" y="1101"/>
                </a:cubicBezTo>
                <a:cubicBezTo>
                  <a:pt x="11060" y="960"/>
                  <a:pt x="11189" y="823"/>
                  <a:pt x="11189" y="687"/>
                </a:cubicBezTo>
                <a:cubicBezTo>
                  <a:pt x="11189" y="273"/>
                  <a:pt x="10927" y="0"/>
                  <a:pt x="10673" y="0"/>
                </a:cubicBezTo>
                <a:cubicBezTo>
                  <a:pt x="10282" y="0"/>
                  <a:pt x="10023" y="273"/>
                  <a:pt x="10023" y="550"/>
                </a:cubicBezTo>
                <a:cubicBezTo>
                  <a:pt x="10023" y="823"/>
                  <a:pt x="10152" y="960"/>
                  <a:pt x="10282" y="1101"/>
                </a:cubicBezTo>
                <a:cubicBezTo>
                  <a:pt x="9240" y="3439"/>
                  <a:pt x="9240" y="3439"/>
                  <a:pt x="9240" y="3439"/>
                </a:cubicBezTo>
                <a:cubicBezTo>
                  <a:pt x="9761" y="4404"/>
                  <a:pt x="9890" y="5505"/>
                  <a:pt x="9370" y="6601"/>
                </a:cubicBezTo>
                <a:cubicBezTo>
                  <a:pt x="8720" y="8257"/>
                  <a:pt x="6767" y="8944"/>
                  <a:pt x="5205" y="8257"/>
                </a:cubicBezTo>
                <a:cubicBezTo>
                  <a:pt x="4947" y="8116"/>
                  <a:pt x="4685" y="7979"/>
                  <a:pt x="4427" y="7706"/>
                </a:cubicBezTo>
                <a:cubicBezTo>
                  <a:pt x="1174" y="8257"/>
                  <a:pt x="1174" y="8257"/>
                  <a:pt x="1174" y="8257"/>
                </a:cubicBezTo>
                <a:cubicBezTo>
                  <a:pt x="1174" y="7979"/>
                  <a:pt x="912" y="7843"/>
                  <a:pt x="654" y="7706"/>
                </a:cubicBezTo>
                <a:cubicBezTo>
                  <a:pt x="391" y="7706"/>
                  <a:pt x="133" y="7979"/>
                  <a:pt x="0" y="8393"/>
                </a:cubicBezTo>
                <a:cubicBezTo>
                  <a:pt x="0" y="8666"/>
                  <a:pt x="262" y="9080"/>
                  <a:pt x="654" y="9080"/>
                </a:cubicBezTo>
                <a:cubicBezTo>
                  <a:pt x="783" y="9080"/>
                  <a:pt x="912" y="8944"/>
                  <a:pt x="912" y="8944"/>
                </a:cubicBezTo>
                <a:cubicBezTo>
                  <a:pt x="5597" y="13616"/>
                  <a:pt x="5597" y="13616"/>
                  <a:pt x="5597" y="13616"/>
                </a:cubicBezTo>
                <a:cubicBezTo>
                  <a:pt x="4556" y="20363"/>
                  <a:pt x="4556" y="20363"/>
                  <a:pt x="4556" y="20363"/>
                </a:cubicBezTo>
                <a:cubicBezTo>
                  <a:pt x="4298" y="20363"/>
                  <a:pt x="4035" y="20636"/>
                  <a:pt x="3906" y="20913"/>
                </a:cubicBezTo>
                <a:cubicBezTo>
                  <a:pt x="3906" y="21323"/>
                  <a:pt x="4164" y="21600"/>
                  <a:pt x="4556" y="21600"/>
                </a:cubicBezTo>
                <a:cubicBezTo>
                  <a:pt x="4818" y="21600"/>
                  <a:pt x="5076" y="21323"/>
                  <a:pt x="5205" y="20913"/>
                </a:cubicBezTo>
                <a:cubicBezTo>
                  <a:pt x="5205" y="20913"/>
                  <a:pt x="5205" y="20772"/>
                  <a:pt x="5076" y="20772"/>
                </a:cubicBezTo>
                <a:cubicBezTo>
                  <a:pt x="10802" y="17469"/>
                  <a:pt x="10802" y="17469"/>
                  <a:pt x="10802" y="17469"/>
                </a:cubicBezTo>
                <a:cubicBezTo>
                  <a:pt x="16653" y="20636"/>
                  <a:pt x="16653" y="20636"/>
                  <a:pt x="16653" y="20636"/>
                </a:cubicBezTo>
                <a:cubicBezTo>
                  <a:pt x="16653" y="20772"/>
                  <a:pt x="16653" y="20772"/>
                  <a:pt x="16653" y="20913"/>
                </a:cubicBezTo>
                <a:cubicBezTo>
                  <a:pt x="16653" y="21186"/>
                  <a:pt x="16915" y="21600"/>
                  <a:pt x="17173" y="21600"/>
                </a:cubicBezTo>
                <a:cubicBezTo>
                  <a:pt x="17565" y="21600"/>
                  <a:pt x="17827" y="21323"/>
                  <a:pt x="17827" y="20913"/>
                </a:cubicBezTo>
                <a:cubicBezTo>
                  <a:pt x="17827" y="20636"/>
                  <a:pt x="17565" y="20363"/>
                  <a:pt x="17307" y="20363"/>
                </a:cubicBezTo>
                <a:cubicBezTo>
                  <a:pt x="17173" y="20363"/>
                  <a:pt x="17173" y="20363"/>
                  <a:pt x="17044" y="20363"/>
                </a:cubicBezTo>
                <a:cubicBezTo>
                  <a:pt x="15874" y="13480"/>
                  <a:pt x="15874" y="13480"/>
                  <a:pt x="15874" y="13480"/>
                </a:cubicBezTo>
                <a:cubicBezTo>
                  <a:pt x="20430" y="8666"/>
                  <a:pt x="20430" y="8666"/>
                  <a:pt x="20430" y="8666"/>
                </a:cubicBezTo>
                <a:cubicBezTo>
                  <a:pt x="20559" y="8807"/>
                  <a:pt x="20688" y="8944"/>
                  <a:pt x="20950" y="8944"/>
                </a:cubicBezTo>
                <a:cubicBezTo>
                  <a:pt x="21209" y="8944"/>
                  <a:pt x="21471" y="8666"/>
                  <a:pt x="21600" y="8257"/>
                </a:cubicBezTo>
                <a:cubicBezTo>
                  <a:pt x="21600" y="7979"/>
                  <a:pt x="21338" y="7706"/>
                  <a:pt x="20950" y="7706"/>
                </a:cubicBezTo>
              </a:path>
            </a:pathLst>
          </a:custGeom>
          <a:solidFill>
            <a:srgbClr val="FFFFFF">
              <a:alpha val="85000"/>
            </a:srgbClr>
          </a:solidFill>
          <a:ln w="12700" cap="flat">
            <a:noFill/>
            <a:miter lim="400000"/>
          </a:ln>
          <a:effectLst/>
        </p:spPr>
        <p:txBody>
          <a:bodyPr wrap="square" lIns="45720" tIns="45720" rIns="45720" bIns="45720" numCol="1" anchor="ctr">
            <a:normAutofit/>
          </a:bodyPr>
          <a:lstStyle/>
          <a:p>
            <a:pPr>
              <a:spcBef>
                <a:spcPts val="0"/>
              </a:spcBef>
              <a:defRPr sz="4000">
                <a:latin typeface="Arial"/>
                <a:ea typeface="Arial"/>
                <a:cs typeface="Arial"/>
                <a:sym typeface="Arial"/>
              </a:defRPr>
            </a:pPr>
            <a:endParaRPr sz="1500"/>
          </a:p>
        </p:txBody>
      </p:sp>
      <p:sp>
        <p:nvSpPr>
          <p:cNvPr id="65" name="ZoneTexte 64"/>
          <p:cNvSpPr txBox="1"/>
          <p:nvPr/>
        </p:nvSpPr>
        <p:spPr>
          <a:xfrm>
            <a:off x="6291848" y="3444291"/>
            <a:ext cx="2312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REFERENCEMENT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6" name="Titre 15"/>
          <p:cNvSpPr txBox="1">
            <a:spLocks/>
          </p:cNvSpPr>
          <p:nvPr/>
        </p:nvSpPr>
        <p:spPr>
          <a:xfrm>
            <a:off x="6717191" y="3826917"/>
            <a:ext cx="2172537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Heroes Hall of Fame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68" name="Titre 15"/>
          <p:cNvSpPr txBox="1">
            <a:spLocks/>
          </p:cNvSpPr>
          <p:nvPr/>
        </p:nvSpPr>
        <p:spPr>
          <a:xfrm>
            <a:off x="6715109" y="4184791"/>
            <a:ext cx="1465594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Store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74" name="Straight Connector 112"/>
          <p:cNvSpPr/>
          <p:nvPr/>
        </p:nvSpPr>
        <p:spPr>
          <a:xfrm flipV="1">
            <a:off x="1764178" y="1546979"/>
            <a:ext cx="1732589" cy="1117015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5" name="Straight Connector 112"/>
          <p:cNvSpPr/>
          <p:nvPr/>
        </p:nvSpPr>
        <p:spPr>
          <a:xfrm flipH="1" flipV="1">
            <a:off x="4554702" y="1732163"/>
            <a:ext cx="6673" cy="681696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6" name="Straight Connector 112"/>
          <p:cNvSpPr/>
          <p:nvPr/>
        </p:nvSpPr>
        <p:spPr>
          <a:xfrm flipH="1" flipV="1">
            <a:off x="5560033" y="1527696"/>
            <a:ext cx="1534910" cy="1001489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grpSp>
        <p:nvGrpSpPr>
          <p:cNvPr id="54" name="Group 11"/>
          <p:cNvGrpSpPr/>
          <p:nvPr/>
        </p:nvGrpSpPr>
        <p:grpSpPr>
          <a:xfrm>
            <a:off x="4273259" y="555661"/>
            <a:ext cx="576232" cy="576232"/>
            <a:chOff x="3729025" y="2595668"/>
            <a:chExt cx="576232" cy="576232"/>
          </a:xfrm>
        </p:grpSpPr>
        <p:sp>
          <p:nvSpPr>
            <p:cNvPr id="55" name="Oval 34"/>
            <p:cNvSpPr/>
            <p:nvPr/>
          </p:nvSpPr>
          <p:spPr>
            <a:xfrm>
              <a:off x="3729025" y="2595668"/>
              <a:ext cx="576232" cy="576232"/>
            </a:xfrm>
            <a:prstGeom prst="ellipse">
              <a:avLst/>
            </a:prstGeom>
            <a:solidFill>
              <a:schemeClr val="bg2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60" name="Oval 35"/>
            <p:cNvSpPr/>
            <p:nvPr/>
          </p:nvSpPr>
          <p:spPr>
            <a:xfrm>
              <a:off x="3792456" y="2659099"/>
              <a:ext cx="448718" cy="448718"/>
            </a:xfrm>
            <a:prstGeom prst="ellipse">
              <a:avLst/>
            </a:prstGeom>
            <a:solidFill>
              <a:schemeClr val="bg2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1" name="TextBox 36"/>
            <p:cNvSpPr txBox="1"/>
            <p:nvPr/>
          </p:nvSpPr>
          <p:spPr>
            <a:xfrm>
              <a:off x="3750611" y="266121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5</a:t>
              </a:r>
            </a:p>
          </p:txBody>
        </p:sp>
      </p:grpSp>
      <p:cxnSp>
        <p:nvCxnSpPr>
          <p:cNvPr id="3" name="Connecteur droit 2"/>
          <p:cNvCxnSpPr/>
          <p:nvPr/>
        </p:nvCxnSpPr>
        <p:spPr bwMode="auto">
          <a:xfrm flipV="1">
            <a:off x="644376" y="3752879"/>
            <a:ext cx="1424494" cy="2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2" name="Connecteur droit 71"/>
          <p:cNvCxnSpPr/>
          <p:nvPr/>
        </p:nvCxnSpPr>
        <p:spPr bwMode="auto">
          <a:xfrm flipV="1">
            <a:off x="3880919" y="3779879"/>
            <a:ext cx="1424494" cy="2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7" name="Connecteur droit 76"/>
          <p:cNvCxnSpPr/>
          <p:nvPr/>
        </p:nvCxnSpPr>
        <p:spPr bwMode="auto">
          <a:xfrm flipV="1">
            <a:off x="6735659" y="3775342"/>
            <a:ext cx="1424494" cy="2"/>
          </a:xfrm>
          <a:prstGeom prst="line">
            <a:avLst/>
          </a:prstGeom>
          <a:noFill/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34" name="Group 11"/>
          <p:cNvGrpSpPr/>
          <p:nvPr/>
        </p:nvGrpSpPr>
        <p:grpSpPr>
          <a:xfrm>
            <a:off x="86400" y="73297"/>
            <a:ext cx="576232" cy="576232"/>
            <a:chOff x="3729025" y="2595668"/>
            <a:chExt cx="576232" cy="576232"/>
          </a:xfrm>
        </p:grpSpPr>
        <p:sp>
          <p:nvSpPr>
            <p:cNvPr id="35" name="Oval 34"/>
            <p:cNvSpPr/>
            <p:nvPr/>
          </p:nvSpPr>
          <p:spPr>
            <a:xfrm>
              <a:off x="3729025" y="2595668"/>
              <a:ext cx="576232" cy="576232"/>
            </a:xfrm>
            <a:prstGeom prst="ellipse">
              <a:avLst/>
            </a:prstGeom>
            <a:solidFill>
              <a:schemeClr val="bg2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3792456" y="2659099"/>
              <a:ext cx="448718" cy="448718"/>
            </a:xfrm>
            <a:prstGeom prst="ellipse">
              <a:avLst/>
            </a:prstGeom>
            <a:solidFill>
              <a:schemeClr val="bg2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750611" y="266121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1696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à coins arrondis 76"/>
          <p:cNvSpPr/>
          <p:nvPr/>
        </p:nvSpPr>
        <p:spPr>
          <a:xfrm>
            <a:off x="146905" y="2000579"/>
            <a:ext cx="4208851" cy="1090059"/>
          </a:xfrm>
          <a:prstGeom prst="roundRect">
            <a:avLst>
              <a:gd name="adj" fmla="val 32807"/>
            </a:avLst>
          </a:prstGeom>
          <a:solidFill>
            <a:schemeClr val="accent5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endParaRPr lang="en-US" sz="1200" b="1" dirty="0" smtClean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7" name="Titre 15"/>
          <p:cNvSpPr txBox="1">
            <a:spLocks/>
          </p:cNvSpPr>
          <p:nvPr/>
        </p:nvSpPr>
        <p:spPr>
          <a:xfrm>
            <a:off x="669067" y="170260"/>
            <a:ext cx="7042203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FEES AND ASSOCIATED PAY PER USE MODELS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270" y="137342"/>
            <a:ext cx="1114882" cy="298788"/>
          </a:xfrm>
          <a:prstGeom prst="rect">
            <a:avLst/>
          </a:prstGeom>
        </p:spPr>
      </p:pic>
      <p:sp>
        <p:nvSpPr>
          <p:cNvPr id="32" name="Straight Connector 112"/>
          <p:cNvSpPr/>
          <p:nvPr/>
        </p:nvSpPr>
        <p:spPr>
          <a:xfrm flipH="1" flipV="1">
            <a:off x="4519400" y="853251"/>
            <a:ext cx="0" cy="3626944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33" name="ZoneTexte 32"/>
          <p:cNvSpPr txBox="1"/>
          <p:nvPr/>
        </p:nvSpPr>
        <p:spPr>
          <a:xfrm>
            <a:off x="146905" y="853855"/>
            <a:ext cx="4208851" cy="24622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BASED ON TECHNICAL KPI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grpSp>
        <p:nvGrpSpPr>
          <p:cNvPr id="69" name="Group 11"/>
          <p:cNvGrpSpPr/>
          <p:nvPr/>
        </p:nvGrpSpPr>
        <p:grpSpPr>
          <a:xfrm>
            <a:off x="86400" y="73297"/>
            <a:ext cx="576232" cy="576232"/>
            <a:chOff x="3729025" y="2595668"/>
            <a:chExt cx="576232" cy="576232"/>
          </a:xfrm>
        </p:grpSpPr>
        <p:sp>
          <p:nvSpPr>
            <p:cNvPr id="71" name="Oval 34"/>
            <p:cNvSpPr/>
            <p:nvPr/>
          </p:nvSpPr>
          <p:spPr>
            <a:xfrm>
              <a:off x="3729025" y="2595668"/>
              <a:ext cx="576232" cy="576232"/>
            </a:xfrm>
            <a:prstGeom prst="ellipse">
              <a:avLst/>
            </a:prstGeom>
            <a:solidFill>
              <a:schemeClr val="bg2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2" name="Oval 35"/>
            <p:cNvSpPr/>
            <p:nvPr/>
          </p:nvSpPr>
          <p:spPr>
            <a:xfrm>
              <a:off x="3792456" y="2659099"/>
              <a:ext cx="448718" cy="448718"/>
            </a:xfrm>
            <a:prstGeom prst="ellipse">
              <a:avLst/>
            </a:prstGeom>
            <a:solidFill>
              <a:schemeClr val="bg2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3" name="TextBox 36"/>
            <p:cNvSpPr txBox="1"/>
            <p:nvPr/>
          </p:nvSpPr>
          <p:spPr>
            <a:xfrm>
              <a:off x="3750611" y="266121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5</a:t>
              </a:r>
            </a:p>
          </p:txBody>
        </p:sp>
      </p:grpSp>
      <p:sp>
        <p:nvSpPr>
          <p:cNvPr id="78" name="Rectangle à coins arrondis 77"/>
          <p:cNvSpPr/>
          <p:nvPr/>
        </p:nvSpPr>
        <p:spPr>
          <a:xfrm>
            <a:off x="4691243" y="1983961"/>
            <a:ext cx="4219528" cy="1106677"/>
          </a:xfrm>
          <a:prstGeom prst="roundRect">
            <a:avLst>
              <a:gd name="adj" fmla="val 32807"/>
            </a:avLst>
          </a:prstGeom>
          <a:solidFill>
            <a:schemeClr val="accent3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endParaRPr lang="en-US" sz="1050" i="1" dirty="0" smtClean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79" name="ZoneTexte 78"/>
          <p:cNvSpPr txBox="1"/>
          <p:nvPr/>
        </p:nvSpPr>
        <p:spPr>
          <a:xfrm>
            <a:off x="4691243" y="853854"/>
            <a:ext cx="4219528" cy="246221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BASED ON BUSINESS KPI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80" name="Titre 15"/>
          <p:cNvSpPr txBox="1">
            <a:spLocks/>
          </p:cNvSpPr>
          <p:nvPr/>
        </p:nvSpPr>
        <p:spPr>
          <a:xfrm>
            <a:off x="2338632" y="1773673"/>
            <a:ext cx="1913319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r"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MEASURE PLATFORM USAGE</a:t>
            </a:r>
            <a:endParaRPr lang="fr-FR" sz="10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81" name="Titre 15"/>
          <p:cNvSpPr txBox="1">
            <a:spLocks/>
          </p:cNvSpPr>
          <p:nvPr/>
        </p:nvSpPr>
        <p:spPr>
          <a:xfrm>
            <a:off x="6929892" y="1751505"/>
            <a:ext cx="1914757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r"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MEASURE BUSINESS USAGE</a:t>
            </a:r>
            <a:endParaRPr lang="fr-FR" sz="1000" kern="0" cap="all" baseline="30000" dirty="0">
              <a:solidFill>
                <a:srgbClr val="FFFFFF"/>
              </a:solidFill>
            </a:endParaRPr>
          </a:p>
        </p:txBody>
      </p:sp>
      <p:grpSp>
        <p:nvGrpSpPr>
          <p:cNvPr id="17" name="Grouper 16"/>
          <p:cNvGrpSpPr/>
          <p:nvPr/>
        </p:nvGrpSpPr>
        <p:grpSpPr>
          <a:xfrm>
            <a:off x="481491" y="2164275"/>
            <a:ext cx="812885" cy="792561"/>
            <a:chOff x="407381" y="3393655"/>
            <a:chExt cx="812885" cy="792561"/>
          </a:xfrm>
        </p:grpSpPr>
        <p:sp>
          <p:nvSpPr>
            <p:cNvPr id="82" name="Oval 13"/>
            <p:cNvSpPr>
              <a:spLocks noChangeAspect="1"/>
            </p:cNvSpPr>
            <p:nvPr/>
          </p:nvSpPr>
          <p:spPr>
            <a:xfrm>
              <a:off x="407381" y="3393655"/>
              <a:ext cx="812885" cy="792561"/>
            </a:xfrm>
            <a:prstGeom prst="ellipse">
              <a:avLst/>
            </a:prstGeom>
            <a:solidFill>
              <a:schemeClr val="bg1">
                <a:alpha val="12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45393" y="3547823"/>
              <a:ext cx="73686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800" b="1" i="1" dirty="0" smtClean="0">
                  <a:solidFill>
                    <a:srgbClr val="FFFFFF"/>
                  </a:solidFill>
                  <a:latin typeface="Trebuchet MS"/>
                </a:rPr>
                <a:t>APIs </a:t>
              </a:r>
            </a:p>
            <a:p>
              <a:pPr algn="ctr"/>
              <a:r>
                <a:rPr lang="fr-FR" sz="800" i="1" dirty="0" smtClean="0">
                  <a:solidFill>
                    <a:srgbClr val="FFFFFF"/>
                  </a:solidFill>
                  <a:latin typeface="Trebuchet MS"/>
                </a:rPr>
                <a:t>Per App</a:t>
              </a:r>
              <a:endParaRPr lang="fr-FR" sz="1100" i="1" dirty="0"/>
            </a:p>
          </p:txBody>
        </p:sp>
      </p:grpSp>
      <p:grpSp>
        <p:nvGrpSpPr>
          <p:cNvPr id="22" name="Grouper 21"/>
          <p:cNvGrpSpPr/>
          <p:nvPr/>
        </p:nvGrpSpPr>
        <p:grpSpPr>
          <a:xfrm>
            <a:off x="1811724" y="2164275"/>
            <a:ext cx="891333" cy="792561"/>
            <a:chOff x="1737614" y="3392136"/>
            <a:chExt cx="891333" cy="792561"/>
          </a:xfrm>
        </p:grpSpPr>
        <p:sp>
          <p:nvSpPr>
            <p:cNvPr id="83" name="Oval 13"/>
            <p:cNvSpPr>
              <a:spLocks noChangeAspect="1"/>
            </p:cNvSpPr>
            <p:nvPr/>
          </p:nvSpPr>
          <p:spPr>
            <a:xfrm>
              <a:off x="1780854" y="3392136"/>
              <a:ext cx="812885" cy="792561"/>
            </a:xfrm>
            <a:prstGeom prst="ellipse">
              <a:avLst/>
            </a:prstGeom>
            <a:solidFill>
              <a:schemeClr val="bg1">
                <a:alpha val="12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737614" y="3559140"/>
              <a:ext cx="89133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800" b="1" i="1" dirty="0" smtClean="0">
                  <a:solidFill>
                    <a:srgbClr val="FFFFFF"/>
                  </a:solidFill>
                  <a:latin typeface="Trebuchet MS"/>
                </a:rPr>
                <a:t>SECONDS</a:t>
              </a:r>
              <a:endParaRPr lang="fr-FR" sz="800" b="1" i="1" dirty="0">
                <a:solidFill>
                  <a:srgbClr val="FFFFFF"/>
                </a:solidFill>
                <a:latin typeface="Trebuchet MS"/>
              </a:endParaRPr>
            </a:p>
            <a:p>
              <a:pPr algn="ctr"/>
              <a:r>
                <a:rPr lang="fr-FR" sz="800" i="1" dirty="0" smtClean="0">
                  <a:solidFill>
                    <a:srgbClr val="FFFFFF"/>
                  </a:solidFill>
                  <a:latin typeface="Trebuchet MS"/>
                </a:rPr>
                <a:t>Per App</a:t>
              </a:r>
              <a:endParaRPr lang="fr-FR" sz="1100" i="1" dirty="0"/>
            </a:p>
          </p:txBody>
        </p:sp>
      </p:grpSp>
      <p:sp>
        <p:nvSpPr>
          <p:cNvPr id="84" name="Oval 13"/>
          <p:cNvSpPr>
            <a:spLocks noChangeAspect="1"/>
          </p:cNvSpPr>
          <p:nvPr/>
        </p:nvSpPr>
        <p:spPr>
          <a:xfrm>
            <a:off x="3228437" y="2164275"/>
            <a:ext cx="812885" cy="792561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3247808" y="2318685"/>
            <a:ext cx="77414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800" b="1" i="1" dirty="0" smtClean="0">
                <a:solidFill>
                  <a:srgbClr val="FFFFFF"/>
                </a:solidFill>
                <a:latin typeface="Trebuchet MS"/>
              </a:rPr>
              <a:t>GB</a:t>
            </a:r>
          </a:p>
          <a:p>
            <a:pPr algn="ctr"/>
            <a:r>
              <a:rPr lang="fr-FR" sz="800" i="1" dirty="0">
                <a:solidFill>
                  <a:srgbClr val="FFFFFF"/>
                </a:solidFill>
                <a:latin typeface="Trebuchet MS"/>
              </a:rPr>
              <a:t>Per </a:t>
            </a:r>
            <a:r>
              <a:rPr lang="fr-FR" sz="800" i="1" dirty="0" smtClean="0">
                <a:solidFill>
                  <a:srgbClr val="FFFFFF"/>
                </a:solidFill>
                <a:latin typeface="Trebuchet MS"/>
              </a:rPr>
              <a:t>App</a:t>
            </a:r>
            <a:endParaRPr lang="fr-FR" sz="1100" i="1" dirty="0"/>
          </a:p>
        </p:txBody>
      </p:sp>
      <p:sp>
        <p:nvSpPr>
          <p:cNvPr id="92" name="Rectangle 48"/>
          <p:cNvSpPr/>
          <p:nvPr/>
        </p:nvSpPr>
        <p:spPr>
          <a:xfrm>
            <a:off x="542234" y="3322082"/>
            <a:ext cx="648433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API</a:t>
            </a:r>
            <a:endParaRPr sz="800" dirty="0"/>
          </a:p>
        </p:txBody>
      </p:sp>
      <p:grpSp>
        <p:nvGrpSpPr>
          <p:cNvPr id="94" name="Group 176"/>
          <p:cNvGrpSpPr/>
          <p:nvPr/>
        </p:nvGrpSpPr>
        <p:grpSpPr>
          <a:xfrm>
            <a:off x="1888237" y="3837322"/>
            <a:ext cx="753003" cy="427430"/>
            <a:chOff x="0" y="0"/>
            <a:chExt cx="2537386" cy="1386165"/>
          </a:xfrm>
        </p:grpSpPr>
        <p:sp>
          <p:nvSpPr>
            <p:cNvPr id="95" name="Freeform 72"/>
            <p:cNvSpPr/>
            <p:nvPr/>
          </p:nvSpPr>
          <p:spPr>
            <a:xfrm>
              <a:off x="-1" y="0"/>
              <a:ext cx="806639" cy="5991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52" y="0"/>
                  </a:moveTo>
                  <a:cubicBezTo>
                    <a:pt x="2048" y="0"/>
                    <a:pt x="2048" y="0"/>
                    <a:pt x="2048" y="0"/>
                  </a:cubicBezTo>
                  <a:cubicBezTo>
                    <a:pt x="1862" y="0"/>
                    <a:pt x="1862" y="251"/>
                    <a:pt x="1676" y="251"/>
                  </a:cubicBezTo>
                  <a:cubicBezTo>
                    <a:pt x="1676" y="251"/>
                    <a:pt x="1490" y="251"/>
                    <a:pt x="1490" y="251"/>
                  </a:cubicBezTo>
                  <a:cubicBezTo>
                    <a:pt x="1490" y="251"/>
                    <a:pt x="1303" y="251"/>
                    <a:pt x="1303" y="502"/>
                  </a:cubicBezTo>
                  <a:cubicBezTo>
                    <a:pt x="1117" y="502"/>
                    <a:pt x="931" y="753"/>
                    <a:pt x="745" y="753"/>
                  </a:cubicBezTo>
                  <a:cubicBezTo>
                    <a:pt x="745" y="1005"/>
                    <a:pt x="745" y="1005"/>
                    <a:pt x="745" y="1005"/>
                  </a:cubicBezTo>
                  <a:cubicBezTo>
                    <a:pt x="559" y="1256"/>
                    <a:pt x="372" y="1507"/>
                    <a:pt x="372" y="1507"/>
                  </a:cubicBezTo>
                  <a:cubicBezTo>
                    <a:pt x="372" y="1507"/>
                    <a:pt x="372" y="1507"/>
                    <a:pt x="372" y="1507"/>
                  </a:cubicBezTo>
                  <a:cubicBezTo>
                    <a:pt x="186" y="2009"/>
                    <a:pt x="186" y="2763"/>
                    <a:pt x="186" y="3265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186" y="18335"/>
                    <a:pt x="186" y="18335"/>
                    <a:pt x="186" y="18335"/>
                  </a:cubicBezTo>
                  <a:cubicBezTo>
                    <a:pt x="186" y="20093"/>
                    <a:pt x="931" y="21600"/>
                    <a:pt x="2048" y="21600"/>
                  </a:cubicBezTo>
                  <a:cubicBezTo>
                    <a:pt x="19552" y="21600"/>
                    <a:pt x="19552" y="21600"/>
                    <a:pt x="19552" y="21600"/>
                  </a:cubicBezTo>
                  <a:cubicBezTo>
                    <a:pt x="20669" y="21600"/>
                    <a:pt x="21600" y="20093"/>
                    <a:pt x="21600" y="18335"/>
                  </a:cubicBezTo>
                  <a:cubicBezTo>
                    <a:pt x="21600" y="3265"/>
                    <a:pt x="21600" y="3265"/>
                    <a:pt x="21600" y="3265"/>
                  </a:cubicBezTo>
                  <a:cubicBezTo>
                    <a:pt x="21600" y="1507"/>
                    <a:pt x="20669" y="0"/>
                    <a:pt x="19552" y="0"/>
                  </a:cubicBezTo>
                  <a:close/>
                  <a:moveTo>
                    <a:pt x="14152" y="14316"/>
                  </a:moveTo>
                  <a:cubicBezTo>
                    <a:pt x="11917" y="7284"/>
                    <a:pt x="11917" y="7284"/>
                    <a:pt x="11917" y="7284"/>
                  </a:cubicBezTo>
                  <a:cubicBezTo>
                    <a:pt x="9497" y="15321"/>
                    <a:pt x="9497" y="15321"/>
                    <a:pt x="9497" y="15321"/>
                  </a:cubicBezTo>
                  <a:cubicBezTo>
                    <a:pt x="6890" y="12558"/>
                    <a:pt x="6890" y="12558"/>
                    <a:pt x="6890" y="12558"/>
                  </a:cubicBezTo>
                  <a:cubicBezTo>
                    <a:pt x="5214" y="16577"/>
                    <a:pt x="5214" y="16577"/>
                    <a:pt x="5214" y="16577"/>
                  </a:cubicBezTo>
                  <a:cubicBezTo>
                    <a:pt x="5214" y="16577"/>
                    <a:pt x="5214" y="16577"/>
                    <a:pt x="5214" y="16577"/>
                  </a:cubicBezTo>
                  <a:cubicBezTo>
                    <a:pt x="4097" y="16326"/>
                    <a:pt x="4097" y="16326"/>
                    <a:pt x="4097" y="16326"/>
                  </a:cubicBezTo>
                  <a:cubicBezTo>
                    <a:pt x="6703" y="10800"/>
                    <a:pt x="6703" y="10800"/>
                    <a:pt x="6703" y="10800"/>
                  </a:cubicBezTo>
                  <a:cubicBezTo>
                    <a:pt x="9124" y="13563"/>
                    <a:pt x="9124" y="13563"/>
                    <a:pt x="9124" y="13563"/>
                  </a:cubicBezTo>
                  <a:cubicBezTo>
                    <a:pt x="11731" y="4772"/>
                    <a:pt x="11731" y="4772"/>
                    <a:pt x="11731" y="4772"/>
                  </a:cubicBezTo>
                  <a:cubicBezTo>
                    <a:pt x="14338" y="12307"/>
                    <a:pt x="14338" y="12307"/>
                    <a:pt x="14338" y="12307"/>
                  </a:cubicBezTo>
                  <a:cubicBezTo>
                    <a:pt x="16759" y="9042"/>
                    <a:pt x="16759" y="9042"/>
                    <a:pt x="16759" y="9042"/>
                  </a:cubicBezTo>
                  <a:cubicBezTo>
                    <a:pt x="17503" y="9293"/>
                    <a:pt x="17503" y="9293"/>
                    <a:pt x="17503" y="9293"/>
                  </a:cubicBezTo>
                  <a:lnTo>
                    <a:pt x="14152" y="1431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96" name="Oval 73"/>
            <p:cNvSpPr/>
            <p:nvPr/>
          </p:nvSpPr>
          <p:spPr>
            <a:xfrm>
              <a:off x="1022003" y="328919"/>
              <a:ext cx="465974" cy="458140"/>
            </a:xfrm>
            <a:prstGeom prst="ellipse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97" name="Freeform 74"/>
            <p:cNvSpPr/>
            <p:nvPr/>
          </p:nvSpPr>
          <p:spPr>
            <a:xfrm>
              <a:off x="1687675" y="0"/>
              <a:ext cx="849712" cy="5991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90" y="0"/>
                  </a:moveTo>
                  <a:cubicBezTo>
                    <a:pt x="1948" y="0"/>
                    <a:pt x="1948" y="0"/>
                    <a:pt x="1948" y="0"/>
                  </a:cubicBezTo>
                  <a:cubicBezTo>
                    <a:pt x="1770" y="0"/>
                    <a:pt x="1593" y="251"/>
                    <a:pt x="1593" y="251"/>
                  </a:cubicBezTo>
                  <a:cubicBezTo>
                    <a:pt x="1416" y="251"/>
                    <a:pt x="1416" y="251"/>
                    <a:pt x="1416" y="251"/>
                  </a:cubicBezTo>
                  <a:cubicBezTo>
                    <a:pt x="1239" y="251"/>
                    <a:pt x="1239" y="251"/>
                    <a:pt x="1062" y="502"/>
                  </a:cubicBezTo>
                  <a:cubicBezTo>
                    <a:pt x="1062" y="502"/>
                    <a:pt x="1062" y="502"/>
                    <a:pt x="1062" y="502"/>
                  </a:cubicBezTo>
                  <a:cubicBezTo>
                    <a:pt x="885" y="753"/>
                    <a:pt x="885" y="753"/>
                    <a:pt x="708" y="753"/>
                  </a:cubicBezTo>
                  <a:cubicBezTo>
                    <a:pt x="708" y="1005"/>
                    <a:pt x="708" y="1005"/>
                    <a:pt x="708" y="1005"/>
                  </a:cubicBezTo>
                  <a:cubicBezTo>
                    <a:pt x="531" y="1256"/>
                    <a:pt x="531" y="1256"/>
                    <a:pt x="354" y="1507"/>
                  </a:cubicBezTo>
                  <a:cubicBezTo>
                    <a:pt x="354" y="1507"/>
                    <a:pt x="354" y="1507"/>
                    <a:pt x="354" y="1507"/>
                  </a:cubicBezTo>
                  <a:cubicBezTo>
                    <a:pt x="354" y="1507"/>
                    <a:pt x="354" y="1507"/>
                    <a:pt x="354" y="1507"/>
                  </a:cubicBezTo>
                  <a:cubicBezTo>
                    <a:pt x="177" y="2009"/>
                    <a:pt x="0" y="2763"/>
                    <a:pt x="0" y="3265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0" y="18335"/>
                    <a:pt x="0" y="18335"/>
                    <a:pt x="0" y="18335"/>
                  </a:cubicBezTo>
                  <a:cubicBezTo>
                    <a:pt x="0" y="20093"/>
                    <a:pt x="885" y="21600"/>
                    <a:pt x="1948" y="21600"/>
                  </a:cubicBezTo>
                  <a:cubicBezTo>
                    <a:pt x="18590" y="21600"/>
                    <a:pt x="18590" y="21600"/>
                    <a:pt x="18590" y="21600"/>
                  </a:cubicBezTo>
                  <a:cubicBezTo>
                    <a:pt x="19652" y="21600"/>
                    <a:pt x="21600" y="20093"/>
                    <a:pt x="21600" y="18335"/>
                  </a:cubicBezTo>
                  <a:cubicBezTo>
                    <a:pt x="21600" y="3265"/>
                    <a:pt x="21600" y="3265"/>
                    <a:pt x="21600" y="3265"/>
                  </a:cubicBezTo>
                  <a:cubicBezTo>
                    <a:pt x="21600" y="1507"/>
                    <a:pt x="19652" y="0"/>
                    <a:pt x="18590" y="0"/>
                  </a:cubicBezTo>
                  <a:close/>
                  <a:moveTo>
                    <a:pt x="9738" y="13814"/>
                  </a:moveTo>
                  <a:cubicBezTo>
                    <a:pt x="4249" y="13814"/>
                    <a:pt x="4249" y="13814"/>
                    <a:pt x="4249" y="13814"/>
                  </a:cubicBezTo>
                  <a:cubicBezTo>
                    <a:pt x="4249" y="6530"/>
                    <a:pt x="4249" y="6530"/>
                    <a:pt x="4249" y="6530"/>
                  </a:cubicBezTo>
                  <a:cubicBezTo>
                    <a:pt x="9738" y="6530"/>
                    <a:pt x="9738" y="6530"/>
                    <a:pt x="9738" y="6530"/>
                  </a:cubicBezTo>
                  <a:lnTo>
                    <a:pt x="9738" y="13814"/>
                  </a:lnTo>
                  <a:close/>
                  <a:moveTo>
                    <a:pt x="17351" y="13814"/>
                  </a:moveTo>
                  <a:cubicBezTo>
                    <a:pt x="11862" y="13814"/>
                    <a:pt x="11862" y="13814"/>
                    <a:pt x="11862" y="13814"/>
                  </a:cubicBezTo>
                  <a:cubicBezTo>
                    <a:pt x="11862" y="6530"/>
                    <a:pt x="11862" y="6530"/>
                    <a:pt x="11862" y="6530"/>
                  </a:cubicBezTo>
                  <a:cubicBezTo>
                    <a:pt x="17351" y="6530"/>
                    <a:pt x="17351" y="6530"/>
                    <a:pt x="17351" y="6530"/>
                  </a:cubicBezTo>
                  <a:lnTo>
                    <a:pt x="17351" y="13814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98" name="Freeform 75"/>
            <p:cNvSpPr/>
            <p:nvPr/>
          </p:nvSpPr>
          <p:spPr>
            <a:xfrm>
              <a:off x="849711" y="0"/>
              <a:ext cx="806639" cy="5991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52" y="0"/>
                  </a:moveTo>
                  <a:cubicBezTo>
                    <a:pt x="2048" y="0"/>
                    <a:pt x="2048" y="0"/>
                    <a:pt x="2048" y="0"/>
                  </a:cubicBezTo>
                  <a:cubicBezTo>
                    <a:pt x="1862" y="0"/>
                    <a:pt x="1676" y="251"/>
                    <a:pt x="1490" y="251"/>
                  </a:cubicBezTo>
                  <a:cubicBezTo>
                    <a:pt x="1490" y="251"/>
                    <a:pt x="1490" y="251"/>
                    <a:pt x="1303" y="251"/>
                  </a:cubicBezTo>
                  <a:cubicBezTo>
                    <a:pt x="1303" y="251"/>
                    <a:pt x="1117" y="251"/>
                    <a:pt x="1117" y="502"/>
                  </a:cubicBezTo>
                  <a:cubicBezTo>
                    <a:pt x="1117" y="502"/>
                    <a:pt x="931" y="502"/>
                    <a:pt x="931" y="502"/>
                  </a:cubicBezTo>
                  <a:cubicBezTo>
                    <a:pt x="931" y="753"/>
                    <a:pt x="745" y="753"/>
                    <a:pt x="745" y="753"/>
                  </a:cubicBezTo>
                  <a:cubicBezTo>
                    <a:pt x="745" y="1005"/>
                    <a:pt x="559" y="1005"/>
                    <a:pt x="559" y="1005"/>
                  </a:cubicBezTo>
                  <a:cubicBezTo>
                    <a:pt x="559" y="1256"/>
                    <a:pt x="372" y="1256"/>
                    <a:pt x="372" y="1507"/>
                  </a:cubicBezTo>
                  <a:cubicBezTo>
                    <a:pt x="372" y="1507"/>
                    <a:pt x="372" y="1507"/>
                    <a:pt x="372" y="1507"/>
                  </a:cubicBezTo>
                  <a:cubicBezTo>
                    <a:pt x="372" y="1507"/>
                    <a:pt x="372" y="1507"/>
                    <a:pt x="372" y="1507"/>
                  </a:cubicBezTo>
                  <a:cubicBezTo>
                    <a:pt x="186" y="2009"/>
                    <a:pt x="0" y="2763"/>
                    <a:pt x="0" y="3265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0" y="18335"/>
                    <a:pt x="0" y="18335"/>
                    <a:pt x="0" y="18335"/>
                  </a:cubicBezTo>
                  <a:cubicBezTo>
                    <a:pt x="0" y="20093"/>
                    <a:pt x="931" y="21600"/>
                    <a:pt x="2048" y="21600"/>
                  </a:cubicBezTo>
                  <a:cubicBezTo>
                    <a:pt x="3724" y="21600"/>
                    <a:pt x="3724" y="21600"/>
                    <a:pt x="3724" y="21600"/>
                  </a:cubicBezTo>
                  <a:cubicBezTo>
                    <a:pt x="3724" y="21098"/>
                    <a:pt x="3724" y="20595"/>
                    <a:pt x="3724" y="20093"/>
                  </a:cubicBezTo>
                  <a:cubicBezTo>
                    <a:pt x="3724" y="14819"/>
                    <a:pt x="6890" y="10298"/>
                    <a:pt x="10986" y="10298"/>
                  </a:cubicBezTo>
                  <a:cubicBezTo>
                    <a:pt x="14897" y="10298"/>
                    <a:pt x="18248" y="14819"/>
                    <a:pt x="18248" y="20093"/>
                  </a:cubicBezTo>
                  <a:cubicBezTo>
                    <a:pt x="18248" y="20595"/>
                    <a:pt x="18062" y="21098"/>
                    <a:pt x="18062" y="21600"/>
                  </a:cubicBezTo>
                  <a:cubicBezTo>
                    <a:pt x="19552" y="21600"/>
                    <a:pt x="19552" y="21600"/>
                    <a:pt x="19552" y="21600"/>
                  </a:cubicBezTo>
                  <a:cubicBezTo>
                    <a:pt x="20669" y="21600"/>
                    <a:pt x="21600" y="20093"/>
                    <a:pt x="21600" y="18335"/>
                  </a:cubicBezTo>
                  <a:cubicBezTo>
                    <a:pt x="21600" y="3265"/>
                    <a:pt x="21600" y="3265"/>
                    <a:pt x="21600" y="3265"/>
                  </a:cubicBezTo>
                  <a:cubicBezTo>
                    <a:pt x="21600" y="1507"/>
                    <a:pt x="20669" y="0"/>
                    <a:pt x="19552" y="0"/>
                  </a:cubicBezTo>
                  <a:close/>
                  <a:moveTo>
                    <a:pt x="6703" y="8540"/>
                  </a:moveTo>
                  <a:cubicBezTo>
                    <a:pt x="2793" y="8540"/>
                    <a:pt x="2793" y="8540"/>
                    <a:pt x="2793" y="8540"/>
                  </a:cubicBezTo>
                  <a:cubicBezTo>
                    <a:pt x="2793" y="5023"/>
                    <a:pt x="2793" y="5023"/>
                    <a:pt x="2793" y="5023"/>
                  </a:cubicBezTo>
                  <a:cubicBezTo>
                    <a:pt x="6703" y="5023"/>
                    <a:pt x="6703" y="5023"/>
                    <a:pt x="6703" y="5023"/>
                  </a:cubicBezTo>
                  <a:lnTo>
                    <a:pt x="6703" y="8540"/>
                  </a:lnTo>
                  <a:close/>
                  <a:moveTo>
                    <a:pt x="13221" y="8540"/>
                  </a:moveTo>
                  <a:cubicBezTo>
                    <a:pt x="9310" y="8540"/>
                    <a:pt x="9310" y="8540"/>
                    <a:pt x="9310" y="8540"/>
                  </a:cubicBezTo>
                  <a:cubicBezTo>
                    <a:pt x="9310" y="5023"/>
                    <a:pt x="9310" y="5023"/>
                    <a:pt x="9310" y="5023"/>
                  </a:cubicBezTo>
                  <a:cubicBezTo>
                    <a:pt x="13221" y="5023"/>
                    <a:pt x="13221" y="5023"/>
                    <a:pt x="13221" y="5023"/>
                  </a:cubicBezTo>
                  <a:lnTo>
                    <a:pt x="13221" y="8540"/>
                  </a:lnTo>
                  <a:close/>
                  <a:moveTo>
                    <a:pt x="19738" y="8540"/>
                  </a:moveTo>
                  <a:cubicBezTo>
                    <a:pt x="15828" y="8540"/>
                    <a:pt x="15828" y="8540"/>
                    <a:pt x="15828" y="8540"/>
                  </a:cubicBezTo>
                  <a:cubicBezTo>
                    <a:pt x="15828" y="5023"/>
                    <a:pt x="15828" y="5023"/>
                    <a:pt x="15828" y="5023"/>
                  </a:cubicBezTo>
                  <a:cubicBezTo>
                    <a:pt x="19738" y="5023"/>
                    <a:pt x="19738" y="5023"/>
                    <a:pt x="19738" y="5023"/>
                  </a:cubicBezTo>
                  <a:lnTo>
                    <a:pt x="19738" y="85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99" name="Freeform 76"/>
            <p:cNvSpPr/>
            <p:nvPr/>
          </p:nvSpPr>
          <p:spPr>
            <a:xfrm>
              <a:off x="964891" y="863082"/>
              <a:ext cx="125973" cy="125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54" h="19854" extrusionOk="0">
                  <a:moveTo>
                    <a:pt x="19647" y="12087"/>
                  </a:moveTo>
                  <a:cubicBezTo>
                    <a:pt x="20727" y="6687"/>
                    <a:pt x="17487" y="1287"/>
                    <a:pt x="12087" y="207"/>
                  </a:cubicBezTo>
                  <a:cubicBezTo>
                    <a:pt x="6687" y="-873"/>
                    <a:pt x="1287" y="2367"/>
                    <a:pt x="207" y="7767"/>
                  </a:cubicBezTo>
                  <a:cubicBezTo>
                    <a:pt x="-873" y="13167"/>
                    <a:pt x="2367" y="18567"/>
                    <a:pt x="7767" y="19647"/>
                  </a:cubicBezTo>
                  <a:cubicBezTo>
                    <a:pt x="13167" y="20727"/>
                    <a:pt x="18567" y="17487"/>
                    <a:pt x="19647" y="1208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100" name="Freeform 77"/>
            <p:cNvSpPr/>
            <p:nvPr/>
          </p:nvSpPr>
          <p:spPr>
            <a:xfrm>
              <a:off x="943688" y="849711"/>
              <a:ext cx="626516" cy="5364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257"/>
                  </a:moveTo>
                  <a:cubicBezTo>
                    <a:pt x="0" y="12343"/>
                    <a:pt x="0" y="12343"/>
                    <a:pt x="0" y="12343"/>
                  </a:cubicBezTo>
                  <a:cubicBezTo>
                    <a:pt x="0" y="19075"/>
                    <a:pt x="0" y="19075"/>
                    <a:pt x="0" y="19075"/>
                  </a:cubicBezTo>
                  <a:cubicBezTo>
                    <a:pt x="0" y="20478"/>
                    <a:pt x="1200" y="21600"/>
                    <a:pt x="2880" y="21600"/>
                  </a:cubicBezTo>
                  <a:cubicBezTo>
                    <a:pt x="18720" y="21600"/>
                    <a:pt x="18720" y="21600"/>
                    <a:pt x="18720" y="21600"/>
                  </a:cubicBezTo>
                  <a:cubicBezTo>
                    <a:pt x="20400" y="21600"/>
                    <a:pt x="21600" y="20478"/>
                    <a:pt x="21600" y="19075"/>
                  </a:cubicBezTo>
                  <a:cubicBezTo>
                    <a:pt x="21600" y="8696"/>
                    <a:pt x="21600" y="8696"/>
                    <a:pt x="21600" y="8696"/>
                  </a:cubicBezTo>
                  <a:cubicBezTo>
                    <a:pt x="21600" y="5049"/>
                    <a:pt x="19440" y="1964"/>
                    <a:pt x="16800" y="561"/>
                  </a:cubicBezTo>
                  <a:cubicBezTo>
                    <a:pt x="16800" y="561"/>
                    <a:pt x="16560" y="561"/>
                    <a:pt x="16560" y="561"/>
                  </a:cubicBezTo>
                  <a:cubicBezTo>
                    <a:pt x="16320" y="281"/>
                    <a:pt x="16080" y="281"/>
                    <a:pt x="15840" y="281"/>
                  </a:cubicBezTo>
                  <a:cubicBezTo>
                    <a:pt x="15840" y="281"/>
                    <a:pt x="15840" y="281"/>
                    <a:pt x="15600" y="281"/>
                  </a:cubicBezTo>
                  <a:cubicBezTo>
                    <a:pt x="15600" y="0"/>
                    <a:pt x="15360" y="0"/>
                    <a:pt x="15120" y="0"/>
                  </a:cubicBezTo>
                  <a:cubicBezTo>
                    <a:pt x="14880" y="0"/>
                    <a:pt x="14880" y="0"/>
                    <a:pt x="14880" y="0"/>
                  </a:cubicBezTo>
                  <a:cubicBezTo>
                    <a:pt x="14400" y="0"/>
                    <a:pt x="14160" y="0"/>
                    <a:pt x="13920" y="0"/>
                  </a:cubicBezTo>
                  <a:cubicBezTo>
                    <a:pt x="7680" y="0"/>
                    <a:pt x="7680" y="0"/>
                    <a:pt x="7680" y="0"/>
                  </a:cubicBezTo>
                  <a:cubicBezTo>
                    <a:pt x="8640" y="1403"/>
                    <a:pt x="8880" y="3086"/>
                    <a:pt x="8400" y="5049"/>
                  </a:cubicBezTo>
                  <a:cubicBezTo>
                    <a:pt x="7680" y="8696"/>
                    <a:pt x="4560" y="10940"/>
                    <a:pt x="1440" y="10099"/>
                  </a:cubicBezTo>
                  <a:cubicBezTo>
                    <a:pt x="960" y="9818"/>
                    <a:pt x="480" y="9538"/>
                    <a:pt x="0" y="9257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09" name="Rectangle 48"/>
          <p:cNvSpPr/>
          <p:nvPr/>
        </p:nvSpPr>
        <p:spPr>
          <a:xfrm>
            <a:off x="1759916" y="3325122"/>
            <a:ext cx="1008428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TRAFIC</a:t>
            </a:r>
            <a:endParaRPr sz="800" dirty="0"/>
          </a:p>
        </p:txBody>
      </p:sp>
      <p:sp>
        <p:nvSpPr>
          <p:cNvPr id="110" name="Rectangle 48"/>
          <p:cNvSpPr/>
          <p:nvPr/>
        </p:nvSpPr>
        <p:spPr>
          <a:xfrm>
            <a:off x="3180063" y="3322082"/>
            <a:ext cx="892301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BANDWIDTH</a:t>
            </a:r>
            <a:endParaRPr sz="800" dirty="0"/>
          </a:p>
        </p:txBody>
      </p:sp>
      <p:sp>
        <p:nvSpPr>
          <p:cNvPr id="111" name="Rectangle 48"/>
          <p:cNvSpPr/>
          <p:nvPr/>
        </p:nvSpPr>
        <p:spPr>
          <a:xfrm>
            <a:off x="1643657" y="4284071"/>
            <a:ext cx="1248942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APPLICATION USAGE</a:t>
            </a:r>
            <a:endParaRPr sz="800" dirty="0"/>
          </a:p>
        </p:txBody>
      </p:sp>
      <p:sp>
        <p:nvSpPr>
          <p:cNvPr id="112" name="Straight Connector 112"/>
          <p:cNvSpPr/>
          <p:nvPr/>
        </p:nvSpPr>
        <p:spPr>
          <a:xfrm flipH="1">
            <a:off x="275939" y="2529182"/>
            <a:ext cx="144000" cy="272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13" name="Straight Connector 112"/>
          <p:cNvSpPr/>
          <p:nvPr/>
        </p:nvSpPr>
        <p:spPr>
          <a:xfrm flipH="1" flipV="1">
            <a:off x="1322746" y="2521140"/>
            <a:ext cx="507536" cy="0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14" name="Straight Connector 112"/>
          <p:cNvSpPr/>
          <p:nvPr/>
        </p:nvSpPr>
        <p:spPr>
          <a:xfrm flipH="1">
            <a:off x="2712936" y="2529180"/>
            <a:ext cx="475066" cy="1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17" name="Straight Connector 112"/>
          <p:cNvSpPr/>
          <p:nvPr/>
        </p:nvSpPr>
        <p:spPr>
          <a:xfrm flipH="1">
            <a:off x="4087768" y="2528908"/>
            <a:ext cx="144000" cy="272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18" name="Straight Connector 112"/>
          <p:cNvSpPr/>
          <p:nvPr/>
        </p:nvSpPr>
        <p:spPr>
          <a:xfrm flipH="1" flipV="1">
            <a:off x="866451" y="2785457"/>
            <a:ext cx="3389" cy="638998"/>
          </a:xfrm>
          <a:prstGeom prst="line">
            <a:avLst/>
          </a:prstGeom>
          <a:ln w="101600">
            <a:solidFill>
              <a:schemeClr val="bg1">
                <a:alpha val="12000"/>
              </a:schemeClr>
            </a:solidFill>
            <a:headEnd type="oval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19" name="Straight Connector 112"/>
          <p:cNvSpPr/>
          <p:nvPr/>
        </p:nvSpPr>
        <p:spPr>
          <a:xfrm flipH="1" flipV="1">
            <a:off x="2261350" y="2782746"/>
            <a:ext cx="3389" cy="638998"/>
          </a:xfrm>
          <a:prstGeom prst="line">
            <a:avLst/>
          </a:prstGeom>
          <a:ln w="101600">
            <a:solidFill>
              <a:schemeClr val="bg1">
                <a:alpha val="12000"/>
              </a:schemeClr>
            </a:solidFill>
            <a:headEnd type="oval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21" name="Straight Connector 112"/>
          <p:cNvSpPr/>
          <p:nvPr/>
        </p:nvSpPr>
        <p:spPr>
          <a:xfrm flipH="1" flipV="1">
            <a:off x="3626214" y="2787771"/>
            <a:ext cx="3389" cy="638998"/>
          </a:xfrm>
          <a:prstGeom prst="line">
            <a:avLst/>
          </a:prstGeom>
          <a:ln w="101600">
            <a:solidFill>
              <a:schemeClr val="bg1">
                <a:alpha val="12000"/>
              </a:schemeClr>
            </a:solidFill>
            <a:headEnd type="oval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22" name="Straight Connector 112"/>
          <p:cNvSpPr/>
          <p:nvPr/>
        </p:nvSpPr>
        <p:spPr>
          <a:xfrm flipH="1">
            <a:off x="2264739" y="1400740"/>
            <a:ext cx="3389" cy="638998"/>
          </a:xfrm>
          <a:prstGeom prst="line">
            <a:avLst/>
          </a:prstGeom>
          <a:ln w="101600">
            <a:solidFill>
              <a:schemeClr val="bg1">
                <a:alpha val="12000"/>
              </a:schemeClr>
            </a:solidFill>
            <a:headEnd type="oval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23" name="Rectangle 48"/>
          <p:cNvSpPr/>
          <p:nvPr/>
        </p:nvSpPr>
        <p:spPr>
          <a:xfrm>
            <a:off x="1819640" y="1241309"/>
            <a:ext cx="892301" cy="30777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400" dirty="0"/>
              <a:t>€</a:t>
            </a:r>
            <a:endParaRPr sz="1400" dirty="0"/>
          </a:p>
        </p:txBody>
      </p:sp>
      <p:sp>
        <p:nvSpPr>
          <p:cNvPr id="124" name="Straight Connector 112"/>
          <p:cNvSpPr/>
          <p:nvPr/>
        </p:nvSpPr>
        <p:spPr>
          <a:xfrm flipH="1">
            <a:off x="6799640" y="1400740"/>
            <a:ext cx="3389" cy="638998"/>
          </a:xfrm>
          <a:prstGeom prst="line">
            <a:avLst/>
          </a:prstGeom>
          <a:ln w="101600">
            <a:solidFill>
              <a:schemeClr val="bg1">
                <a:alpha val="12000"/>
              </a:schemeClr>
            </a:solidFill>
            <a:headEnd type="oval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25" name="Rectangle 48"/>
          <p:cNvSpPr/>
          <p:nvPr/>
        </p:nvSpPr>
        <p:spPr>
          <a:xfrm>
            <a:off x="6355184" y="1241309"/>
            <a:ext cx="892301" cy="30777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400" dirty="0"/>
              <a:t>€</a:t>
            </a:r>
            <a:endParaRPr sz="1400" dirty="0"/>
          </a:p>
        </p:txBody>
      </p:sp>
      <p:sp>
        <p:nvSpPr>
          <p:cNvPr id="141" name="Oval 13"/>
          <p:cNvSpPr>
            <a:spLocks noChangeAspect="1"/>
          </p:cNvSpPr>
          <p:nvPr/>
        </p:nvSpPr>
        <p:spPr>
          <a:xfrm>
            <a:off x="5020372" y="2158615"/>
            <a:ext cx="812885" cy="792561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144" name="Oval 13"/>
          <p:cNvSpPr>
            <a:spLocks noChangeAspect="1"/>
          </p:cNvSpPr>
          <p:nvPr/>
        </p:nvSpPr>
        <p:spPr>
          <a:xfrm>
            <a:off x="6393845" y="2158615"/>
            <a:ext cx="812885" cy="792561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146" name="Oval 13"/>
          <p:cNvSpPr>
            <a:spLocks noChangeAspect="1"/>
          </p:cNvSpPr>
          <p:nvPr/>
        </p:nvSpPr>
        <p:spPr>
          <a:xfrm>
            <a:off x="7767318" y="2158615"/>
            <a:ext cx="812885" cy="792561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148" name="Straight Connector 112"/>
          <p:cNvSpPr/>
          <p:nvPr/>
        </p:nvSpPr>
        <p:spPr>
          <a:xfrm flipH="1">
            <a:off x="4814820" y="2523522"/>
            <a:ext cx="144000" cy="272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49" name="Straight Connector 112"/>
          <p:cNvSpPr/>
          <p:nvPr/>
        </p:nvSpPr>
        <p:spPr>
          <a:xfrm flipH="1" flipV="1">
            <a:off x="5861627" y="2515480"/>
            <a:ext cx="507536" cy="0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50" name="Straight Connector 112"/>
          <p:cNvSpPr/>
          <p:nvPr/>
        </p:nvSpPr>
        <p:spPr>
          <a:xfrm flipH="1">
            <a:off x="7251817" y="2523520"/>
            <a:ext cx="475066" cy="1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51" name="Straight Connector 112"/>
          <p:cNvSpPr/>
          <p:nvPr/>
        </p:nvSpPr>
        <p:spPr>
          <a:xfrm flipH="1">
            <a:off x="8626649" y="2523248"/>
            <a:ext cx="144000" cy="272"/>
          </a:xfrm>
          <a:prstGeom prst="line">
            <a:avLst/>
          </a:prstGeom>
          <a:ln w="25400">
            <a:solidFill>
              <a:srgbClr val="F2F2F2">
                <a:alpha val="25000"/>
              </a:srgb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pic>
        <p:nvPicPr>
          <p:cNvPr id="152" name="Image 15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207905" y="2225385"/>
            <a:ext cx="186267" cy="419100"/>
          </a:xfrm>
          <a:prstGeom prst="rect">
            <a:avLst/>
          </a:prstGeom>
        </p:spPr>
      </p:pic>
      <p:pic>
        <p:nvPicPr>
          <p:cNvPr id="153" name="Image 15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383424" y="2363646"/>
            <a:ext cx="186267" cy="419100"/>
          </a:xfrm>
          <a:prstGeom prst="rect">
            <a:avLst/>
          </a:prstGeom>
        </p:spPr>
      </p:pic>
      <p:pic>
        <p:nvPicPr>
          <p:cNvPr id="154" name="Image 15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566198" y="2305930"/>
            <a:ext cx="186267" cy="419100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5133104" y="2748634"/>
            <a:ext cx="66075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700" i="1" dirty="0" smtClean="0">
                <a:solidFill>
                  <a:srgbClr val="FFFFFF"/>
                </a:solidFill>
                <a:latin typeface="Trebuchet MS"/>
              </a:rPr>
              <a:t>Per </a:t>
            </a:r>
            <a:r>
              <a:rPr lang="fr-FR" sz="700" i="1" dirty="0" err="1" smtClean="0">
                <a:solidFill>
                  <a:srgbClr val="FFFFFF"/>
                </a:solidFill>
                <a:latin typeface="Trebuchet MS"/>
              </a:rPr>
              <a:t>advisor</a:t>
            </a:r>
            <a:r>
              <a:rPr lang="fr-FR" sz="700" i="1" dirty="0" smtClean="0">
                <a:solidFill>
                  <a:srgbClr val="FFFFFF"/>
                </a:solidFill>
                <a:latin typeface="Trebuchet MS"/>
              </a:rPr>
              <a:t> </a:t>
            </a:r>
            <a:endParaRPr lang="fr-FR" sz="700" dirty="0"/>
          </a:p>
        </p:txBody>
      </p:sp>
      <p:sp>
        <p:nvSpPr>
          <p:cNvPr id="168" name="Freeform 48"/>
          <p:cNvSpPr/>
          <p:nvPr/>
        </p:nvSpPr>
        <p:spPr>
          <a:xfrm>
            <a:off x="6565435" y="2272194"/>
            <a:ext cx="267934" cy="2827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326" y="0"/>
                </a:moveTo>
                <a:cubicBezTo>
                  <a:pt x="5274" y="0"/>
                  <a:pt x="5274" y="0"/>
                  <a:pt x="5274" y="0"/>
                </a:cubicBezTo>
                <a:cubicBezTo>
                  <a:pt x="5045" y="0"/>
                  <a:pt x="4769" y="0"/>
                  <a:pt x="4540" y="37"/>
                </a:cubicBezTo>
                <a:cubicBezTo>
                  <a:pt x="5320" y="514"/>
                  <a:pt x="5778" y="1249"/>
                  <a:pt x="5778" y="2094"/>
                </a:cubicBezTo>
                <a:cubicBezTo>
                  <a:pt x="5778" y="3527"/>
                  <a:pt x="4311" y="4702"/>
                  <a:pt x="2522" y="4702"/>
                </a:cubicBezTo>
                <a:cubicBezTo>
                  <a:pt x="1513" y="4702"/>
                  <a:pt x="596" y="4371"/>
                  <a:pt x="0" y="3784"/>
                </a:cubicBezTo>
                <a:cubicBezTo>
                  <a:pt x="0" y="3931"/>
                  <a:pt x="0" y="4078"/>
                  <a:pt x="0" y="4224"/>
                </a:cubicBezTo>
                <a:cubicBezTo>
                  <a:pt x="0" y="17376"/>
                  <a:pt x="0" y="17376"/>
                  <a:pt x="0" y="17376"/>
                </a:cubicBezTo>
                <a:cubicBezTo>
                  <a:pt x="0" y="19690"/>
                  <a:pt x="2339" y="21600"/>
                  <a:pt x="5274" y="21600"/>
                </a:cubicBezTo>
                <a:cubicBezTo>
                  <a:pt x="16326" y="21600"/>
                  <a:pt x="16326" y="21600"/>
                  <a:pt x="16326" y="21600"/>
                </a:cubicBezTo>
                <a:cubicBezTo>
                  <a:pt x="19215" y="21600"/>
                  <a:pt x="21600" y="19690"/>
                  <a:pt x="21600" y="17376"/>
                </a:cubicBezTo>
                <a:cubicBezTo>
                  <a:pt x="21600" y="4224"/>
                  <a:pt x="21600" y="4224"/>
                  <a:pt x="21600" y="4224"/>
                </a:cubicBezTo>
                <a:cubicBezTo>
                  <a:pt x="21600" y="1910"/>
                  <a:pt x="19215" y="0"/>
                  <a:pt x="16326" y="0"/>
                </a:cubicBezTo>
                <a:close/>
                <a:moveTo>
                  <a:pt x="2385" y="3049"/>
                </a:moveTo>
                <a:cubicBezTo>
                  <a:pt x="3073" y="3049"/>
                  <a:pt x="3623" y="2608"/>
                  <a:pt x="3623" y="2057"/>
                </a:cubicBezTo>
                <a:cubicBezTo>
                  <a:pt x="3623" y="1506"/>
                  <a:pt x="3073" y="1029"/>
                  <a:pt x="2385" y="1029"/>
                </a:cubicBezTo>
                <a:cubicBezTo>
                  <a:pt x="1651" y="1029"/>
                  <a:pt x="1101" y="1506"/>
                  <a:pt x="1101" y="2057"/>
                </a:cubicBezTo>
                <a:cubicBezTo>
                  <a:pt x="1101" y="2608"/>
                  <a:pt x="1651" y="3049"/>
                  <a:pt x="2385" y="3049"/>
                </a:cubicBezTo>
                <a:close/>
                <a:moveTo>
                  <a:pt x="18023" y="6429"/>
                </a:moveTo>
                <a:cubicBezTo>
                  <a:pt x="18023" y="7053"/>
                  <a:pt x="17473" y="7567"/>
                  <a:pt x="16831" y="7567"/>
                </a:cubicBezTo>
                <a:cubicBezTo>
                  <a:pt x="9310" y="7567"/>
                  <a:pt x="9310" y="7567"/>
                  <a:pt x="9310" y="7567"/>
                </a:cubicBezTo>
                <a:cubicBezTo>
                  <a:pt x="8668" y="7567"/>
                  <a:pt x="8117" y="7053"/>
                  <a:pt x="8117" y="6429"/>
                </a:cubicBezTo>
                <a:cubicBezTo>
                  <a:pt x="8117" y="3967"/>
                  <a:pt x="8117" y="3967"/>
                  <a:pt x="8117" y="3967"/>
                </a:cubicBezTo>
                <a:cubicBezTo>
                  <a:pt x="8117" y="3343"/>
                  <a:pt x="8668" y="2829"/>
                  <a:pt x="9310" y="2829"/>
                </a:cubicBezTo>
                <a:cubicBezTo>
                  <a:pt x="16831" y="2829"/>
                  <a:pt x="16831" y="2829"/>
                  <a:pt x="16831" y="2829"/>
                </a:cubicBezTo>
                <a:cubicBezTo>
                  <a:pt x="17473" y="2829"/>
                  <a:pt x="18023" y="3343"/>
                  <a:pt x="18023" y="3967"/>
                </a:cubicBezTo>
                <a:lnTo>
                  <a:pt x="18023" y="6429"/>
                </a:lnTo>
                <a:close/>
                <a:moveTo>
                  <a:pt x="1330" y="17449"/>
                </a:moveTo>
                <a:cubicBezTo>
                  <a:pt x="1330" y="7678"/>
                  <a:pt x="1330" y="7678"/>
                  <a:pt x="1330" y="7678"/>
                </a:cubicBezTo>
                <a:cubicBezTo>
                  <a:pt x="1330" y="6612"/>
                  <a:pt x="2431" y="5731"/>
                  <a:pt x="3761" y="5731"/>
                </a:cubicBezTo>
                <a:cubicBezTo>
                  <a:pt x="3761" y="5731"/>
                  <a:pt x="3761" y="5731"/>
                  <a:pt x="3761" y="5731"/>
                </a:cubicBezTo>
                <a:cubicBezTo>
                  <a:pt x="4311" y="5731"/>
                  <a:pt x="4311" y="5731"/>
                  <a:pt x="4311" y="5731"/>
                </a:cubicBezTo>
                <a:cubicBezTo>
                  <a:pt x="5641" y="5731"/>
                  <a:pt x="6741" y="6612"/>
                  <a:pt x="6741" y="7678"/>
                </a:cubicBezTo>
                <a:cubicBezTo>
                  <a:pt x="6741" y="7678"/>
                  <a:pt x="6741" y="7678"/>
                  <a:pt x="6741" y="7678"/>
                </a:cubicBezTo>
                <a:cubicBezTo>
                  <a:pt x="6741" y="17449"/>
                  <a:pt x="6741" y="17449"/>
                  <a:pt x="6741" y="17449"/>
                </a:cubicBezTo>
                <a:cubicBezTo>
                  <a:pt x="6741" y="18514"/>
                  <a:pt x="5641" y="19396"/>
                  <a:pt x="4311" y="19396"/>
                </a:cubicBezTo>
                <a:cubicBezTo>
                  <a:pt x="4311" y="19396"/>
                  <a:pt x="4311" y="19396"/>
                  <a:pt x="4311" y="19396"/>
                </a:cubicBezTo>
                <a:cubicBezTo>
                  <a:pt x="3761" y="19396"/>
                  <a:pt x="3761" y="19396"/>
                  <a:pt x="3761" y="19396"/>
                </a:cubicBezTo>
                <a:cubicBezTo>
                  <a:pt x="2431" y="19396"/>
                  <a:pt x="1330" y="18514"/>
                  <a:pt x="1330" y="17449"/>
                </a:cubicBezTo>
                <a:close/>
                <a:moveTo>
                  <a:pt x="3761" y="6465"/>
                </a:moveTo>
                <a:cubicBezTo>
                  <a:pt x="2935" y="6465"/>
                  <a:pt x="2247" y="7016"/>
                  <a:pt x="2247" y="7678"/>
                </a:cubicBezTo>
                <a:cubicBezTo>
                  <a:pt x="2247" y="7678"/>
                  <a:pt x="2247" y="7678"/>
                  <a:pt x="2247" y="7678"/>
                </a:cubicBezTo>
                <a:cubicBezTo>
                  <a:pt x="2247" y="17449"/>
                  <a:pt x="2247" y="17449"/>
                  <a:pt x="2247" y="17449"/>
                </a:cubicBezTo>
                <a:cubicBezTo>
                  <a:pt x="2247" y="18110"/>
                  <a:pt x="2935" y="18661"/>
                  <a:pt x="3761" y="18661"/>
                </a:cubicBezTo>
                <a:cubicBezTo>
                  <a:pt x="3761" y="18661"/>
                  <a:pt x="3761" y="18661"/>
                  <a:pt x="3761" y="18661"/>
                </a:cubicBezTo>
                <a:cubicBezTo>
                  <a:pt x="4311" y="18661"/>
                  <a:pt x="4311" y="18661"/>
                  <a:pt x="4311" y="18661"/>
                </a:cubicBezTo>
                <a:cubicBezTo>
                  <a:pt x="5136" y="18661"/>
                  <a:pt x="5824" y="18110"/>
                  <a:pt x="5824" y="17449"/>
                </a:cubicBezTo>
                <a:cubicBezTo>
                  <a:pt x="5824" y="17449"/>
                  <a:pt x="5824" y="17449"/>
                  <a:pt x="5824" y="17449"/>
                </a:cubicBezTo>
                <a:cubicBezTo>
                  <a:pt x="5824" y="7678"/>
                  <a:pt x="5824" y="7678"/>
                  <a:pt x="5824" y="7678"/>
                </a:cubicBezTo>
                <a:cubicBezTo>
                  <a:pt x="5824" y="7016"/>
                  <a:pt x="5136" y="6465"/>
                  <a:pt x="4311" y="6465"/>
                </a:cubicBezTo>
                <a:cubicBezTo>
                  <a:pt x="4311" y="6465"/>
                  <a:pt x="4311" y="6465"/>
                  <a:pt x="4311" y="6465"/>
                </a:cubicBezTo>
                <a:cubicBezTo>
                  <a:pt x="3761" y="6465"/>
                  <a:pt x="3761" y="6465"/>
                  <a:pt x="3761" y="6465"/>
                </a:cubicBezTo>
                <a:close/>
                <a:moveTo>
                  <a:pt x="11098" y="16861"/>
                </a:moveTo>
                <a:cubicBezTo>
                  <a:pt x="8851" y="16861"/>
                  <a:pt x="8851" y="16861"/>
                  <a:pt x="8851" y="16861"/>
                </a:cubicBezTo>
                <a:cubicBezTo>
                  <a:pt x="8851" y="15392"/>
                  <a:pt x="8851" y="15392"/>
                  <a:pt x="8851" y="15392"/>
                </a:cubicBezTo>
                <a:cubicBezTo>
                  <a:pt x="11098" y="15392"/>
                  <a:pt x="11098" y="15392"/>
                  <a:pt x="11098" y="15392"/>
                </a:cubicBezTo>
                <a:lnTo>
                  <a:pt x="11098" y="16861"/>
                </a:lnTo>
                <a:close/>
                <a:moveTo>
                  <a:pt x="14262" y="16861"/>
                </a:moveTo>
                <a:cubicBezTo>
                  <a:pt x="11969" y="16861"/>
                  <a:pt x="11969" y="16861"/>
                  <a:pt x="11969" y="16861"/>
                </a:cubicBezTo>
                <a:cubicBezTo>
                  <a:pt x="11969" y="15392"/>
                  <a:pt x="11969" y="15392"/>
                  <a:pt x="11969" y="15392"/>
                </a:cubicBezTo>
                <a:cubicBezTo>
                  <a:pt x="14262" y="15392"/>
                  <a:pt x="14262" y="15392"/>
                  <a:pt x="14262" y="15392"/>
                </a:cubicBezTo>
                <a:lnTo>
                  <a:pt x="14262" y="16861"/>
                </a:lnTo>
                <a:close/>
                <a:moveTo>
                  <a:pt x="17381" y="16861"/>
                </a:moveTo>
                <a:cubicBezTo>
                  <a:pt x="15134" y="16861"/>
                  <a:pt x="15134" y="16861"/>
                  <a:pt x="15134" y="16861"/>
                </a:cubicBezTo>
                <a:cubicBezTo>
                  <a:pt x="15134" y="15392"/>
                  <a:pt x="15134" y="15392"/>
                  <a:pt x="15134" y="15392"/>
                </a:cubicBezTo>
                <a:cubicBezTo>
                  <a:pt x="17381" y="15392"/>
                  <a:pt x="17381" y="15392"/>
                  <a:pt x="17381" y="15392"/>
                </a:cubicBezTo>
                <a:lnTo>
                  <a:pt x="17381" y="16861"/>
                </a:lnTo>
                <a:close/>
                <a:moveTo>
                  <a:pt x="11098" y="14657"/>
                </a:moveTo>
                <a:cubicBezTo>
                  <a:pt x="8851" y="14657"/>
                  <a:pt x="8851" y="14657"/>
                  <a:pt x="8851" y="14657"/>
                </a:cubicBezTo>
                <a:cubicBezTo>
                  <a:pt x="8851" y="13188"/>
                  <a:pt x="8851" y="13188"/>
                  <a:pt x="8851" y="13188"/>
                </a:cubicBezTo>
                <a:cubicBezTo>
                  <a:pt x="11098" y="13188"/>
                  <a:pt x="11098" y="13188"/>
                  <a:pt x="11098" y="13188"/>
                </a:cubicBezTo>
                <a:lnTo>
                  <a:pt x="11098" y="14657"/>
                </a:lnTo>
                <a:close/>
                <a:moveTo>
                  <a:pt x="14262" y="14657"/>
                </a:moveTo>
                <a:cubicBezTo>
                  <a:pt x="11969" y="14657"/>
                  <a:pt x="11969" y="14657"/>
                  <a:pt x="11969" y="14657"/>
                </a:cubicBezTo>
                <a:cubicBezTo>
                  <a:pt x="11969" y="13188"/>
                  <a:pt x="11969" y="13188"/>
                  <a:pt x="11969" y="13188"/>
                </a:cubicBezTo>
                <a:cubicBezTo>
                  <a:pt x="14262" y="13188"/>
                  <a:pt x="14262" y="13188"/>
                  <a:pt x="14262" y="13188"/>
                </a:cubicBezTo>
                <a:lnTo>
                  <a:pt x="14262" y="14657"/>
                </a:lnTo>
                <a:close/>
                <a:moveTo>
                  <a:pt x="17381" y="14657"/>
                </a:moveTo>
                <a:cubicBezTo>
                  <a:pt x="15134" y="14657"/>
                  <a:pt x="15134" y="14657"/>
                  <a:pt x="15134" y="14657"/>
                </a:cubicBezTo>
                <a:cubicBezTo>
                  <a:pt x="15134" y="13188"/>
                  <a:pt x="15134" y="13188"/>
                  <a:pt x="15134" y="13188"/>
                </a:cubicBezTo>
                <a:cubicBezTo>
                  <a:pt x="17381" y="13188"/>
                  <a:pt x="17381" y="13188"/>
                  <a:pt x="17381" y="13188"/>
                </a:cubicBezTo>
                <a:lnTo>
                  <a:pt x="17381" y="14657"/>
                </a:lnTo>
                <a:close/>
                <a:moveTo>
                  <a:pt x="11098" y="12490"/>
                </a:moveTo>
                <a:cubicBezTo>
                  <a:pt x="8851" y="12490"/>
                  <a:pt x="8851" y="12490"/>
                  <a:pt x="8851" y="12490"/>
                </a:cubicBezTo>
                <a:cubicBezTo>
                  <a:pt x="8851" y="11020"/>
                  <a:pt x="8851" y="11020"/>
                  <a:pt x="8851" y="11020"/>
                </a:cubicBezTo>
                <a:cubicBezTo>
                  <a:pt x="11098" y="11020"/>
                  <a:pt x="11098" y="11020"/>
                  <a:pt x="11098" y="11020"/>
                </a:cubicBezTo>
                <a:lnTo>
                  <a:pt x="11098" y="12490"/>
                </a:lnTo>
                <a:close/>
                <a:moveTo>
                  <a:pt x="14262" y="12490"/>
                </a:moveTo>
                <a:cubicBezTo>
                  <a:pt x="11969" y="12490"/>
                  <a:pt x="11969" y="12490"/>
                  <a:pt x="11969" y="12490"/>
                </a:cubicBezTo>
                <a:cubicBezTo>
                  <a:pt x="11969" y="11020"/>
                  <a:pt x="11969" y="11020"/>
                  <a:pt x="11969" y="11020"/>
                </a:cubicBezTo>
                <a:cubicBezTo>
                  <a:pt x="14262" y="11020"/>
                  <a:pt x="14262" y="11020"/>
                  <a:pt x="14262" y="11020"/>
                </a:cubicBezTo>
                <a:lnTo>
                  <a:pt x="14262" y="12490"/>
                </a:lnTo>
                <a:close/>
                <a:moveTo>
                  <a:pt x="17381" y="12490"/>
                </a:moveTo>
                <a:cubicBezTo>
                  <a:pt x="15134" y="12490"/>
                  <a:pt x="15134" y="12490"/>
                  <a:pt x="15134" y="12490"/>
                </a:cubicBezTo>
                <a:cubicBezTo>
                  <a:pt x="15134" y="11020"/>
                  <a:pt x="15134" y="11020"/>
                  <a:pt x="15134" y="11020"/>
                </a:cubicBezTo>
                <a:cubicBezTo>
                  <a:pt x="17381" y="11020"/>
                  <a:pt x="17381" y="11020"/>
                  <a:pt x="17381" y="11020"/>
                </a:cubicBezTo>
                <a:lnTo>
                  <a:pt x="17381" y="12490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21919" tIns="121919" rIns="121919" bIns="121919">
            <a:normAutofit fontScale="25000" lnSpcReduction="20000"/>
          </a:bodyPr>
          <a:lstStyle/>
          <a:p>
            <a:pPr>
              <a:spcBef>
                <a:spcPts val="0"/>
              </a:spcBef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173" name="Freeform 48"/>
          <p:cNvSpPr/>
          <p:nvPr/>
        </p:nvSpPr>
        <p:spPr>
          <a:xfrm>
            <a:off x="6873804" y="2424889"/>
            <a:ext cx="267934" cy="2827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326" y="0"/>
                </a:moveTo>
                <a:cubicBezTo>
                  <a:pt x="5274" y="0"/>
                  <a:pt x="5274" y="0"/>
                  <a:pt x="5274" y="0"/>
                </a:cubicBezTo>
                <a:cubicBezTo>
                  <a:pt x="5045" y="0"/>
                  <a:pt x="4769" y="0"/>
                  <a:pt x="4540" y="37"/>
                </a:cubicBezTo>
                <a:cubicBezTo>
                  <a:pt x="5320" y="514"/>
                  <a:pt x="5778" y="1249"/>
                  <a:pt x="5778" y="2094"/>
                </a:cubicBezTo>
                <a:cubicBezTo>
                  <a:pt x="5778" y="3527"/>
                  <a:pt x="4311" y="4702"/>
                  <a:pt x="2522" y="4702"/>
                </a:cubicBezTo>
                <a:cubicBezTo>
                  <a:pt x="1513" y="4702"/>
                  <a:pt x="596" y="4371"/>
                  <a:pt x="0" y="3784"/>
                </a:cubicBezTo>
                <a:cubicBezTo>
                  <a:pt x="0" y="3931"/>
                  <a:pt x="0" y="4078"/>
                  <a:pt x="0" y="4224"/>
                </a:cubicBezTo>
                <a:cubicBezTo>
                  <a:pt x="0" y="17376"/>
                  <a:pt x="0" y="17376"/>
                  <a:pt x="0" y="17376"/>
                </a:cubicBezTo>
                <a:cubicBezTo>
                  <a:pt x="0" y="19690"/>
                  <a:pt x="2339" y="21600"/>
                  <a:pt x="5274" y="21600"/>
                </a:cubicBezTo>
                <a:cubicBezTo>
                  <a:pt x="16326" y="21600"/>
                  <a:pt x="16326" y="21600"/>
                  <a:pt x="16326" y="21600"/>
                </a:cubicBezTo>
                <a:cubicBezTo>
                  <a:pt x="19215" y="21600"/>
                  <a:pt x="21600" y="19690"/>
                  <a:pt x="21600" y="17376"/>
                </a:cubicBezTo>
                <a:cubicBezTo>
                  <a:pt x="21600" y="4224"/>
                  <a:pt x="21600" y="4224"/>
                  <a:pt x="21600" y="4224"/>
                </a:cubicBezTo>
                <a:cubicBezTo>
                  <a:pt x="21600" y="1910"/>
                  <a:pt x="19215" y="0"/>
                  <a:pt x="16326" y="0"/>
                </a:cubicBezTo>
                <a:close/>
                <a:moveTo>
                  <a:pt x="2385" y="3049"/>
                </a:moveTo>
                <a:cubicBezTo>
                  <a:pt x="3073" y="3049"/>
                  <a:pt x="3623" y="2608"/>
                  <a:pt x="3623" y="2057"/>
                </a:cubicBezTo>
                <a:cubicBezTo>
                  <a:pt x="3623" y="1506"/>
                  <a:pt x="3073" y="1029"/>
                  <a:pt x="2385" y="1029"/>
                </a:cubicBezTo>
                <a:cubicBezTo>
                  <a:pt x="1651" y="1029"/>
                  <a:pt x="1101" y="1506"/>
                  <a:pt x="1101" y="2057"/>
                </a:cubicBezTo>
                <a:cubicBezTo>
                  <a:pt x="1101" y="2608"/>
                  <a:pt x="1651" y="3049"/>
                  <a:pt x="2385" y="3049"/>
                </a:cubicBezTo>
                <a:close/>
                <a:moveTo>
                  <a:pt x="18023" y="6429"/>
                </a:moveTo>
                <a:cubicBezTo>
                  <a:pt x="18023" y="7053"/>
                  <a:pt x="17473" y="7567"/>
                  <a:pt x="16831" y="7567"/>
                </a:cubicBezTo>
                <a:cubicBezTo>
                  <a:pt x="9310" y="7567"/>
                  <a:pt x="9310" y="7567"/>
                  <a:pt x="9310" y="7567"/>
                </a:cubicBezTo>
                <a:cubicBezTo>
                  <a:pt x="8668" y="7567"/>
                  <a:pt x="8117" y="7053"/>
                  <a:pt x="8117" y="6429"/>
                </a:cubicBezTo>
                <a:cubicBezTo>
                  <a:pt x="8117" y="3967"/>
                  <a:pt x="8117" y="3967"/>
                  <a:pt x="8117" y="3967"/>
                </a:cubicBezTo>
                <a:cubicBezTo>
                  <a:pt x="8117" y="3343"/>
                  <a:pt x="8668" y="2829"/>
                  <a:pt x="9310" y="2829"/>
                </a:cubicBezTo>
                <a:cubicBezTo>
                  <a:pt x="16831" y="2829"/>
                  <a:pt x="16831" y="2829"/>
                  <a:pt x="16831" y="2829"/>
                </a:cubicBezTo>
                <a:cubicBezTo>
                  <a:pt x="17473" y="2829"/>
                  <a:pt x="18023" y="3343"/>
                  <a:pt x="18023" y="3967"/>
                </a:cubicBezTo>
                <a:lnTo>
                  <a:pt x="18023" y="6429"/>
                </a:lnTo>
                <a:close/>
                <a:moveTo>
                  <a:pt x="1330" y="17449"/>
                </a:moveTo>
                <a:cubicBezTo>
                  <a:pt x="1330" y="7678"/>
                  <a:pt x="1330" y="7678"/>
                  <a:pt x="1330" y="7678"/>
                </a:cubicBezTo>
                <a:cubicBezTo>
                  <a:pt x="1330" y="6612"/>
                  <a:pt x="2431" y="5731"/>
                  <a:pt x="3761" y="5731"/>
                </a:cubicBezTo>
                <a:cubicBezTo>
                  <a:pt x="3761" y="5731"/>
                  <a:pt x="3761" y="5731"/>
                  <a:pt x="3761" y="5731"/>
                </a:cubicBezTo>
                <a:cubicBezTo>
                  <a:pt x="4311" y="5731"/>
                  <a:pt x="4311" y="5731"/>
                  <a:pt x="4311" y="5731"/>
                </a:cubicBezTo>
                <a:cubicBezTo>
                  <a:pt x="5641" y="5731"/>
                  <a:pt x="6741" y="6612"/>
                  <a:pt x="6741" y="7678"/>
                </a:cubicBezTo>
                <a:cubicBezTo>
                  <a:pt x="6741" y="7678"/>
                  <a:pt x="6741" y="7678"/>
                  <a:pt x="6741" y="7678"/>
                </a:cubicBezTo>
                <a:cubicBezTo>
                  <a:pt x="6741" y="17449"/>
                  <a:pt x="6741" y="17449"/>
                  <a:pt x="6741" y="17449"/>
                </a:cubicBezTo>
                <a:cubicBezTo>
                  <a:pt x="6741" y="18514"/>
                  <a:pt x="5641" y="19396"/>
                  <a:pt x="4311" y="19396"/>
                </a:cubicBezTo>
                <a:cubicBezTo>
                  <a:pt x="4311" y="19396"/>
                  <a:pt x="4311" y="19396"/>
                  <a:pt x="4311" y="19396"/>
                </a:cubicBezTo>
                <a:cubicBezTo>
                  <a:pt x="3761" y="19396"/>
                  <a:pt x="3761" y="19396"/>
                  <a:pt x="3761" y="19396"/>
                </a:cubicBezTo>
                <a:cubicBezTo>
                  <a:pt x="2431" y="19396"/>
                  <a:pt x="1330" y="18514"/>
                  <a:pt x="1330" y="17449"/>
                </a:cubicBezTo>
                <a:close/>
                <a:moveTo>
                  <a:pt x="3761" y="6465"/>
                </a:moveTo>
                <a:cubicBezTo>
                  <a:pt x="2935" y="6465"/>
                  <a:pt x="2247" y="7016"/>
                  <a:pt x="2247" y="7678"/>
                </a:cubicBezTo>
                <a:cubicBezTo>
                  <a:pt x="2247" y="7678"/>
                  <a:pt x="2247" y="7678"/>
                  <a:pt x="2247" y="7678"/>
                </a:cubicBezTo>
                <a:cubicBezTo>
                  <a:pt x="2247" y="17449"/>
                  <a:pt x="2247" y="17449"/>
                  <a:pt x="2247" y="17449"/>
                </a:cubicBezTo>
                <a:cubicBezTo>
                  <a:pt x="2247" y="18110"/>
                  <a:pt x="2935" y="18661"/>
                  <a:pt x="3761" y="18661"/>
                </a:cubicBezTo>
                <a:cubicBezTo>
                  <a:pt x="3761" y="18661"/>
                  <a:pt x="3761" y="18661"/>
                  <a:pt x="3761" y="18661"/>
                </a:cubicBezTo>
                <a:cubicBezTo>
                  <a:pt x="4311" y="18661"/>
                  <a:pt x="4311" y="18661"/>
                  <a:pt x="4311" y="18661"/>
                </a:cubicBezTo>
                <a:cubicBezTo>
                  <a:pt x="5136" y="18661"/>
                  <a:pt x="5824" y="18110"/>
                  <a:pt x="5824" y="17449"/>
                </a:cubicBezTo>
                <a:cubicBezTo>
                  <a:pt x="5824" y="17449"/>
                  <a:pt x="5824" y="17449"/>
                  <a:pt x="5824" y="17449"/>
                </a:cubicBezTo>
                <a:cubicBezTo>
                  <a:pt x="5824" y="7678"/>
                  <a:pt x="5824" y="7678"/>
                  <a:pt x="5824" y="7678"/>
                </a:cubicBezTo>
                <a:cubicBezTo>
                  <a:pt x="5824" y="7016"/>
                  <a:pt x="5136" y="6465"/>
                  <a:pt x="4311" y="6465"/>
                </a:cubicBezTo>
                <a:cubicBezTo>
                  <a:pt x="4311" y="6465"/>
                  <a:pt x="4311" y="6465"/>
                  <a:pt x="4311" y="6465"/>
                </a:cubicBezTo>
                <a:cubicBezTo>
                  <a:pt x="3761" y="6465"/>
                  <a:pt x="3761" y="6465"/>
                  <a:pt x="3761" y="6465"/>
                </a:cubicBezTo>
                <a:close/>
                <a:moveTo>
                  <a:pt x="11098" y="16861"/>
                </a:moveTo>
                <a:cubicBezTo>
                  <a:pt x="8851" y="16861"/>
                  <a:pt x="8851" y="16861"/>
                  <a:pt x="8851" y="16861"/>
                </a:cubicBezTo>
                <a:cubicBezTo>
                  <a:pt x="8851" y="15392"/>
                  <a:pt x="8851" y="15392"/>
                  <a:pt x="8851" y="15392"/>
                </a:cubicBezTo>
                <a:cubicBezTo>
                  <a:pt x="11098" y="15392"/>
                  <a:pt x="11098" y="15392"/>
                  <a:pt x="11098" y="15392"/>
                </a:cubicBezTo>
                <a:lnTo>
                  <a:pt x="11098" y="16861"/>
                </a:lnTo>
                <a:close/>
                <a:moveTo>
                  <a:pt x="14262" y="16861"/>
                </a:moveTo>
                <a:cubicBezTo>
                  <a:pt x="11969" y="16861"/>
                  <a:pt x="11969" y="16861"/>
                  <a:pt x="11969" y="16861"/>
                </a:cubicBezTo>
                <a:cubicBezTo>
                  <a:pt x="11969" y="15392"/>
                  <a:pt x="11969" y="15392"/>
                  <a:pt x="11969" y="15392"/>
                </a:cubicBezTo>
                <a:cubicBezTo>
                  <a:pt x="14262" y="15392"/>
                  <a:pt x="14262" y="15392"/>
                  <a:pt x="14262" y="15392"/>
                </a:cubicBezTo>
                <a:lnTo>
                  <a:pt x="14262" y="16861"/>
                </a:lnTo>
                <a:close/>
                <a:moveTo>
                  <a:pt x="17381" y="16861"/>
                </a:moveTo>
                <a:cubicBezTo>
                  <a:pt x="15134" y="16861"/>
                  <a:pt x="15134" y="16861"/>
                  <a:pt x="15134" y="16861"/>
                </a:cubicBezTo>
                <a:cubicBezTo>
                  <a:pt x="15134" y="15392"/>
                  <a:pt x="15134" y="15392"/>
                  <a:pt x="15134" y="15392"/>
                </a:cubicBezTo>
                <a:cubicBezTo>
                  <a:pt x="17381" y="15392"/>
                  <a:pt x="17381" y="15392"/>
                  <a:pt x="17381" y="15392"/>
                </a:cubicBezTo>
                <a:lnTo>
                  <a:pt x="17381" y="16861"/>
                </a:lnTo>
                <a:close/>
                <a:moveTo>
                  <a:pt x="11098" y="14657"/>
                </a:moveTo>
                <a:cubicBezTo>
                  <a:pt x="8851" y="14657"/>
                  <a:pt x="8851" y="14657"/>
                  <a:pt x="8851" y="14657"/>
                </a:cubicBezTo>
                <a:cubicBezTo>
                  <a:pt x="8851" y="13188"/>
                  <a:pt x="8851" y="13188"/>
                  <a:pt x="8851" y="13188"/>
                </a:cubicBezTo>
                <a:cubicBezTo>
                  <a:pt x="11098" y="13188"/>
                  <a:pt x="11098" y="13188"/>
                  <a:pt x="11098" y="13188"/>
                </a:cubicBezTo>
                <a:lnTo>
                  <a:pt x="11098" y="14657"/>
                </a:lnTo>
                <a:close/>
                <a:moveTo>
                  <a:pt x="14262" y="14657"/>
                </a:moveTo>
                <a:cubicBezTo>
                  <a:pt x="11969" y="14657"/>
                  <a:pt x="11969" y="14657"/>
                  <a:pt x="11969" y="14657"/>
                </a:cubicBezTo>
                <a:cubicBezTo>
                  <a:pt x="11969" y="13188"/>
                  <a:pt x="11969" y="13188"/>
                  <a:pt x="11969" y="13188"/>
                </a:cubicBezTo>
                <a:cubicBezTo>
                  <a:pt x="14262" y="13188"/>
                  <a:pt x="14262" y="13188"/>
                  <a:pt x="14262" y="13188"/>
                </a:cubicBezTo>
                <a:lnTo>
                  <a:pt x="14262" y="14657"/>
                </a:lnTo>
                <a:close/>
                <a:moveTo>
                  <a:pt x="17381" y="14657"/>
                </a:moveTo>
                <a:cubicBezTo>
                  <a:pt x="15134" y="14657"/>
                  <a:pt x="15134" y="14657"/>
                  <a:pt x="15134" y="14657"/>
                </a:cubicBezTo>
                <a:cubicBezTo>
                  <a:pt x="15134" y="13188"/>
                  <a:pt x="15134" y="13188"/>
                  <a:pt x="15134" y="13188"/>
                </a:cubicBezTo>
                <a:cubicBezTo>
                  <a:pt x="17381" y="13188"/>
                  <a:pt x="17381" y="13188"/>
                  <a:pt x="17381" y="13188"/>
                </a:cubicBezTo>
                <a:lnTo>
                  <a:pt x="17381" y="14657"/>
                </a:lnTo>
                <a:close/>
                <a:moveTo>
                  <a:pt x="11098" y="12490"/>
                </a:moveTo>
                <a:cubicBezTo>
                  <a:pt x="8851" y="12490"/>
                  <a:pt x="8851" y="12490"/>
                  <a:pt x="8851" y="12490"/>
                </a:cubicBezTo>
                <a:cubicBezTo>
                  <a:pt x="8851" y="11020"/>
                  <a:pt x="8851" y="11020"/>
                  <a:pt x="8851" y="11020"/>
                </a:cubicBezTo>
                <a:cubicBezTo>
                  <a:pt x="11098" y="11020"/>
                  <a:pt x="11098" y="11020"/>
                  <a:pt x="11098" y="11020"/>
                </a:cubicBezTo>
                <a:lnTo>
                  <a:pt x="11098" y="12490"/>
                </a:lnTo>
                <a:close/>
                <a:moveTo>
                  <a:pt x="14262" y="12490"/>
                </a:moveTo>
                <a:cubicBezTo>
                  <a:pt x="11969" y="12490"/>
                  <a:pt x="11969" y="12490"/>
                  <a:pt x="11969" y="12490"/>
                </a:cubicBezTo>
                <a:cubicBezTo>
                  <a:pt x="11969" y="11020"/>
                  <a:pt x="11969" y="11020"/>
                  <a:pt x="11969" y="11020"/>
                </a:cubicBezTo>
                <a:cubicBezTo>
                  <a:pt x="14262" y="11020"/>
                  <a:pt x="14262" y="11020"/>
                  <a:pt x="14262" y="11020"/>
                </a:cubicBezTo>
                <a:lnTo>
                  <a:pt x="14262" y="12490"/>
                </a:lnTo>
                <a:close/>
                <a:moveTo>
                  <a:pt x="17381" y="12490"/>
                </a:moveTo>
                <a:cubicBezTo>
                  <a:pt x="15134" y="12490"/>
                  <a:pt x="15134" y="12490"/>
                  <a:pt x="15134" y="12490"/>
                </a:cubicBezTo>
                <a:cubicBezTo>
                  <a:pt x="15134" y="11020"/>
                  <a:pt x="15134" y="11020"/>
                  <a:pt x="15134" y="11020"/>
                </a:cubicBezTo>
                <a:cubicBezTo>
                  <a:pt x="17381" y="11020"/>
                  <a:pt x="17381" y="11020"/>
                  <a:pt x="17381" y="11020"/>
                </a:cubicBezTo>
                <a:lnTo>
                  <a:pt x="17381" y="12490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21919" tIns="121919" rIns="121919" bIns="121919">
            <a:normAutofit fontScale="25000" lnSpcReduction="20000"/>
          </a:bodyPr>
          <a:lstStyle/>
          <a:p>
            <a:pPr>
              <a:spcBef>
                <a:spcPts val="0"/>
              </a:spcBef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550859" y="2748633"/>
            <a:ext cx="49885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700" i="1" dirty="0" smtClean="0">
                <a:solidFill>
                  <a:srgbClr val="FFFFFF"/>
                </a:solidFill>
                <a:latin typeface="Trebuchet MS"/>
              </a:rPr>
              <a:t>Per line</a:t>
            </a:r>
            <a:endParaRPr lang="fr-FR" sz="700" dirty="0"/>
          </a:p>
        </p:txBody>
      </p:sp>
      <p:sp>
        <p:nvSpPr>
          <p:cNvPr id="174" name="Rectangle 173"/>
          <p:cNvSpPr/>
          <p:nvPr/>
        </p:nvSpPr>
        <p:spPr>
          <a:xfrm>
            <a:off x="8048565" y="2728096"/>
            <a:ext cx="250390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mr-IN" sz="700" i="1" smtClean="0">
                <a:solidFill>
                  <a:srgbClr val="FFFFFF"/>
                </a:solidFill>
                <a:latin typeface="Trebuchet MS"/>
              </a:rPr>
              <a:t>…</a:t>
            </a:r>
            <a:endParaRPr lang="fr-FR" sz="700" dirty="0"/>
          </a:p>
        </p:txBody>
      </p:sp>
      <p:sp>
        <p:nvSpPr>
          <p:cNvPr id="175" name="Rectangle 174"/>
          <p:cNvSpPr/>
          <p:nvPr/>
        </p:nvSpPr>
        <p:spPr>
          <a:xfrm>
            <a:off x="8042016" y="2338653"/>
            <a:ext cx="2856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dirty="0" smtClean="0">
                <a:solidFill>
                  <a:srgbClr val="FFFFFF"/>
                </a:solidFill>
                <a:latin typeface="Trebuchet MS"/>
              </a:rPr>
              <a:t>?</a:t>
            </a:r>
            <a:endParaRPr lang="fr-FR" sz="700" b="1" dirty="0"/>
          </a:p>
        </p:txBody>
      </p:sp>
      <p:grpSp>
        <p:nvGrpSpPr>
          <p:cNvPr id="176" name="Group 176"/>
          <p:cNvGrpSpPr/>
          <p:nvPr/>
        </p:nvGrpSpPr>
        <p:grpSpPr>
          <a:xfrm>
            <a:off x="6464811" y="3837322"/>
            <a:ext cx="753003" cy="427430"/>
            <a:chOff x="0" y="0"/>
            <a:chExt cx="2537386" cy="1386165"/>
          </a:xfrm>
        </p:grpSpPr>
        <p:sp>
          <p:nvSpPr>
            <p:cNvPr id="177" name="Freeform 72"/>
            <p:cNvSpPr/>
            <p:nvPr/>
          </p:nvSpPr>
          <p:spPr>
            <a:xfrm>
              <a:off x="-1" y="0"/>
              <a:ext cx="806639" cy="5991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52" y="0"/>
                  </a:moveTo>
                  <a:cubicBezTo>
                    <a:pt x="2048" y="0"/>
                    <a:pt x="2048" y="0"/>
                    <a:pt x="2048" y="0"/>
                  </a:cubicBezTo>
                  <a:cubicBezTo>
                    <a:pt x="1862" y="0"/>
                    <a:pt x="1862" y="251"/>
                    <a:pt x="1676" y="251"/>
                  </a:cubicBezTo>
                  <a:cubicBezTo>
                    <a:pt x="1676" y="251"/>
                    <a:pt x="1490" y="251"/>
                    <a:pt x="1490" y="251"/>
                  </a:cubicBezTo>
                  <a:cubicBezTo>
                    <a:pt x="1490" y="251"/>
                    <a:pt x="1303" y="251"/>
                    <a:pt x="1303" y="502"/>
                  </a:cubicBezTo>
                  <a:cubicBezTo>
                    <a:pt x="1117" y="502"/>
                    <a:pt x="931" y="753"/>
                    <a:pt x="745" y="753"/>
                  </a:cubicBezTo>
                  <a:cubicBezTo>
                    <a:pt x="745" y="1005"/>
                    <a:pt x="745" y="1005"/>
                    <a:pt x="745" y="1005"/>
                  </a:cubicBezTo>
                  <a:cubicBezTo>
                    <a:pt x="559" y="1256"/>
                    <a:pt x="372" y="1507"/>
                    <a:pt x="372" y="1507"/>
                  </a:cubicBezTo>
                  <a:cubicBezTo>
                    <a:pt x="372" y="1507"/>
                    <a:pt x="372" y="1507"/>
                    <a:pt x="372" y="1507"/>
                  </a:cubicBezTo>
                  <a:cubicBezTo>
                    <a:pt x="186" y="2009"/>
                    <a:pt x="186" y="2763"/>
                    <a:pt x="186" y="3265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186" y="18335"/>
                    <a:pt x="186" y="18335"/>
                    <a:pt x="186" y="18335"/>
                  </a:cubicBezTo>
                  <a:cubicBezTo>
                    <a:pt x="186" y="20093"/>
                    <a:pt x="931" y="21600"/>
                    <a:pt x="2048" y="21600"/>
                  </a:cubicBezTo>
                  <a:cubicBezTo>
                    <a:pt x="19552" y="21600"/>
                    <a:pt x="19552" y="21600"/>
                    <a:pt x="19552" y="21600"/>
                  </a:cubicBezTo>
                  <a:cubicBezTo>
                    <a:pt x="20669" y="21600"/>
                    <a:pt x="21600" y="20093"/>
                    <a:pt x="21600" y="18335"/>
                  </a:cubicBezTo>
                  <a:cubicBezTo>
                    <a:pt x="21600" y="3265"/>
                    <a:pt x="21600" y="3265"/>
                    <a:pt x="21600" y="3265"/>
                  </a:cubicBezTo>
                  <a:cubicBezTo>
                    <a:pt x="21600" y="1507"/>
                    <a:pt x="20669" y="0"/>
                    <a:pt x="19552" y="0"/>
                  </a:cubicBezTo>
                  <a:close/>
                  <a:moveTo>
                    <a:pt x="14152" y="14316"/>
                  </a:moveTo>
                  <a:cubicBezTo>
                    <a:pt x="11917" y="7284"/>
                    <a:pt x="11917" y="7284"/>
                    <a:pt x="11917" y="7284"/>
                  </a:cubicBezTo>
                  <a:cubicBezTo>
                    <a:pt x="9497" y="15321"/>
                    <a:pt x="9497" y="15321"/>
                    <a:pt x="9497" y="15321"/>
                  </a:cubicBezTo>
                  <a:cubicBezTo>
                    <a:pt x="6890" y="12558"/>
                    <a:pt x="6890" y="12558"/>
                    <a:pt x="6890" y="12558"/>
                  </a:cubicBezTo>
                  <a:cubicBezTo>
                    <a:pt x="5214" y="16577"/>
                    <a:pt x="5214" y="16577"/>
                    <a:pt x="5214" y="16577"/>
                  </a:cubicBezTo>
                  <a:cubicBezTo>
                    <a:pt x="5214" y="16577"/>
                    <a:pt x="5214" y="16577"/>
                    <a:pt x="5214" y="16577"/>
                  </a:cubicBezTo>
                  <a:cubicBezTo>
                    <a:pt x="4097" y="16326"/>
                    <a:pt x="4097" y="16326"/>
                    <a:pt x="4097" y="16326"/>
                  </a:cubicBezTo>
                  <a:cubicBezTo>
                    <a:pt x="6703" y="10800"/>
                    <a:pt x="6703" y="10800"/>
                    <a:pt x="6703" y="10800"/>
                  </a:cubicBezTo>
                  <a:cubicBezTo>
                    <a:pt x="9124" y="13563"/>
                    <a:pt x="9124" y="13563"/>
                    <a:pt x="9124" y="13563"/>
                  </a:cubicBezTo>
                  <a:cubicBezTo>
                    <a:pt x="11731" y="4772"/>
                    <a:pt x="11731" y="4772"/>
                    <a:pt x="11731" y="4772"/>
                  </a:cubicBezTo>
                  <a:cubicBezTo>
                    <a:pt x="14338" y="12307"/>
                    <a:pt x="14338" y="12307"/>
                    <a:pt x="14338" y="12307"/>
                  </a:cubicBezTo>
                  <a:cubicBezTo>
                    <a:pt x="16759" y="9042"/>
                    <a:pt x="16759" y="9042"/>
                    <a:pt x="16759" y="9042"/>
                  </a:cubicBezTo>
                  <a:cubicBezTo>
                    <a:pt x="17503" y="9293"/>
                    <a:pt x="17503" y="9293"/>
                    <a:pt x="17503" y="9293"/>
                  </a:cubicBezTo>
                  <a:lnTo>
                    <a:pt x="14152" y="1431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178" name="Oval 73"/>
            <p:cNvSpPr/>
            <p:nvPr/>
          </p:nvSpPr>
          <p:spPr>
            <a:xfrm>
              <a:off x="1022003" y="328919"/>
              <a:ext cx="465974" cy="458140"/>
            </a:xfrm>
            <a:prstGeom prst="ellipse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179" name="Freeform 74"/>
            <p:cNvSpPr/>
            <p:nvPr/>
          </p:nvSpPr>
          <p:spPr>
            <a:xfrm>
              <a:off x="1687675" y="0"/>
              <a:ext cx="849712" cy="5991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90" y="0"/>
                  </a:moveTo>
                  <a:cubicBezTo>
                    <a:pt x="1948" y="0"/>
                    <a:pt x="1948" y="0"/>
                    <a:pt x="1948" y="0"/>
                  </a:cubicBezTo>
                  <a:cubicBezTo>
                    <a:pt x="1770" y="0"/>
                    <a:pt x="1593" y="251"/>
                    <a:pt x="1593" y="251"/>
                  </a:cubicBezTo>
                  <a:cubicBezTo>
                    <a:pt x="1416" y="251"/>
                    <a:pt x="1416" y="251"/>
                    <a:pt x="1416" y="251"/>
                  </a:cubicBezTo>
                  <a:cubicBezTo>
                    <a:pt x="1239" y="251"/>
                    <a:pt x="1239" y="251"/>
                    <a:pt x="1062" y="502"/>
                  </a:cubicBezTo>
                  <a:cubicBezTo>
                    <a:pt x="1062" y="502"/>
                    <a:pt x="1062" y="502"/>
                    <a:pt x="1062" y="502"/>
                  </a:cubicBezTo>
                  <a:cubicBezTo>
                    <a:pt x="885" y="753"/>
                    <a:pt x="885" y="753"/>
                    <a:pt x="708" y="753"/>
                  </a:cubicBezTo>
                  <a:cubicBezTo>
                    <a:pt x="708" y="1005"/>
                    <a:pt x="708" y="1005"/>
                    <a:pt x="708" y="1005"/>
                  </a:cubicBezTo>
                  <a:cubicBezTo>
                    <a:pt x="531" y="1256"/>
                    <a:pt x="531" y="1256"/>
                    <a:pt x="354" y="1507"/>
                  </a:cubicBezTo>
                  <a:cubicBezTo>
                    <a:pt x="354" y="1507"/>
                    <a:pt x="354" y="1507"/>
                    <a:pt x="354" y="1507"/>
                  </a:cubicBezTo>
                  <a:cubicBezTo>
                    <a:pt x="354" y="1507"/>
                    <a:pt x="354" y="1507"/>
                    <a:pt x="354" y="1507"/>
                  </a:cubicBezTo>
                  <a:cubicBezTo>
                    <a:pt x="177" y="2009"/>
                    <a:pt x="0" y="2763"/>
                    <a:pt x="0" y="3265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0" y="18335"/>
                    <a:pt x="0" y="18335"/>
                    <a:pt x="0" y="18335"/>
                  </a:cubicBezTo>
                  <a:cubicBezTo>
                    <a:pt x="0" y="20093"/>
                    <a:pt x="885" y="21600"/>
                    <a:pt x="1948" y="21600"/>
                  </a:cubicBezTo>
                  <a:cubicBezTo>
                    <a:pt x="18590" y="21600"/>
                    <a:pt x="18590" y="21600"/>
                    <a:pt x="18590" y="21600"/>
                  </a:cubicBezTo>
                  <a:cubicBezTo>
                    <a:pt x="19652" y="21600"/>
                    <a:pt x="21600" y="20093"/>
                    <a:pt x="21600" y="18335"/>
                  </a:cubicBezTo>
                  <a:cubicBezTo>
                    <a:pt x="21600" y="3265"/>
                    <a:pt x="21600" y="3265"/>
                    <a:pt x="21600" y="3265"/>
                  </a:cubicBezTo>
                  <a:cubicBezTo>
                    <a:pt x="21600" y="1507"/>
                    <a:pt x="19652" y="0"/>
                    <a:pt x="18590" y="0"/>
                  </a:cubicBezTo>
                  <a:close/>
                  <a:moveTo>
                    <a:pt x="9738" y="13814"/>
                  </a:moveTo>
                  <a:cubicBezTo>
                    <a:pt x="4249" y="13814"/>
                    <a:pt x="4249" y="13814"/>
                    <a:pt x="4249" y="13814"/>
                  </a:cubicBezTo>
                  <a:cubicBezTo>
                    <a:pt x="4249" y="6530"/>
                    <a:pt x="4249" y="6530"/>
                    <a:pt x="4249" y="6530"/>
                  </a:cubicBezTo>
                  <a:cubicBezTo>
                    <a:pt x="9738" y="6530"/>
                    <a:pt x="9738" y="6530"/>
                    <a:pt x="9738" y="6530"/>
                  </a:cubicBezTo>
                  <a:lnTo>
                    <a:pt x="9738" y="13814"/>
                  </a:lnTo>
                  <a:close/>
                  <a:moveTo>
                    <a:pt x="17351" y="13814"/>
                  </a:moveTo>
                  <a:cubicBezTo>
                    <a:pt x="11862" y="13814"/>
                    <a:pt x="11862" y="13814"/>
                    <a:pt x="11862" y="13814"/>
                  </a:cubicBezTo>
                  <a:cubicBezTo>
                    <a:pt x="11862" y="6530"/>
                    <a:pt x="11862" y="6530"/>
                    <a:pt x="11862" y="6530"/>
                  </a:cubicBezTo>
                  <a:cubicBezTo>
                    <a:pt x="17351" y="6530"/>
                    <a:pt x="17351" y="6530"/>
                    <a:pt x="17351" y="6530"/>
                  </a:cubicBezTo>
                  <a:lnTo>
                    <a:pt x="17351" y="13814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180" name="Freeform 75"/>
            <p:cNvSpPr/>
            <p:nvPr/>
          </p:nvSpPr>
          <p:spPr>
            <a:xfrm>
              <a:off x="849711" y="0"/>
              <a:ext cx="806639" cy="5991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52" y="0"/>
                  </a:moveTo>
                  <a:cubicBezTo>
                    <a:pt x="2048" y="0"/>
                    <a:pt x="2048" y="0"/>
                    <a:pt x="2048" y="0"/>
                  </a:cubicBezTo>
                  <a:cubicBezTo>
                    <a:pt x="1862" y="0"/>
                    <a:pt x="1676" y="251"/>
                    <a:pt x="1490" y="251"/>
                  </a:cubicBezTo>
                  <a:cubicBezTo>
                    <a:pt x="1490" y="251"/>
                    <a:pt x="1490" y="251"/>
                    <a:pt x="1303" y="251"/>
                  </a:cubicBezTo>
                  <a:cubicBezTo>
                    <a:pt x="1303" y="251"/>
                    <a:pt x="1117" y="251"/>
                    <a:pt x="1117" y="502"/>
                  </a:cubicBezTo>
                  <a:cubicBezTo>
                    <a:pt x="1117" y="502"/>
                    <a:pt x="931" y="502"/>
                    <a:pt x="931" y="502"/>
                  </a:cubicBezTo>
                  <a:cubicBezTo>
                    <a:pt x="931" y="753"/>
                    <a:pt x="745" y="753"/>
                    <a:pt x="745" y="753"/>
                  </a:cubicBezTo>
                  <a:cubicBezTo>
                    <a:pt x="745" y="1005"/>
                    <a:pt x="559" y="1005"/>
                    <a:pt x="559" y="1005"/>
                  </a:cubicBezTo>
                  <a:cubicBezTo>
                    <a:pt x="559" y="1256"/>
                    <a:pt x="372" y="1256"/>
                    <a:pt x="372" y="1507"/>
                  </a:cubicBezTo>
                  <a:cubicBezTo>
                    <a:pt x="372" y="1507"/>
                    <a:pt x="372" y="1507"/>
                    <a:pt x="372" y="1507"/>
                  </a:cubicBezTo>
                  <a:cubicBezTo>
                    <a:pt x="372" y="1507"/>
                    <a:pt x="372" y="1507"/>
                    <a:pt x="372" y="1507"/>
                  </a:cubicBezTo>
                  <a:cubicBezTo>
                    <a:pt x="186" y="2009"/>
                    <a:pt x="0" y="2763"/>
                    <a:pt x="0" y="3265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0" y="12056"/>
                    <a:pt x="0" y="12056"/>
                    <a:pt x="0" y="12056"/>
                  </a:cubicBezTo>
                  <a:cubicBezTo>
                    <a:pt x="0" y="18335"/>
                    <a:pt x="0" y="18335"/>
                    <a:pt x="0" y="18335"/>
                  </a:cubicBezTo>
                  <a:cubicBezTo>
                    <a:pt x="0" y="20093"/>
                    <a:pt x="931" y="21600"/>
                    <a:pt x="2048" y="21600"/>
                  </a:cubicBezTo>
                  <a:cubicBezTo>
                    <a:pt x="3724" y="21600"/>
                    <a:pt x="3724" y="21600"/>
                    <a:pt x="3724" y="21600"/>
                  </a:cubicBezTo>
                  <a:cubicBezTo>
                    <a:pt x="3724" y="21098"/>
                    <a:pt x="3724" y="20595"/>
                    <a:pt x="3724" y="20093"/>
                  </a:cubicBezTo>
                  <a:cubicBezTo>
                    <a:pt x="3724" y="14819"/>
                    <a:pt x="6890" y="10298"/>
                    <a:pt x="10986" y="10298"/>
                  </a:cubicBezTo>
                  <a:cubicBezTo>
                    <a:pt x="14897" y="10298"/>
                    <a:pt x="18248" y="14819"/>
                    <a:pt x="18248" y="20093"/>
                  </a:cubicBezTo>
                  <a:cubicBezTo>
                    <a:pt x="18248" y="20595"/>
                    <a:pt x="18062" y="21098"/>
                    <a:pt x="18062" y="21600"/>
                  </a:cubicBezTo>
                  <a:cubicBezTo>
                    <a:pt x="19552" y="21600"/>
                    <a:pt x="19552" y="21600"/>
                    <a:pt x="19552" y="21600"/>
                  </a:cubicBezTo>
                  <a:cubicBezTo>
                    <a:pt x="20669" y="21600"/>
                    <a:pt x="21600" y="20093"/>
                    <a:pt x="21600" y="18335"/>
                  </a:cubicBezTo>
                  <a:cubicBezTo>
                    <a:pt x="21600" y="3265"/>
                    <a:pt x="21600" y="3265"/>
                    <a:pt x="21600" y="3265"/>
                  </a:cubicBezTo>
                  <a:cubicBezTo>
                    <a:pt x="21600" y="1507"/>
                    <a:pt x="20669" y="0"/>
                    <a:pt x="19552" y="0"/>
                  </a:cubicBezTo>
                  <a:close/>
                  <a:moveTo>
                    <a:pt x="6703" y="8540"/>
                  </a:moveTo>
                  <a:cubicBezTo>
                    <a:pt x="2793" y="8540"/>
                    <a:pt x="2793" y="8540"/>
                    <a:pt x="2793" y="8540"/>
                  </a:cubicBezTo>
                  <a:cubicBezTo>
                    <a:pt x="2793" y="5023"/>
                    <a:pt x="2793" y="5023"/>
                    <a:pt x="2793" y="5023"/>
                  </a:cubicBezTo>
                  <a:cubicBezTo>
                    <a:pt x="6703" y="5023"/>
                    <a:pt x="6703" y="5023"/>
                    <a:pt x="6703" y="5023"/>
                  </a:cubicBezTo>
                  <a:lnTo>
                    <a:pt x="6703" y="8540"/>
                  </a:lnTo>
                  <a:close/>
                  <a:moveTo>
                    <a:pt x="13221" y="8540"/>
                  </a:moveTo>
                  <a:cubicBezTo>
                    <a:pt x="9310" y="8540"/>
                    <a:pt x="9310" y="8540"/>
                    <a:pt x="9310" y="8540"/>
                  </a:cubicBezTo>
                  <a:cubicBezTo>
                    <a:pt x="9310" y="5023"/>
                    <a:pt x="9310" y="5023"/>
                    <a:pt x="9310" y="5023"/>
                  </a:cubicBezTo>
                  <a:cubicBezTo>
                    <a:pt x="13221" y="5023"/>
                    <a:pt x="13221" y="5023"/>
                    <a:pt x="13221" y="5023"/>
                  </a:cubicBezTo>
                  <a:lnTo>
                    <a:pt x="13221" y="8540"/>
                  </a:lnTo>
                  <a:close/>
                  <a:moveTo>
                    <a:pt x="19738" y="8540"/>
                  </a:moveTo>
                  <a:cubicBezTo>
                    <a:pt x="15828" y="8540"/>
                    <a:pt x="15828" y="8540"/>
                    <a:pt x="15828" y="8540"/>
                  </a:cubicBezTo>
                  <a:cubicBezTo>
                    <a:pt x="15828" y="5023"/>
                    <a:pt x="15828" y="5023"/>
                    <a:pt x="15828" y="5023"/>
                  </a:cubicBezTo>
                  <a:cubicBezTo>
                    <a:pt x="19738" y="5023"/>
                    <a:pt x="19738" y="5023"/>
                    <a:pt x="19738" y="5023"/>
                  </a:cubicBezTo>
                  <a:lnTo>
                    <a:pt x="19738" y="854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181" name="Freeform 76"/>
            <p:cNvSpPr/>
            <p:nvPr/>
          </p:nvSpPr>
          <p:spPr>
            <a:xfrm>
              <a:off x="964891" y="863082"/>
              <a:ext cx="125973" cy="125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54" h="19854" extrusionOk="0">
                  <a:moveTo>
                    <a:pt x="19647" y="12087"/>
                  </a:moveTo>
                  <a:cubicBezTo>
                    <a:pt x="20727" y="6687"/>
                    <a:pt x="17487" y="1287"/>
                    <a:pt x="12087" y="207"/>
                  </a:cubicBezTo>
                  <a:cubicBezTo>
                    <a:pt x="6687" y="-873"/>
                    <a:pt x="1287" y="2367"/>
                    <a:pt x="207" y="7767"/>
                  </a:cubicBezTo>
                  <a:cubicBezTo>
                    <a:pt x="-873" y="13167"/>
                    <a:pt x="2367" y="18567"/>
                    <a:pt x="7767" y="19647"/>
                  </a:cubicBezTo>
                  <a:cubicBezTo>
                    <a:pt x="13167" y="20727"/>
                    <a:pt x="18567" y="17487"/>
                    <a:pt x="19647" y="1208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  <p:sp>
          <p:nvSpPr>
            <p:cNvPr id="182" name="Freeform 77"/>
            <p:cNvSpPr/>
            <p:nvPr/>
          </p:nvSpPr>
          <p:spPr>
            <a:xfrm>
              <a:off x="943688" y="849711"/>
              <a:ext cx="626516" cy="5364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257"/>
                  </a:moveTo>
                  <a:cubicBezTo>
                    <a:pt x="0" y="12343"/>
                    <a:pt x="0" y="12343"/>
                    <a:pt x="0" y="12343"/>
                  </a:cubicBezTo>
                  <a:cubicBezTo>
                    <a:pt x="0" y="19075"/>
                    <a:pt x="0" y="19075"/>
                    <a:pt x="0" y="19075"/>
                  </a:cubicBezTo>
                  <a:cubicBezTo>
                    <a:pt x="0" y="20478"/>
                    <a:pt x="1200" y="21600"/>
                    <a:pt x="2880" y="21600"/>
                  </a:cubicBezTo>
                  <a:cubicBezTo>
                    <a:pt x="18720" y="21600"/>
                    <a:pt x="18720" y="21600"/>
                    <a:pt x="18720" y="21600"/>
                  </a:cubicBezTo>
                  <a:cubicBezTo>
                    <a:pt x="20400" y="21600"/>
                    <a:pt x="21600" y="20478"/>
                    <a:pt x="21600" y="19075"/>
                  </a:cubicBezTo>
                  <a:cubicBezTo>
                    <a:pt x="21600" y="8696"/>
                    <a:pt x="21600" y="8696"/>
                    <a:pt x="21600" y="8696"/>
                  </a:cubicBezTo>
                  <a:cubicBezTo>
                    <a:pt x="21600" y="5049"/>
                    <a:pt x="19440" y="1964"/>
                    <a:pt x="16800" y="561"/>
                  </a:cubicBezTo>
                  <a:cubicBezTo>
                    <a:pt x="16800" y="561"/>
                    <a:pt x="16560" y="561"/>
                    <a:pt x="16560" y="561"/>
                  </a:cubicBezTo>
                  <a:cubicBezTo>
                    <a:pt x="16320" y="281"/>
                    <a:pt x="16080" y="281"/>
                    <a:pt x="15840" y="281"/>
                  </a:cubicBezTo>
                  <a:cubicBezTo>
                    <a:pt x="15840" y="281"/>
                    <a:pt x="15840" y="281"/>
                    <a:pt x="15600" y="281"/>
                  </a:cubicBezTo>
                  <a:cubicBezTo>
                    <a:pt x="15600" y="0"/>
                    <a:pt x="15360" y="0"/>
                    <a:pt x="15120" y="0"/>
                  </a:cubicBezTo>
                  <a:cubicBezTo>
                    <a:pt x="14880" y="0"/>
                    <a:pt x="14880" y="0"/>
                    <a:pt x="14880" y="0"/>
                  </a:cubicBezTo>
                  <a:cubicBezTo>
                    <a:pt x="14400" y="0"/>
                    <a:pt x="14160" y="0"/>
                    <a:pt x="13920" y="0"/>
                  </a:cubicBezTo>
                  <a:cubicBezTo>
                    <a:pt x="7680" y="0"/>
                    <a:pt x="7680" y="0"/>
                    <a:pt x="7680" y="0"/>
                  </a:cubicBezTo>
                  <a:cubicBezTo>
                    <a:pt x="8640" y="1403"/>
                    <a:pt x="8880" y="3086"/>
                    <a:pt x="8400" y="5049"/>
                  </a:cubicBezTo>
                  <a:cubicBezTo>
                    <a:pt x="7680" y="8696"/>
                    <a:pt x="4560" y="10940"/>
                    <a:pt x="1440" y="10099"/>
                  </a:cubicBezTo>
                  <a:cubicBezTo>
                    <a:pt x="960" y="9818"/>
                    <a:pt x="480" y="9538"/>
                    <a:pt x="0" y="9257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83" name="Rectangle 48"/>
          <p:cNvSpPr/>
          <p:nvPr/>
        </p:nvSpPr>
        <p:spPr>
          <a:xfrm>
            <a:off x="6176863" y="4264752"/>
            <a:ext cx="1248942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APPLICATION USAGE</a:t>
            </a:r>
            <a:endParaRPr sz="800" dirty="0"/>
          </a:p>
        </p:txBody>
      </p:sp>
      <p:sp>
        <p:nvSpPr>
          <p:cNvPr id="190" name="Rectangle 48"/>
          <p:cNvSpPr/>
          <p:nvPr/>
        </p:nvSpPr>
        <p:spPr>
          <a:xfrm>
            <a:off x="5096519" y="3322819"/>
            <a:ext cx="648433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# USERS</a:t>
            </a:r>
            <a:endParaRPr sz="800" dirty="0"/>
          </a:p>
        </p:txBody>
      </p:sp>
      <p:sp>
        <p:nvSpPr>
          <p:cNvPr id="191" name="Rectangle 48"/>
          <p:cNvSpPr/>
          <p:nvPr/>
        </p:nvSpPr>
        <p:spPr>
          <a:xfrm>
            <a:off x="6314201" y="3325859"/>
            <a:ext cx="1008428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# ROOMS</a:t>
            </a:r>
            <a:endParaRPr sz="800" dirty="0"/>
          </a:p>
        </p:txBody>
      </p:sp>
      <p:sp>
        <p:nvSpPr>
          <p:cNvPr id="192" name="Rectangle 48"/>
          <p:cNvSpPr/>
          <p:nvPr/>
        </p:nvSpPr>
        <p:spPr>
          <a:xfrm>
            <a:off x="7734348" y="3322819"/>
            <a:ext cx="892301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?</a:t>
            </a:r>
            <a:endParaRPr sz="800" dirty="0"/>
          </a:p>
        </p:txBody>
      </p:sp>
      <p:sp>
        <p:nvSpPr>
          <p:cNvPr id="193" name="Straight Connector 112"/>
          <p:cNvSpPr/>
          <p:nvPr/>
        </p:nvSpPr>
        <p:spPr>
          <a:xfrm flipH="1" flipV="1">
            <a:off x="5420736" y="2786194"/>
            <a:ext cx="3389" cy="638998"/>
          </a:xfrm>
          <a:prstGeom prst="line">
            <a:avLst/>
          </a:prstGeom>
          <a:ln w="101600">
            <a:solidFill>
              <a:schemeClr val="bg1">
                <a:alpha val="12000"/>
              </a:schemeClr>
            </a:solidFill>
            <a:headEnd type="oval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94" name="Straight Connector 112"/>
          <p:cNvSpPr/>
          <p:nvPr/>
        </p:nvSpPr>
        <p:spPr>
          <a:xfrm flipH="1" flipV="1">
            <a:off x="6815635" y="2783483"/>
            <a:ext cx="3389" cy="638998"/>
          </a:xfrm>
          <a:prstGeom prst="line">
            <a:avLst/>
          </a:prstGeom>
          <a:ln w="101600">
            <a:solidFill>
              <a:schemeClr val="bg1">
                <a:alpha val="12000"/>
              </a:schemeClr>
            </a:solidFill>
            <a:headEnd type="oval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95" name="Straight Connector 112"/>
          <p:cNvSpPr/>
          <p:nvPr/>
        </p:nvSpPr>
        <p:spPr>
          <a:xfrm flipH="1" flipV="1">
            <a:off x="8180499" y="2788508"/>
            <a:ext cx="3389" cy="638998"/>
          </a:xfrm>
          <a:prstGeom prst="line">
            <a:avLst/>
          </a:prstGeom>
          <a:ln w="101600">
            <a:solidFill>
              <a:schemeClr val="bg1">
                <a:alpha val="12000"/>
              </a:schemeClr>
            </a:solidFill>
            <a:headEnd type="oval"/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39" name="Rectangle 38"/>
          <p:cNvSpPr/>
          <p:nvPr/>
        </p:nvSpPr>
        <p:spPr>
          <a:xfrm>
            <a:off x="146904" y="4730959"/>
            <a:ext cx="2812539" cy="2944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1000" dirty="0" smtClean="0">
                <a:solidFill>
                  <a:schemeClr val="bg1"/>
                </a:solidFill>
                <a:latin typeface="Trebuchet MS"/>
                <a:cs typeface="Trebuchet MS"/>
              </a:rPr>
              <a:t>STANDALONE DEV / STARTUP</a:t>
            </a:r>
            <a:endParaRPr lang="fr-FR" sz="10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2848231" y="4733208"/>
            <a:ext cx="3076834" cy="294457"/>
          </a:xfrm>
          <a:prstGeom prst="rect">
            <a:avLst/>
          </a:prstGeom>
          <a:gradFill flip="none" rotWithShape="1">
            <a:gsLst>
              <a:gs pos="47000">
                <a:schemeClr val="accent5"/>
              </a:gs>
              <a:gs pos="0">
                <a:schemeClr val="accent5">
                  <a:alpha val="59000"/>
                  <a:lumMod val="100000"/>
                </a:schemeClr>
              </a:gs>
              <a:gs pos="76000">
                <a:schemeClr val="accent3"/>
              </a:gs>
              <a:gs pos="99000">
                <a:schemeClr val="accent3">
                  <a:alpha val="61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1000" smtClean="0">
                <a:solidFill>
                  <a:schemeClr val="bg1"/>
                </a:solidFill>
                <a:latin typeface="Trebuchet MS"/>
                <a:cs typeface="Trebuchet MS"/>
              </a:rPr>
              <a:t>ISV</a:t>
            </a:r>
            <a:endParaRPr lang="fr-FR" sz="10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5660769" y="4733208"/>
            <a:ext cx="3250001" cy="2944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1000" dirty="0" smtClean="0">
                <a:solidFill>
                  <a:schemeClr val="bg1"/>
                </a:solidFill>
                <a:latin typeface="Trebuchet MS"/>
                <a:cs typeface="Trebuchet MS"/>
              </a:rPr>
              <a:t>XXL / STRATEGIC / ALE PARTNERS</a:t>
            </a:r>
            <a:endParaRPr lang="fr-FR" sz="10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200" name="Rectangle 48"/>
          <p:cNvSpPr/>
          <p:nvPr/>
        </p:nvSpPr>
        <p:spPr>
          <a:xfrm>
            <a:off x="2287646" y="1279783"/>
            <a:ext cx="1248942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PREDICTABILITY</a:t>
            </a:r>
            <a:endParaRPr sz="800" dirty="0"/>
          </a:p>
        </p:txBody>
      </p:sp>
      <p:sp>
        <p:nvSpPr>
          <p:cNvPr id="202" name="Rectangle 48"/>
          <p:cNvSpPr/>
          <p:nvPr/>
        </p:nvSpPr>
        <p:spPr>
          <a:xfrm>
            <a:off x="6826836" y="1279783"/>
            <a:ext cx="1248942" cy="21544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800" dirty="0" smtClean="0"/>
              <a:t>PREDICTABILITY</a:t>
            </a:r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128063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772412" y="1932317"/>
            <a:ext cx="7828490" cy="48383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ARE YOU READY TO START ?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0055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13"/>
          <p:cNvSpPr>
            <a:spLocks noChangeAspect="1"/>
          </p:cNvSpPr>
          <p:nvPr/>
        </p:nvSpPr>
        <p:spPr>
          <a:xfrm>
            <a:off x="902593" y="1356622"/>
            <a:ext cx="2203773" cy="2148669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Trebuchet MS"/>
                <a:cs typeface="Trebuchet MS"/>
              </a:rPr>
              <a:t>DEFINITION</a:t>
            </a:r>
          </a:p>
          <a:p>
            <a:pPr algn="ctr">
              <a:spcBef>
                <a:spcPts val="0"/>
              </a:spcBef>
            </a:pPr>
            <a:r>
              <a:rPr lang="en-US" sz="1200" b="1" dirty="0">
                <a:solidFill>
                  <a:schemeClr val="bg1"/>
                </a:solidFill>
                <a:latin typeface="Trebuchet MS"/>
                <a:cs typeface="Trebuchet MS"/>
              </a:rPr>
              <a:t>&amp;</a:t>
            </a:r>
            <a:endParaRPr lang="en-US" sz="1200" b="1" dirty="0" smtClean="0">
              <a:solidFill>
                <a:schemeClr val="bg1"/>
              </a:solidFill>
              <a:latin typeface="Trebuchet MS"/>
              <a:cs typeface="Trebuchet MS"/>
            </a:endParaRPr>
          </a:p>
          <a:p>
            <a:pPr algn="ctr"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Trebuchet MS"/>
                <a:cs typeface="Trebuchet MS"/>
              </a:rPr>
              <a:t>ORIENTATION</a:t>
            </a:r>
            <a:endParaRPr lang="en-US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47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1800" b="0" dirty="0" smtClean="0">
                <a:solidFill>
                  <a:schemeClr val="bg1"/>
                </a:solidFill>
                <a:latin typeface="+mj-lt"/>
              </a:rPr>
              <a:t>AGENDA</a:t>
            </a:r>
            <a:endParaRPr lang="en-US" sz="1800" b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9" name="Image 48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667" y="4727040"/>
            <a:ext cx="1114882" cy="298788"/>
          </a:xfrm>
          <a:prstGeom prst="rect">
            <a:avLst/>
          </a:prstGeom>
        </p:spPr>
      </p:pic>
      <p:sp>
        <p:nvSpPr>
          <p:cNvPr id="32" name="Oval 13"/>
          <p:cNvSpPr>
            <a:spLocks noChangeAspect="1"/>
          </p:cNvSpPr>
          <p:nvPr/>
        </p:nvSpPr>
        <p:spPr>
          <a:xfrm>
            <a:off x="3590670" y="1356622"/>
            <a:ext cx="2203773" cy="2148669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Trebuchet MS"/>
                <a:cs typeface="Trebuchet MS"/>
              </a:rPr>
              <a:t>DEVELOPER’S</a:t>
            </a:r>
          </a:p>
          <a:p>
            <a:pPr algn="ctr"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Trebuchet MS"/>
                <a:cs typeface="Trebuchet MS"/>
              </a:rPr>
              <a:t>JOURNEY</a:t>
            </a:r>
            <a:endParaRPr lang="en-US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34" name="Oval 13"/>
          <p:cNvSpPr>
            <a:spLocks noChangeAspect="1"/>
          </p:cNvSpPr>
          <p:nvPr/>
        </p:nvSpPr>
        <p:spPr>
          <a:xfrm>
            <a:off x="6278747" y="1356622"/>
            <a:ext cx="2203773" cy="2148669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200" b="1" dirty="0" smtClean="0">
                <a:latin typeface="Trebuchet MS"/>
                <a:cs typeface="Trebuchet MS"/>
              </a:rPr>
              <a:t>PATTERNS</a:t>
            </a:r>
          </a:p>
          <a:p>
            <a:pPr algn="ctr"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Trebuchet MS"/>
                <a:cs typeface="Trebuchet MS"/>
              </a:rPr>
              <a:t>&amp;</a:t>
            </a:r>
          </a:p>
          <a:p>
            <a:pPr algn="ctr"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Trebuchet MS"/>
                <a:cs typeface="Trebuchet MS"/>
              </a:rPr>
              <a:t>DEMOS</a:t>
            </a:r>
            <a:endParaRPr lang="en-US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0733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4"/>
          <p:cNvGrpSpPr/>
          <p:nvPr/>
        </p:nvGrpSpPr>
        <p:grpSpPr>
          <a:xfrm>
            <a:off x="2341526" y="3152661"/>
            <a:ext cx="578966" cy="578966"/>
            <a:chOff x="4365077" y="544671"/>
            <a:chExt cx="1238248" cy="1238248"/>
          </a:xfrm>
        </p:grpSpPr>
        <p:sp>
          <p:nvSpPr>
            <p:cNvPr id="30" name="Oval 18"/>
            <p:cNvSpPr/>
            <p:nvPr/>
          </p:nvSpPr>
          <p:spPr>
            <a:xfrm>
              <a:off x="4365077" y="544671"/>
              <a:ext cx="1238248" cy="1238248"/>
            </a:xfrm>
            <a:prstGeom prst="ellipse">
              <a:avLst/>
            </a:prstGeom>
            <a:solidFill>
              <a:schemeClr val="accent5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1" name="Oval 23"/>
            <p:cNvSpPr/>
            <p:nvPr/>
          </p:nvSpPr>
          <p:spPr>
            <a:xfrm>
              <a:off x="4501382" y="680976"/>
              <a:ext cx="964237" cy="964237"/>
            </a:xfrm>
            <a:prstGeom prst="ellipse">
              <a:avLst/>
            </a:prstGeom>
            <a:solidFill>
              <a:schemeClr val="accent5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2" name="TextBox 26"/>
            <p:cNvSpPr txBox="1"/>
            <p:nvPr/>
          </p:nvSpPr>
          <p:spPr>
            <a:xfrm>
              <a:off x="4398751" y="716269"/>
              <a:ext cx="1151234" cy="430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1</a:t>
              </a:r>
            </a:p>
          </p:txBody>
        </p:sp>
      </p:grpSp>
      <p:grpSp>
        <p:nvGrpSpPr>
          <p:cNvPr id="33" name="Group 12"/>
          <p:cNvGrpSpPr/>
          <p:nvPr/>
        </p:nvGrpSpPr>
        <p:grpSpPr>
          <a:xfrm>
            <a:off x="5645632" y="3152661"/>
            <a:ext cx="576232" cy="576232"/>
            <a:chOff x="4871871" y="2527436"/>
            <a:chExt cx="576232" cy="576232"/>
          </a:xfrm>
        </p:grpSpPr>
        <p:sp>
          <p:nvSpPr>
            <p:cNvPr id="34" name="Oval 28"/>
            <p:cNvSpPr/>
            <p:nvPr/>
          </p:nvSpPr>
          <p:spPr>
            <a:xfrm>
              <a:off x="4871871" y="2527436"/>
              <a:ext cx="576232" cy="576232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5" name="Oval 29"/>
            <p:cNvSpPr/>
            <p:nvPr/>
          </p:nvSpPr>
          <p:spPr>
            <a:xfrm>
              <a:off x="4935302" y="2590867"/>
              <a:ext cx="448718" cy="448718"/>
            </a:xfrm>
            <a:prstGeom prst="ellipse">
              <a:avLst/>
            </a:prstGeom>
            <a:solidFill>
              <a:schemeClr val="accent3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6" name="TextBox 30"/>
            <p:cNvSpPr txBox="1"/>
            <p:nvPr/>
          </p:nvSpPr>
          <p:spPr>
            <a:xfrm>
              <a:off x="4887542" y="260729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3</a:t>
              </a:r>
            </a:p>
          </p:txBody>
        </p:sp>
      </p:grpSp>
      <p:grpSp>
        <p:nvGrpSpPr>
          <p:cNvPr id="37" name="Group 11"/>
          <p:cNvGrpSpPr/>
          <p:nvPr/>
        </p:nvGrpSpPr>
        <p:grpSpPr>
          <a:xfrm>
            <a:off x="7896686" y="3152661"/>
            <a:ext cx="576232" cy="576232"/>
            <a:chOff x="3729025" y="2595668"/>
            <a:chExt cx="576232" cy="576232"/>
          </a:xfrm>
        </p:grpSpPr>
        <p:sp>
          <p:nvSpPr>
            <p:cNvPr id="38" name="Oval 34"/>
            <p:cNvSpPr/>
            <p:nvPr/>
          </p:nvSpPr>
          <p:spPr>
            <a:xfrm>
              <a:off x="3729025" y="2595668"/>
              <a:ext cx="576232" cy="576232"/>
            </a:xfrm>
            <a:prstGeom prst="ellipse">
              <a:avLst/>
            </a:prstGeom>
            <a:solidFill>
              <a:schemeClr val="bg2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39" name="Oval 35"/>
            <p:cNvSpPr/>
            <p:nvPr/>
          </p:nvSpPr>
          <p:spPr>
            <a:xfrm>
              <a:off x="3792456" y="2659099"/>
              <a:ext cx="448718" cy="448718"/>
            </a:xfrm>
            <a:prstGeom prst="ellipse">
              <a:avLst/>
            </a:prstGeom>
            <a:solidFill>
              <a:schemeClr val="bg2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0" name="TextBox 36"/>
            <p:cNvSpPr txBox="1"/>
            <p:nvPr/>
          </p:nvSpPr>
          <p:spPr>
            <a:xfrm>
              <a:off x="3750611" y="266121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5</a:t>
              </a:r>
            </a:p>
          </p:txBody>
        </p:sp>
      </p:grpSp>
      <p:grpSp>
        <p:nvGrpSpPr>
          <p:cNvPr id="45" name="Group 2"/>
          <p:cNvGrpSpPr/>
          <p:nvPr/>
        </p:nvGrpSpPr>
        <p:grpSpPr>
          <a:xfrm>
            <a:off x="3994946" y="3152661"/>
            <a:ext cx="576232" cy="576232"/>
            <a:chOff x="423422" y="446725"/>
            <a:chExt cx="1238248" cy="1238248"/>
          </a:xfrm>
        </p:grpSpPr>
        <p:sp>
          <p:nvSpPr>
            <p:cNvPr id="46" name="Oval 13"/>
            <p:cNvSpPr/>
            <p:nvPr/>
          </p:nvSpPr>
          <p:spPr>
            <a:xfrm>
              <a:off x="423422" y="446725"/>
              <a:ext cx="1238248" cy="1238248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8" name="Oval 14"/>
            <p:cNvSpPr/>
            <p:nvPr/>
          </p:nvSpPr>
          <p:spPr>
            <a:xfrm>
              <a:off x="559728" y="583031"/>
              <a:ext cx="964236" cy="964236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49" name="TextBox 15"/>
            <p:cNvSpPr txBox="1"/>
            <p:nvPr/>
          </p:nvSpPr>
          <p:spPr>
            <a:xfrm>
              <a:off x="457097" y="618324"/>
              <a:ext cx="115123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2</a:t>
              </a:r>
            </a:p>
          </p:txBody>
        </p:sp>
      </p:grpSp>
      <p:sp>
        <p:nvSpPr>
          <p:cNvPr id="50" name="ZoneTexte 49"/>
          <p:cNvSpPr txBox="1"/>
          <p:nvPr/>
        </p:nvSpPr>
        <p:spPr>
          <a:xfrm>
            <a:off x="1891904" y="3747298"/>
            <a:ext cx="14690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400" b="1" dirty="0" smtClean="0">
                <a:solidFill>
                  <a:srgbClr val="FFFFFF"/>
                </a:solidFill>
                <a:latin typeface="Trebuchet MS" pitchFamily="34" charset="0"/>
              </a:rPr>
              <a:t>REGISTER </a:t>
            </a:r>
          </a:p>
          <a:p>
            <a:pPr algn="ctr">
              <a:spcBef>
                <a:spcPts val="0"/>
              </a:spcBef>
            </a:pPr>
            <a:r>
              <a:rPr lang="fr-FR" sz="1400" b="1" dirty="0" smtClean="0">
                <a:solidFill>
                  <a:srgbClr val="FFFFFF"/>
                </a:solidFill>
                <a:latin typeface="Trebuchet MS" pitchFamily="34" charset="0"/>
              </a:rPr>
              <a:t>DEV ACCOUNT</a:t>
            </a:r>
          </a:p>
          <a:p>
            <a:pPr algn="ctr">
              <a:spcBef>
                <a:spcPts val="0"/>
              </a:spcBef>
            </a:pPr>
            <a:endParaRPr lang="fr-FR" sz="900" b="1" dirty="0">
              <a:solidFill>
                <a:srgbClr val="FFFFFF"/>
              </a:solidFill>
              <a:latin typeface="Trebuchet MS" pitchFamily="34" charset="0"/>
            </a:endParaRPr>
          </a:p>
          <a:p>
            <a:pPr algn="ctr">
              <a:spcBef>
                <a:spcPts val="0"/>
              </a:spcBef>
            </a:pPr>
            <a:r>
              <a:rPr lang="fr-FR" sz="1100" b="1" dirty="0" smtClean="0">
                <a:solidFill>
                  <a:schemeClr val="bg1"/>
                </a:solidFill>
                <a:latin typeface="Trebuchet MS" pitchFamily="34" charset="0"/>
              </a:rPr>
              <a:t>AVAILABLE</a:t>
            </a:r>
            <a:endParaRPr lang="mr-IN" sz="9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1" name="ZoneTexte 50"/>
          <p:cNvSpPr txBox="1"/>
          <p:nvPr/>
        </p:nvSpPr>
        <p:spPr>
          <a:xfrm>
            <a:off x="3613762" y="3747298"/>
            <a:ext cx="13294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400" b="1" dirty="0" smtClean="0">
                <a:solidFill>
                  <a:srgbClr val="FFFFFF"/>
                </a:solidFill>
                <a:latin typeface="Trebuchet MS" pitchFamily="34" charset="0"/>
              </a:rPr>
              <a:t>DISCOVER POSSIBILITIES</a:t>
            </a:r>
            <a:endParaRPr lang="fr-FR" sz="900" b="1" dirty="0">
              <a:solidFill>
                <a:srgbClr val="FFFFFF"/>
              </a:solidFill>
              <a:latin typeface="Trebuchet MS" pitchFamily="34" charset="0"/>
            </a:endParaRPr>
          </a:p>
          <a:p>
            <a:pPr algn="ctr">
              <a:spcBef>
                <a:spcPts val="0"/>
              </a:spcBef>
            </a:pP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/>
            </a:r>
            <a:b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1100" b="1" dirty="0" smtClean="0">
                <a:solidFill>
                  <a:srgbClr val="FFFFFF"/>
                </a:solidFill>
                <a:latin typeface="Trebuchet MS" pitchFamily="34" charset="0"/>
              </a:rPr>
              <a:t>AVAILABLE</a:t>
            </a:r>
            <a:endParaRPr lang="mr-IN" sz="1100" b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1" name="ZoneTexte 60"/>
          <p:cNvSpPr txBox="1"/>
          <p:nvPr/>
        </p:nvSpPr>
        <p:spPr>
          <a:xfrm>
            <a:off x="5137197" y="3747298"/>
            <a:ext cx="21816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400" b="1" dirty="0" smtClean="0">
                <a:solidFill>
                  <a:srgbClr val="FFFFFF"/>
                </a:solidFill>
                <a:latin typeface="Trebuchet MS" pitchFamily="34" charset="0"/>
              </a:rPr>
              <a:t>CONNECT AND DEPLOY YOUR APP</a:t>
            </a:r>
          </a:p>
          <a:p>
            <a:pPr algn="ctr">
              <a:spcBef>
                <a:spcPts val="0"/>
              </a:spcBef>
            </a:pPr>
            <a:endParaRPr lang="fr-FR" sz="900" b="1" dirty="0">
              <a:solidFill>
                <a:srgbClr val="FFFFFF"/>
              </a:solidFill>
              <a:latin typeface="Trebuchet MS" pitchFamily="34" charset="0"/>
            </a:endParaRPr>
          </a:p>
          <a:p>
            <a:pPr algn="ctr">
              <a:spcBef>
                <a:spcPts val="0"/>
              </a:spcBef>
            </a:pPr>
            <a:r>
              <a:rPr lang="fr-FR" sz="1100" b="1" dirty="0" smtClean="0">
                <a:solidFill>
                  <a:srgbClr val="FFFFFF"/>
                </a:solidFill>
                <a:latin typeface="Trebuchet MS" pitchFamily="34" charset="0"/>
              </a:rPr>
              <a:t>EOF’17</a:t>
            </a:r>
            <a:endParaRPr lang="mr-IN" sz="1100" b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7541338" y="3747298"/>
            <a:ext cx="12862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400" b="1" dirty="0" smtClean="0">
                <a:solidFill>
                  <a:srgbClr val="FFFFFF"/>
                </a:solidFill>
                <a:latin typeface="Trebuchet MS" pitchFamily="34" charset="0"/>
              </a:rPr>
              <a:t>GROW </a:t>
            </a:r>
          </a:p>
          <a:p>
            <a:pPr algn="ctr">
              <a:spcBef>
                <a:spcPts val="0"/>
              </a:spcBef>
            </a:pPr>
            <a:r>
              <a:rPr lang="fr-FR" sz="1400" b="1" dirty="0" smtClean="0">
                <a:solidFill>
                  <a:srgbClr val="FFFFFF"/>
                </a:solidFill>
                <a:latin typeface="Trebuchet MS" pitchFamily="34" charset="0"/>
              </a:rPr>
              <a:t>YOUR APP</a:t>
            </a:r>
          </a:p>
          <a:p>
            <a:pPr algn="ctr">
              <a:spcBef>
                <a:spcPts val="0"/>
              </a:spcBef>
            </a:pPr>
            <a:endParaRPr lang="fr-FR" sz="900" b="1" dirty="0">
              <a:solidFill>
                <a:srgbClr val="FFFFFF"/>
              </a:solidFill>
              <a:latin typeface="Trebuchet MS" pitchFamily="34" charset="0"/>
            </a:endParaRPr>
          </a:p>
          <a:p>
            <a:pPr algn="ctr">
              <a:spcBef>
                <a:spcPts val="0"/>
              </a:spcBef>
            </a:pPr>
            <a:r>
              <a:rPr lang="fr-FR" sz="1100" b="1" dirty="0" smtClean="0">
                <a:solidFill>
                  <a:srgbClr val="FFFFFF"/>
                </a:solidFill>
                <a:latin typeface="Trebuchet MS" pitchFamily="34" charset="0"/>
              </a:rPr>
              <a:t>Q1’18</a:t>
            </a:r>
            <a:endParaRPr lang="mr-IN" sz="1100" b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grpSp>
        <p:nvGrpSpPr>
          <p:cNvPr id="67" name="Group 92"/>
          <p:cNvGrpSpPr/>
          <p:nvPr/>
        </p:nvGrpSpPr>
        <p:grpSpPr>
          <a:xfrm>
            <a:off x="6233647" y="3152661"/>
            <a:ext cx="576232" cy="576232"/>
            <a:chOff x="2156490" y="2774869"/>
            <a:chExt cx="576232" cy="576232"/>
          </a:xfrm>
        </p:grpSpPr>
        <p:sp>
          <p:nvSpPr>
            <p:cNvPr id="68" name="Oval 38"/>
            <p:cNvSpPr/>
            <p:nvPr/>
          </p:nvSpPr>
          <p:spPr>
            <a:xfrm>
              <a:off x="2156490" y="2774869"/>
              <a:ext cx="576232" cy="576232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69" name="Oval 39"/>
            <p:cNvSpPr/>
            <p:nvPr/>
          </p:nvSpPr>
          <p:spPr>
            <a:xfrm>
              <a:off x="2221795" y="2837993"/>
              <a:ext cx="448718" cy="448718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70" name="TextBox 40"/>
            <p:cNvSpPr txBox="1"/>
            <p:nvPr/>
          </p:nvSpPr>
          <p:spPr>
            <a:xfrm>
              <a:off x="2172398" y="2835799"/>
              <a:ext cx="526415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4</a:t>
              </a:r>
            </a:p>
          </p:txBody>
        </p:sp>
      </p:grpSp>
      <p:cxnSp>
        <p:nvCxnSpPr>
          <p:cNvPr id="3" name="Connecteur droit avec flèche 2"/>
          <p:cNvCxnSpPr>
            <a:stCxn id="30" idx="6"/>
            <a:endCxn id="46" idx="2"/>
          </p:cNvCxnSpPr>
          <p:nvPr/>
        </p:nvCxnSpPr>
        <p:spPr bwMode="auto">
          <a:xfrm flipV="1">
            <a:off x="2920492" y="3440777"/>
            <a:ext cx="1074454" cy="1367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Connecteur droit avec flèche 75"/>
          <p:cNvCxnSpPr/>
          <p:nvPr/>
        </p:nvCxnSpPr>
        <p:spPr bwMode="auto">
          <a:xfrm flipV="1">
            <a:off x="4567942" y="3441162"/>
            <a:ext cx="1074454" cy="328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78" name="Connecteur droit avec flèche 77"/>
          <p:cNvCxnSpPr/>
          <p:nvPr/>
        </p:nvCxnSpPr>
        <p:spPr bwMode="auto">
          <a:xfrm flipV="1">
            <a:off x="6812525" y="3439854"/>
            <a:ext cx="1074454" cy="328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41" name="Rectangle 40"/>
          <p:cNvSpPr/>
          <p:nvPr/>
        </p:nvSpPr>
        <p:spPr>
          <a:xfrm>
            <a:off x="0" y="1688687"/>
            <a:ext cx="91439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200" b="1" dirty="0" smtClean="0">
                <a:solidFill>
                  <a:schemeClr val="bg1"/>
                </a:solidFill>
              </a:rPr>
              <a:t>https://</a:t>
            </a:r>
            <a:r>
              <a:rPr lang="fr-FR" sz="3200" b="1" dirty="0" err="1" smtClean="0">
                <a:solidFill>
                  <a:schemeClr val="bg1"/>
                </a:solidFill>
              </a:rPr>
              <a:t>hub.openrainbow.com</a:t>
            </a:r>
            <a:endParaRPr lang="fr-FR" sz="3200" b="1" dirty="0">
              <a:solidFill>
                <a:schemeClr val="bg1"/>
              </a:solidFill>
            </a:endParaRPr>
          </a:p>
        </p:txBody>
      </p:sp>
      <p:cxnSp>
        <p:nvCxnSpPr>
          <p:cNvPr id="43" name="Connecteur droit avec flèche 42"/>
          <p:cNvCxnSpPr/>
          <p:nvPr/>
        </p:nvCxnSpPr>
        <p:spPr bwMode="auto">
          <a:xfrm flipV="1">
            <a:off x="1266660" y="3447959"/>
            <a:ext cx="1074454" cy="1367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44" name="Group 4"/>
          <p:cNvGrpSpPr/>
          <p:nvPr/>
        </p:nvGrpSpPr>
        <p:grpSpPr>
          <a:xfrm>
            <a:off x="684458" y="3161011"/>
            <a:ext cx="578966" cy="578967"/>
            <a:chOff x="4365077" y="544671"/>
            <a:chExt cx="1238248" cy="1238248"/>
          </a:xfrm>
        </p:grpSpPr>
        <p:sp>
          <p:nvSpPr>
            <p:cNvPr id="52" name="Oval 18"/>
            <p:cNvSpPr/>
            <p:nvPr/>
          </p:nvSpPr>
          <p:spPr>
            <a:xfrm>
              <a:off x="4365077" y="544671"/>
              <a:ext cx="1238248" cy="1238248"/>
            </a:xfrm>
            <a:prstGeom prst="ellipse">
              <a:avLst/>
            </a:prstGeom>
            <a:solidFill>
              <a:schemeClr val="accent2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53" name="Oval 23"/>
            <p:cNvSpPr/>
            <p:nvPr/>
          </p:nvSpPr>
          <p:spPr>
            <a:xfrm>
              <a:off x="4501382" y="680976"/>
              <a:ext cx="964237" cy="964237"/>
            </a:xfrm>
            <a:prstGeom prst="ellipse">
              <a:avLst/>
            </a:prstGeom>
            <a:solidFill>
              <a:schemeClr val="accent2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54" name="TextBox 26"/>
            <p:cNvSpPr txBox="1"/>
            <p:nvPr/>
          </p:nvSpPr>
          <p:spPr>
            <a:xfrm>
              <a:off x="4417525" y="824330"/>
              <a:ext cx="1151234" cy="6582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You are here</a:t>
              </a:r>
            </a:p>
          </p:txBody>
        </p:sp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36" y="251682"/>
            <a:ext cx="7451593" cy="126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41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220494" y="176438"/>
            <a:ext cx="8668623" cy="32184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1800" b="0" dirty="0" smtClean="0">
                <a:solidFill>
                  <a:schemeClr val="bg1"/>
                </a:solidFill>
                <a:latin typeface="+mj-lt"/>
              </a:rPr>
              <a:t>DEVELOPERS STARTING POINT</a:t>
            </a:r>
            <a:endParaRPr lang="en-US" sz="1800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7" name="Rectangle 54"/>
          <p:cNvSpPr/>
          <p:nvPr/>
        </p:nvSpPr>
        <p:spPr>
          <a:xfrm>
            <a:off x="698563" y="978488"/>
            <a:ext cx="6143214" cy="30008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pPr algn="l"/>
            <a:r>
              <a:rPr lang="fr-FR" sz="1350" dirty="0" err="1" smtClean="0"/>
              <a:t>Ask</a:t>
            </a:r>
            <a:r>
              <a:rPr lang="fr-FR" sz="1350" dirty="0" smtClean="0"/>
              <a:t> Emily for a </a:t>
            </a:r>
            <a:r>
              <a:rPr lang="fr-FR" sz="1350" dirty="0" err="1" smtClean="0"/>
              <a:t>developer</a:t>
            </a:r>
            <a:r>
              <a:rPr lang="fr-FR" sz="1350" dirty="0" smtClean="0"/>
              <a:t> </a:t>
            </a:r>
            <a:r>
              <a:rPr lang="fr-FR" sz="1350" dirty="0" err="1" smtClean="0"/>
              <a:t>account</a:t>
            </a:r>
            <a:endParaRPr sz="1350" dirty="0"/>
          </a:p>
        </p:txBody>
      </p:sp>
      <p:sp>
        <p:nvSpPr>
          <p:cNvPr id="78" name="Rectangle 77"/>
          <p:cNvSpPr/>
          <p:nvPr/>
        </p:nvSpPr>
        <p:spPr>
          <a:xfrm>
            <a:off x="3737944" y="960038"/>
            <a:ext cx="16962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 smtClean="0">
                <a:solidFill>
                  <a:schemeClr val="accent5"/>
                </a:solidFill>
              </a:rPr>
              <a:t>#support #api</a:t>
            </a:r>
            <a:endParaRPr lang="fr-FR" sz="1600" b="1" dirty="0">
              <a:solidFill>
                <a:schemeClr val="accent5"/>
              </a:solidFill>
            </a:endParaRPr>
          </a:p>
        </p:txBody>
      </p:sp>
      <p:grpSp>
        <p:nvGrpSpPr>
          <p:cNvPr id="104" name="Groupe 39"/>
          <p:cNvGrpSpPr/>
          <p:nvPr/>
        </p:nvGrpSpPr>
        <p:grpSpPr>
          <a:xfrm>
            <a:off x="1477060" y="3394146"/>
            <a:ext cx="1175941" cy="1551098"/>
            <a:chOff x="0" y="0"/>
            <a:chExt cx="3971206" cy="4963647"/>
          </a:xfrm>
        </p:grpSpPr>
        <p:sp>
          <p:nvSpPr>
            <p:cNvPr id="105" name="Rectangle 40"/>
            <p:cNvSpPr/>
            <p:nvPr/>
          </p:nvSpPr>
          <p:spPr>
            <a:xfrm>
              <a:off x="331535" y="4003359"/>
              <a:ext cx="3623590" cy="96028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45720" tIns="45720" rIns="45720" bIns="45720" numCol="1" anchor="t">
              <a:spAutoFit/>
            </a:bodyPr>
            <a:lstStyle>
              <a:lvl1pPr algn="ctr">
                <a:spcBef>
                  <a:spcPts val="2200"/>
                </a:spcBef>
                <a:defRPr sz="3600" b="1">
                  <a:solidFill>
                    <a:srgbClr val="FFFFFF"/>
                  </a:solidFill>
                </a:defRPr>
              </a:lvl1pPr>
            </a:lstStyle>
            <a:p>
              <a:r>
                <a:rPr lang="fr-FR" sz="1350" dirty="0" smtClean="0"/>
                <a:t>LEARN</a:t>
              </a:r>
              <a:endParaRPr sz="1350" dirty="0"/>
            </a:p>
          </p:txBody>
        </p:sp>
        <p:grpSp>
          <p:nvGrpSpPr>
            <p:cNvPr id="107" name="Group 7"/>
            <p:cNvGrpSpPr/>
            <p:nvPr/>
          </p:nvGrpSpPr>
          <p:grpSpPr>
            <a:xfrm>
              <a:off x="0" y="0"/>
              <a:ext cx="3971206" cy="3865579"/>
              <a:chOff x="0" y="0"/>
              <a:chExt cx="3971205" cy="3865578"/>
            </a:xfrm>
          </p:grpSpPr>
          <p:sp>
            <p:nvSpPr>
              <p:cNvPr id="112" name="Ellipse 111"/>
              <p:cNvSpPr/>
              <p:nvPr/>
            </p:nvSpPr>
            <p:spPr>
              <a:xfrm>
                <a:off x="-1" y="-1"/>
                <a:ext cx="3971207" cy="3865580"/>
              </a:xfrm>
              <a:prstGeom prst="ellipse">
                <a:avLst/>
              </a:prstGeom>
              <a:solidFill>
                <a:srgbClr val="FFFFFF">
                  <a:alpha val="34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 algn="ctr">
                  <a:defRPr sz="3600" b="1"/>
                </a:pPr>
                <a:endParaRPr sz="1350"/>
              </a:p>
            </p:txBody>
          </p:sp>
          <p:sp>
            <p:nvSpPr>
              <p:cNvPr id="113" name="Ellipse 7"/>
              <p:cNvSpPr/>
              <p:nvPr/>
            </p:nvSpPr>
            <p:spPr>
              <a:xfrm>
                <a:off x="448280" y="427398"/>
                <a:ext cx="3074641" cy="2992859"/>
              </a:xfrm>
              <a:prstGeom prst="ellipse">
                <a:avLst/>
              </a:prstGeom>
              <a:solidFill>
                <a:srgbClr val="CF007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 algn="ctr">
                  <a:defRPr sz="3600" b="1"/>
                </a:pPr>
                <a:endParaRPr sz="1350"/>
              </a:p>
            </p:txBody>
          </p:sp>
        </p:grpSp>
        <p:grpSp>
          <p:nvGrpSpPr>
            <p:cNvPr id="109" name="Groupe 210"/>
            <p:cNvGrpSpPr/>
            <p:nvPr/>
          </p:nvGrpSpPr>
          <p:grpSpPr>
            <a:xfrm>
              <a:off x="981642" y="919253"/>
              <a:ext cx="2101819" cy="1974307"/>
              <a:chOff x="0" y="0"/>
              <a:chExt cx="2101817" cy="1974305"/>
            </a:xfrm>
          </p:grpSpPr>
          <p:sp>
            <p:nvSpPr>
              <p:cNvPr id="110" name="Oval 5"/>
              <p:cNvSpPr/>
              <p:nvPr/>
            </p:nvSpPr>
            <p:spPr>
              <a:xfrm>
                <a:off x="750342" y="458471"/>
                <a:ext cx="149169" cy="144646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>
                  <a:defRPr sz="3600" b="1"/>
                </a:pPr>
                <a:endParaRPr sz="1350"/>
              </a:p>
            </p:txBody>
          </p:sp>
          <p:sp>
            <p:nvSpPr>
              <p:cNvPr id="111" name="Freeform 6"/>
              <p:cNvSpPr/>
              <p:nvPr/>
            </p:nvSpPr>
            <p:spPr>
              <a:xfrm>
                <a:off x="0" y="-1"/>
                <a:ext cx="2101818" cy="19743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15" h="21153" extrusionOk="0">
                    <a:moveTo>
                      <a:pt x="20206" y="10311"/>
                    </a:moveTo>
                    <a:cubicBezTo>
                      <a:pt x="19413" y="10081"/>
                      <a:pt x="18565" y="10512"/>
                      <a:pt x="18237" y="11288"/>
                    </a:cubicBezTo>
                    <a:cubicBezTo>
                      <a:pt x="15858" y="10656"/>
                      <a:pt x="15858" y="10656"/>
                      <a:pt x="15858" y="10656"/>
                    </a:cubicBezTo>
                    <a:cubicBezTo>
                      <a:pt x="15913" y="10368"/>
                      <a:pt x="15940" y="10081"/>
                      <a:pt x="15940" y="9794"/>
                    </a:cubicBezTo>
                    <a:cubicBezTo>
                      <a:pt x="15940" y="7554"/>
                      <a:pt x="14546" y="5629"/>
                      <a:pt x="12605" y="4940"/>
                    </a:cubicBezTo>
                    <a:cubicBezTo>
                      <a:pt x="13206" y="3130"/>
                      <a:pt x="13206" y="3130"/>
                      <a:pt x="13206" y="3130"/>
                    </a:cubicBezTo>
                    <a:cubicBezTo>
                      <a:pt x="13944" y="3245"/>
                      <a:pt x="14655" y="2786"/>
                      <a:pt x="14874" y="2010"/>
                    </a:cubicBezTo>
                    <a:cubicBezTo>
                      <a:pt x="15093" y="1177"/>
                      <a:pt x="14628" y="287"/>
                      <a:pt x="13835" y="57"/>
                    </a:cubicBezTo>
                    <a:cubicBezTo>
                      <a:pt x="13042" y="-173"/>
                      <a:pt x="12194" y="315"/>
                      <a:pt x="11976" y="1148"/>
                    </a:cubicBezTo>
                    <a:cubicBezTo>
                      <a:pt x="11784" y="1866"/>
                      <a:pt x="12085" y="2613"/>
                      <a:pt x="12687" y="2958"/>
                    </a:cubicBezTo>
                    <a:cubicBezTo>
                      <a:pt x="12085" y="4796"/>
                      <a:pt x="12085" y="4796"/>
                      <a:pt x="12085" y="4796"/>
                    </a:cubicBezTo>
                    <a:cubicBezTo>
                      <a:pt x="11757" y="4739"/>
                      <a:pt x="11429" y="4681"/>
                      <a:pt x="11073" y="4681"/>
                    </a:cubicBezTo>
                    <a:cubicBezTo>
                      <a:pt x="10745" y="4681"/>
                      <a:pt x="10445" y="4710"/>
                      <a:pt x="10144" y="4767"/>
                    </a:cubicBezTo>
                    <a:cubicBezTo>
                      <a:pt x="10226" y="5026"/>
                      <a:pt x="10281" y="5284"/>
                      <a:pt x="10281" y="5572"/>
                    </a:cubicBezTo>
                    <a:cubicBezTo>
                      <a:pt x="10281" y="6692"/>
                      <a:pt x="9406" y="7611"/>
                      <a:pt x="8339" y="7611"/>
                    </a:cubicBezTo>
                    <a:cubicBezTo>
                      <a:pt x="7820" y="7611"/>
                      <a:pt x="7328" y="7381"/>
                      <a:pt x="6972" y="7037"/>
                    </a:cubicBezTo>
                    <a:cubicBezTo>
                      <a:pt x="6808" y="7295"/>
                      <a:pt x="6699" y="7554"/>
                      <a:pt x="6589" y="7841"/>
                    </a:cubicBezTo>
                    <a:cubicBezTo>
                      <a:pt x="4894" y="7266"/>
                      <a:pt x="4894" y="7266"/>
                      <a:pt x="4894" y="7266"/>
                    </a:cubicBezTo>
                    <a:cubicBezTo>
                      <a:pt x="4949" y="7094"/>
                      <a:pt x="4949" y="6922"/>
                      <a:pt x="4949" y="6721"/>
                    </a:cubicBezTo>
                    <a:cubicBezTo>
                      <a:pt x="4949" y="5284"/>
                      <a:pt x="3855" y="4136"/>
                      <a:pt x="2488" y="4136"/>
                    </a:cubicBezTo>
                    <a:cubicBezTo>
                      <a:pt x="1121" y="4136"/>
                      <a:pt x="0" y="5284"/>
                      <a:pt x="0" y="6721"/>
                    </a:cubicBezTo>
                    <a:cubicBezTo>
                      <a:pt x="0" y="8186"/>
                      <a:pt x="1121" y="9334"/>
                      <a:pt x="2488" y="9334"/>
                    </a:cubicBezTo>
                    <a:cubicBezTo>
                      <a:pt x="3472" y="9334"/>
                      <a:pt x="4320" y="8703"/>
                      <a:pt x="4730" y="7812"/>
                    </a:cubicBezTo>
                    <a:cubicBezTo>
                      <a:pt x="6398" y="8387"/>
                      <a:pt x="6398" y="8387"/>
                      <a:pt x="6398" y="8387"/>
                    </a:cubicBezTo>
                    <a:cubicBezTo>
                      <a:pt x="6261" y="8846"/>
                      <a:pt x="6207" y="9306"/>
                      <a:pt x="6207" y="9794"/>
                    </a:cubicBezTo>
                    <a:cubicBezTo>
                      <a:pt x="6207" y="10570"/>
                      <a:pt x="6371" y="11316"/>
                      <a:pt x="6671" y="11977"/>
                    </a:cubicBezTo>
                    <a:cubicBezTo>
                      <a:pt x="4074" y="13729"/>
                      <a:pt x="4074" y="13729"/>
                      <a:pt x="4074" y="13729"/>
                    </a:cubicBezTo>
                    <a:cubicBezTo>
                      <a:pt x="3965" y="13614"/>
                      <a:pt x="3828" y="13528"/>
                      <a:pt x="3664" y="13471"/>
                    </a:cubicBezTo>
                    <a:cubicBezTo>
                      <a:pt x="3117" y="13298"/>
                      <a:pt x="2543" y="13643"/>
                      <a:pt x="2379" y="14217"/>
                    </a:cubicBezTo>
                    <a:cubicBezTo>
                      <a:pt x="2215" y="14792"/>
                      <a:pt x="2543" y="15395"/>
                      <a:pt x="3090" y="15567"/>
                    </a:cubicBezTo>
                    <a:cubicBezTo>
                      <a:pt x="3636" y="15740"/>
                      <a:pt x="4211" y="15395"/>
                      <a:pt x="4375" y="14821"/>
                    </a:cubicBezTo>
                    <a:cubicBezTo>
                      <a:pt x="4429" y="14620"/>
                      <a:pt x="4402" y="14390"/>
                      <a:pt x="4347" y="14189"/>
                    </a:cubicBezTo>
                    <a:cubicBezTo>
                      <a:pt x="6945" y="12494"/>
                      <a:pt x="6945" y="12494"/>
                      <a:pt x="6945" y="12494"/>
                    </a:cubicBezTo>
                    <a:cubicBezTo>
                      <a:pt x="7710" y="13787"/>
                      <a:pt x="8995" y="14677"/>
                      <a:pt x="10472" y="14849"/>
                    </a:cubicBezTo>
                    <a:cubicBezTo>
                      <a:pt x="10445" y="17262"/>
                      <a:pt x="10445" y="17262"/>
                      <a:pt x="10445" y="17262"/>
                    </a:cubicBezTo>
                    <a:cubicBezTo>
                      <a:pt x="10253" y="17291"/>
                      <a:pt x="10062" y="17348"/>
                      <a:pt x="9870" y="17463"/>
                    </a:cubicBezTo>
                    <a:cubicBezTo>
                      <a:pt x="8941" y="17951"/>
                      <a:pt x="8585" y="19129"/>
                      <a:pt x="9050" y="20106"/>
                    </a:cubicBezTo>
                    <a:cubicBezTo>
                      <a:pt x="9515" y="21054"/>
                      <a:pt x="10663" y="21427"/>
                      <a:pt x="11566" y="20939"/>
                    </a:cubicBezTo>
                    <a:cubicBezTo>
                      <a:pt x="12495" y="20450"/>
                      <a:pt x="12851" y="19273"/>
                      <a:pt x="12386" y="18296"/>
                    </a:cubicBezTo>
                    <a:cubicBezTo>
                      <a:pt x="12085" y="17722"/>
                      <a:pt x="11566" y="17348"/>
                      <a:pt x="10991" y="17262"/>
                    </a:cubicBezTo>
                    <a:cubicBezTo>
                      <a:pt x="11019" y="14907"/>
                      <a:pt x="11019" y="14907"/>
                      <a:pt x="11019" y="14907"/>
                    </a:cubicBezTo>
                    <a:cubicBezTo>
                      <a:pt x="11046" y="14907"/>
                      <a:pt x="11046" y="14907"/>
                      <a:pt x="11073" y="14907"/>
                    </a:cubicBezTo>
                    <a:cubicBezTo>
                      <a:pt x="13288" y="14907"/>
                      <a:pt x="15147" y="13356"/>
                      <a:pt x="15749" y="11201"/>
                    </a:cubicBezTo>
                    <a:cubicBezTo>
                      <a:pt x="18100" y="11833"/>
                      <a:pt x="18100" y="11833"/>
                      <a:pt x="18100" y="11833"/>
                    </a:cubicBezTo>
                    <a:cubicBezTo>
                      <a:pt x="18046" y="12666"/>
                      <a:pt x="18538" y="13442"/>
                      <a:pt x="19303" y="13672"/>
                    </a:cubicBezTo>
                    <a:cubicBezTo>
                      <a:pt x="20178" y="13930"/>
                      <a:pt x="21108" y="13384"/>
                      <a:pt x="21354" y="12465"/>
                    </a:cubicBezTo>
                    <a:cubicBezTo>
                      <a:pt x="21600" y="11546"/>
                      <a:pt x="21081" y="10570"/>
                      <a:pt x="20206" y="10311"/>
                    </a:cubicBezTo>
                    <a:close/>
                    <a:moveTo>
                      <a:pt x="10308" y="13126"/>
                    </a:moveTo>
                    <a:cubicBezTo>
                      <a:pt x="8148" y="9536"/>
                      <a:pt x="8148" y="9536"/>
                      <a:pt x="8148" y="9536"/>
                    </a:cubicBezTo>
                    <a:cubicBezTo>
                      <a:pt x="9378" y="9536"/>
                      <a:pt x="9378" y="9536"/>
                      <a:pt x="9378" y="9536"/>
                    </a:cubicBezTo>
                    <a:cubicBezTo>
                      <a:pt x="10198" y="11230"/>
                      <a:pt x="10198" y="11230"/>
                      <a:pt x="10198" y="11230"/>
                    </a:cubicBezTo>
                    <a:cubicBezTo>
                      <a:pt x="10226" y="11230"/>
                      <a:pt x="10226" y="11230"/>
                      <a:pt x="10226" y="11230"/>
                    </a:cubicBezTo>
                    <a:cubicBezTo>
                      <a:pt x="12605" y="7381"/>
                      <a:pt x="12605" y="7381"/>
                      <a:pt x="12605" y="7381"/>
                    </a:cubicBezTo>
                    <a:cubicBezTo>
                      <a:pt x="13808" y="7381"/>
                      <a:pt x="13808" y="7381"/>
                      <a:pt x="13808" y="7381"/>
                    </a:cubicBezTo>
                    <a:lnTo>
                      <a:pt x="10308" y="13126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pPr>
                  <a:defRPr sz="3600" b="1"/>
                </a:pPr>
                <a:endParaRPr sz="1350"/>
              </a:p>
            </p:txBody>
          </p:sp>
        </p:grpSp>
      </p:grpSp>
      <p:grpSp>
        <p:nvGrpSpPr>
          <p:cNvPr id="137" name="Groupe 111"/>
          <p:cNvGrpSpPr/>
          <p:nvPr/>
        </p:nvGrpSpPr>
        <p:grpSpPr>
          <a:xfrm>
            <a:off x="3535694" y="3396549"/>
            <a:ext cx="1419370" cy="1535348"/>
            <a:chOff x="0" y="0"/>
            <a:chExt cx="4680522" cy="4930193"/>
          </a:xfrm>
        </p:grpSpPr>
        <p:grpSp>
          <p:nvGrpSpPr>
            <p:cNvPr id="138" name="Groupe 18"/>
            <p:cNvGrpSpPr/>
            <p:nvPr/>
          </p:nvGrpSpPr>
          <p:grpSpPr>
            <a:xfrm>
              <a:off x="0" y="0"/>
              <a:ext cx="4680522" cy="4930193"/>
              <a:chOff x="0" y="0"/>
              <a:chExt cx="4680521" cy="4930192"/>
            </a:xfrm>
          </p:grpSpPr>
          <p:sp>
            <p:nvSpPr>
              <p:cNvPr id="162" name="Rectangle 63"/>
              <p:cNvSpPr/>
              <p:nvPr/>
            </p:nvSpPr>
            <p:spPr>
              <a:xfrm>
                <a:off x="0" y="4003359"/>
                <a:ext cx="4680521" cy="926833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square" lIns="45720" tIns="45720" rIns="45720" bIns="45720" numCol="1" anchor="t">
                <a:spAutoFit/>
              </a:bodyPr>
              <a:lstStyle>
                <a:lvl1pPr algn="ctr">
                  <a:spcBef>
                    <a:spcPts val="2200"/>
                  </a:spcBef>
                  <a:defRPr sz="36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fr-FR" sz="1350" dirty="0" smtClean="0"/>
                  <a:t>EXPERIMENT</a:t>
                </a:r>
                <a:endParaRPr sz="1350" dirty="0"/>
              </a:p>
            </p:txBody>
          </p:sp>
          <p:grpSp>
            <p:nvGrpSpPr>
              <p:cNvPr id="163" name="Group 7"/>
              <p:cNvGrpSpPr/>
              <p:nvPr/>
            </p:nvGrpSpPr>
            <p:grpSpPr>
              <a:xfrm>
                <a:off x="205566" y="0"/>
                <a:ext cx="3971209" cy="3865580"/>
                <a:chOff x="-1" y="0"/>
                <a:chExt cx="3971207" cy="3865579"/>
              </a:xfrm>
            </p:grpSpPr>
            <p:sp>
              <p:nvSpPr>
                <p:cNvPr id="164" name="Ellipse 7"/>
                <p:cNvSpPr/>
                <p:nvPr/>
              </p:nvSpPr>
              <p:spPr>
                <a:xfrm>
                  <a:off x="-1" y="0"/>
                  <a:ext cx="3971207" cy="3865579"/>
                </a:xfrm>
                <a:prstGeom prst="ellipse">
                  <a:avLst/>
                </a:prstGeom>
                <a:solidFill>
                  <a:srgbClr val="FFFFFF">
                    <a:alpha val="34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20" tIns="45720" rIns="45720" bIns="45720" numCol="1" anchor="ctr">
                  <a:no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165" name="Ellipse 7"/>
                <p:cNvSpPr/>
                <p:nvPr/>
              </p:nvSpPr>
              <p:spPr>
                <a:xfrm>
                  <a:off x="443765" y="431479"/>
                  <a:ext cx="3074639" cy="2992859"/>
                </a:xfrm>
                <a:prstGeom prst="ellipse">
                  <a:avLst/>
                </a:prstGeom>
                <a:solidFill>
                  <a:schemeClr val="accent1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20" tIns="45720" rIns="45720" bIns="45720" numCol="1" anchor="ctr">
                  <a:noAutofit/>
                </a:bodyPr>
                <a:lstStyle/>
                <a:p>
                  <a:pPr algn="ctr"/>
                  <a:endParaRPr/>
                </a:p>
              </p:txBody>
            </p:sp>
          </p:grpSp>
        </p:grpSp>
        <p:grpSp>
          <p:nvGrpSpPr>
            <p:cNvPr id="139" name="Group 126"/>
            <p:cNvGrpSpPr/>
            <p:nvPr/>
          </p:nvGrpSpPr>
          <p:grpSpPr>
            <a:xfrm>
              <a:off x="840096" y="811653"/>
              <a:ext cx="2520076" cy="1892946"/>
              <a:chOff x="0" y="0"/>
              <a:chExt cx="2520075" cy="1892945"/>
            </a:xfrm>
          </p:grpSpPr>
          <p:sp>
            <p:nvSpPr>
              <p:cNvPr id="140" name="Freeform 17"/>
              <p:cNvSpPr/>
              <p:nvPr/>
            </p:nvSpPr>
            <p:spPr>
              <a:xfrm>
                <a:off x="933938" y="510694"/>
                <a:ext cx="122558" cy="1225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693" h="20693" extrusionOk="0">
                    <a:moveTo>
                      <a:pt x="9711" y="20693"/>
                    </a:moveTo>
                    <a:cubicBezTo>
                      <a:pt x="15137" y="20693"/>
                      <a:pt x="20529" y="16373"/>
                      <a:pt x="20529" y="10947"/>
                    </a:cubicBezTo>
                    <a:cubicBezTo>
                      <a:pt x="21600" y="5556"/>
                      <a:pt x="17280" y="164"/>
                      <a:pt x="11889" y="164"/>
                    </a:cubicBezTo>
                    <a:cubicBezTo>
                      <a:pt x="5391" y="-907"/>
                      <a:pt x="1071" y="3413"/>
                      <a:pt x="0" y="8804"/>
                    </a:cubicBezTo>
                    <a:cubicBezTo>
                      <a:pt x="0" y="15302"/>
                      <a:pt x="4320" y="19622"/>
                      <a:pt x="9711" y="20693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41" name="Freeform 18"/>
              <p:cNvSpPr/>
              <p:nvPr/>
            </p:nvSpPr>
            <p:spPr>
              <a:xfrm>
                <a:off x="339285" y="585878"/>
                <a:ext cx="425193" cy="38358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38" h="21266" extrusionOk="0">
                    <a:moveTo>
                      <a:pt x="7087" y="3686"/>
                    </a:moveTo>
                    <a:cubicBezTo>
                      <a:pt x="5477" y="2269"/>
                      <a:pt x="3548" y="2621"/>
                      <a:pt x="2259" y="3686"/>
                    </a:cubicBezTo>
                    <a:cubicBezTo>
                      <a:pt x="970" y="4389"/>
                      <a:pt x="0" y="6158"/>
                      <a:pt x="0" y="7938"/>
                    </a:cubicBezTo>
                    <a:cubicBezTo>
                      <a:pt x="0" y="9707"/>
                      <a:pt x="640" y="11125"/>
                      <a:pt x="2259" y="12190"/>
                    </a:cubicBezTo>
                    <a:cubicBezTo>
                      <a:pt x="1289" y="12190"/>
                      <a:pt x="640" y="13245"/>
                      <a:pt x="640" y="14311"/>
                    </a:cubicBezTo>
                    <a:cubicBezTo>
                      <a:pt x="320" y="15377"/>
                      <a:pt x="640" y="16442"/>
                      <a:pt x="970" y="17145"/>
                    </a:cubicBezTo>
                    <a:cubicBezTo>
                      <a:pt x="1289" y="18211"/>
                      <a:pt x="1929" y="19629"/>
                      <a:pt x="2899" y="19980"/>
                    </a:cubicBezTo>
                    <a:cubicBezTo>
                      <a:pt x="3548" y="20683"/>
                      <a:pt x="4508" y="21035"/>
                      <a:pt x="5477" y="21035"/>
                    </a:cubicBezTo>
                    <a:cubicBezTo>
                      <a:pt x="6767" y="21386"/>
                      <a:pt x="8376" y="21386"/>
                      <a:pt x="9985" y="20683"/>
                    </a:cubicBezTo>
                    <a:cubicBezTo>
                      <a:pt x="11285" y="19980"/>
                      <a:pt x="12574" y="18563"/>
                      <a:pt x="12894" y="17145"/>
                    </a:cubicBezTo>
                    <a:cubicBezTo>
                      <a:pt x="13864" y="17860"/>
                      <a:pt x="15473" y="17497"/>
                      <a:pt x="16442" y="16442"/>
                    </a:cubicBezTo>
                    <a:cubicBezTo>
                      <a:pt x="17082" y="15025"/>
                      <a:pt x="17082" y="13245"/>
                      <a:pt x="16442" y="12190"/>
                    </a:cubicBezTo>
                    <a:cubicBezTo>
                      <a:pt x="17402" y="12190"/>
                      <a:pt x="18371" y="11828"/>
                      <a:pt x="19341" y="11125"/>
                    </a:cubicBezTo>
                    <a:cubicBezTo>
                      <a:pt x="19981" y="10059"/>
                      <a:pt x="20630" y="9356"/>
                      <a:pt x="20950" y="8290"/>
                    </a:cubicBezTo>
                    <a:cubicBezTo>
                      <a:pt x="21600" y="6521"/>
                      <a:pt x="21600" y="4741"/>
                      <a:pt x="20950" y="3324"/>
                    </a:cubicBezTo>
                    <a:cubicBezTo>
                      <a:pt x="20311" y="1555"/>
                      <a:pt x="19011" y="489"/>
                      <a:pt x="17732" y="137"/>
                    </a:cubicBezTo>
                    <a:cubicBezTo>
                      <a:pt x="16442" y="-214"/>
                      <a:pt x="15473" y="137"/>
                      <a:pt x="14503" y="852"/>
                    </a:cubicBezTo>
                    <a:cubicBezTo>
                      <a:pt x="13534" y="1203"/>
                      <a:pt x="12574" y="1906"/>
                      <a:pt x="11605" y="2621"/>
                    </a:cubicBezTo>
                    <a:cubicBezTo>
                      <a:pt x="11605" y="2269"/>
                      <a:pt x="11605" y="1555"/>
                      <a:pt x="11285" y="1203"/>
                    </a:cubicBezTo>
                    <a:cubicBezTo>
                      <a:pt x="10635" y="489"/>
                      <a:pt x="10315" y="137"/>
                      <a:pt x="9665" y="137"/>
                    </a:cubicBezTo>
                    <a:cubicBezTo>
                      <a:pt x="9026" y="137"/>
                      <a:pt x="8056" y="852"/>
                      <a:pt x="7736" y="1203"/>
                    </a:cubicBezTo>
                    <a:cubicBezTo>
                      <a:pt x="7087" y="1906"/>
                      <a:pt x="7087" y="2621"/>
                      <a:pt x="7087" y="3686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42" name="Freeform 19"/>
              <p:cNvSpPr/>
              <p:nvPr/>
            </p:nvSpPr>
            <p:spPr>
              <a:xfrm>
                <a:off x="2122817" y="231003"/>
                <a:ext cx="397259" cy="3621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284" h="21471" extrusionOk="0">
                    <a:moveTo>
                      <a:pt x="9634" y="2656"/>
                    </a:moveTo>
                    <a:cubicBezTo>
                      <a:pt x="9283" y="1892"/>
                      <a:pt x="8603" y="1516"/>
                      <a:pt x="7571" y="1140"/>
                    </a:cubicBezTo>
                    <a:cubicBezTo>
                      <a:pt x="6540" y="764"/>
                      <a:pt x="5860" y="764"/>
                      <a:pt x="4829" y="1140"/>
                    </a:cubicBezTo>
                    <a:cubicBezTo>
                      <a:pt x="3458" y="1892"/>
                      <a:pt x="3458" y="3408"/>
                      <a:pt x="3458" y="4924"/>
                    </a:cubicBezTo>
                    <a:cubicBezTo>
                      <a:pt x="2086" y="5688"/>
                      <a:pt x="1055" y="6828"/>
                      <a:pt x="375" y="7956"/>
                    </a:cubicBezTo>
                    <a:cubicBezTo>
                      <a:pt x="-316" y="9472"/>
                      <a:pt x="35" y="10988"/>
                      <a:pt x="715" y="12504"/>
                    </a:cubicBezTo>
                    <a:cubicBezTo>
                      <a:pt x="1406" y="14784"/>
                      <a:pt x="3458" y="16300"/>
                      <a:pt x="5860" y="15924"/>
                    </a:cubicBezTo>
                    <a:cubicBezTo>
                      <a:pt x="5520" y="17052"/>
                      <a:pt x="5520" y="17816"/>
                      <a:pt x="5860" y="18956"/>
                    </a:cubicBezTo>
                    <a:cubicBezTo>
                      <a:pt x="6200" y="19708"/>
                      <a:pt x="6540" y="20460"/>
                      <a:pt x="7231" y="20848"/>
                    </a:cubicBezTo>
                    <a:cubicBezTo>
                      <a:pt x="8263" y="21600"/>
                      <a:pt x="9634" y="21600"/>
                      <a:pt x="10654" y="21224"/>
                    </a:cubicBezTo>
                    <a:cubicBezTo>
                      <a:pt x="11685" y="20848"/>
                      <a:pt x="12376" y="20084"/>
                      <a:pt x="13056" y="18956"/>
                    </a:cubicBezTo>
                    <a:cubicBezTo>
                      <a:pt x="14428" y="20848"/>
                      <a:pt x="16490" y="21224"/>
                      <a:pt x="18541" y="20460"/>
                    </a:cubicBezTo>
                    <a:cubicBezTo>
                      <a:pt x="20253" y="19332"/>
                      <a:pt x="21284" y="17052"/>
                      <a:pt x="21284" y="14784"/>
                    </a:cubicBezTo>
                    <a:cubicBezTo>
                      <a:pt x="20944" y="12504"/>
                      <a:pt x="19573" y="10612"/>
                      <a:pt x="17510" y="9860"/>
                    </a:cubicBezTo>
                    <a:cubicBezTo>
                      <a:pt x="19233" y="9472"/>
                      <a:pt x="20253" y="7580"/>
                      <a:pt x="20253" y="6064"/>
                    </a:cubicBezTo>
                    <a:cubicBezTo>
                      <a:pt x="20253" y="4172"/>
                      <a:pt x="19573" y="2656"/>
                      <a:pt x="18541" y="1516"/>
                    </a:cubicBezTo>
                    <a:cubicBezTo>
                      <a:pt x="17170" y="376"/>
                      <a:pt x="15459" y="0"/>
                      <a:pt x="13748" y="0"/>
                    </a:cubicBezTo>
                    <a:cubicBezTo>
                      <a:pt x="12376" y="0"/>
                      <a:pt x="10654" y="1516"/>
                      <a:pt x="9634" y="2656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43" name="Freeform 20"/>
              <p:cNvSpPr/>
              <p:nvPr/>
            </p:nvSpPr>
            <p:spPr>
              <a:xfrm>
                <a:off x="1863114" y="1411412"/>
                <a:ext cx="330078" cy="32677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642" h="19042" extrusionOk="0">
                    <a:moveTo>
                      <a:pt x="11044" y="3081"/>
                    </a:moveTo>
                    <a:cubicBezTo>
                      <a:pt x="10648" y="-638"/>
                      <a:pt x="6246" y="-638"/>
                      <a:pt x="3853" y="1222"/>
                    </a:cubicBezTo>
                    <a:cubicBezTo>
                      <a:pt x="1051" y="2712"/>
                      <a:pt x="257" y="6443"/>
                      <a:pt x="2253" y="8672"/>
                    </a:cubicBezTo>
                    <a:cubicBezTo>
                      <a:pt x="654" y="9423"/>
                      <a:pt x="-549" y="11652"/>
                      <a:pt x="257" y="13142"/>
                    </a:cubicBezTo>
                    <a:cubicBezTo>
                      <a:pt x="654" y="13893"/>
                      <a:pt x="1447" y="14632"/>
                      <a:pt x="2253" y="15002"/>
                    </a:cubicBezTo>
                    <a:cubicBezTo>
                      <a:pt x="3047" y="15371"/>
                      <a:pt x="3047" y="15002"/>
                      <a:pt x="3456" y="15753"/>
                    </a:cubicBezTo>
                    <a:cubicBezTo>
                      <a:pt x="3853" y="16122"/>
                      <a:pt x="3853" y="16492"/>
                      <a:pt x="4250" y="16873"/>
                    </a:cubicBezTo>
                    <a:cubicBezTo>
                      <a:pt x="7449" y="20962"/>
                      <a:pt x="13053" y="18733"/>
                      <a:pt x="14243" y="14632"/>
                    </a:cubicBezTo>
                    <a:cubicBezTo>
                      <a:pt x="18645" y="15371"/>
                      <a:pt x="21051" y="11283"/>
                      <a:pt x="17442" y="8302"/>
                    </a:cubicBezTo>
                    <a:cubicBezTo>
                      <a:pt x="19042" y="8302"/>
                      <a:pt x="20642" y="7182"/>
                      <a:pt x="20642" y="5692"/>
                    </a:cubicBezTo>
                    <a:cubicBezTo>
                      <a:pt x="20642" y="4202"/>
                      <a:pt x="20245" y="3081"/>
                      <a:pt x="19042" y="1973"/>
                    </a:cubicBezTo>
                    <a:cubicBezTo>
                      <a:pt x="17046" y="101"/>
                      <a:pt x="12247" y="483"/>
                      <a:pt x="11044" y="3081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44" name="Freeform 21"/>
              <p:cNvSpPr/>
              <p:nvPr/>
            </p:nvSpPr>
            <p:spPr>
              <a:xfrm>
                <a:off x="78540" y="1576556"/>
                <a:ext cx="349875" cy="31578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742" h="19393" extrusionOk="0">
                    <a:moveTo>
                      <a:pt x="14678" y="6456"/>
                    </a:moveTo>
                    <a:cubicBezTo>
                      <a:pt x="16958" y="3705"/>
                      <a:pt x="13926" y="563"/>
                      <a:pt x="11270" y="174"/>
                    </a:cubicBezTo>
                    <a:cubicBezTo>
                      <a:pt x="8238" y="-618"/>
                      <a:pt x="5206" y="1355"/>
                      <a:pt x="4830" y="4886"/>
                    </a:cubicBezTo>
                    <a:cubicBezTo>
                      <a:pt x="2938" y="4094"/>
                      <a:pt x="658" y="4886"/>
                      <a:pt x="282" y="6846"/>
                    </a:cubicBezTo>
                    <a:cubicBezTo>
                      <a:pt x="-94" y="7637"/>
                      <a:pt x="-94" y="8417"/>
                      <a:pt x="282" y="9208"/>
                    </a:cubicBezTo>
                    <a:cubicBezTo>
                      <a:pt x="658" y="9987"/>
                      <a:pt x="658" y="9987"/>
                      <a:pt x="658" y="10779"/>
                    </a:cubicBezTo>
                    <a:cubicBezTo>
                      <a:pt x="282" y="11168"/>
                      <a:pt x="282" y="11558"/>
                      <a:pt x="282" y="12350"/>
                    </a:cubicBezTo>
                    <a:cubicBezTo>
                      <a:pt x="-858" y="17062"/>
                      <a:pt x="4830" y="19801"/>
                      <a:pt x="8238" y="17062"/>
                    </a:cubicBezTo>
                    <a:cubicBezTo>
                      <a:pt x="10894" y="20982"/>
                      <a:pt x="15054" y="19801"/>
                      <a:pt x="15442" y="14699"/>
                    </a:cubicBezTo>
                    <a:cubicBezTo>
                      <a:pt x="16194" y="16270"/>
                      <a:pt x="18098" y="16270"/>
                      <a:pt x="19226" y="15089"/>
                    </a:cubicBezTo>
                    <a:cubicBezTo>
                      <a:pt x="19990" y="14310"/>
                      <a:pt x="20742" y="13129"/>
                      <a:pt x="20742" y="11558"/>
                    </a:cubicBezTo>
                    <a:cubicBezTo>
                      <a:pt x="20742" y="8417"/>
                      <a:pt x="17334" y="5275"/>
                      <a:pt x="14678" y="6456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45" name="Freeform 22"/>
              <p:cNvSpPr/>
              <p:nvPr/>
            </p:nvSpPr>
            <p:spPr>
              <a:xfrm>
                <a:off x="397036" y="1413094"/>
                <a:ext cx="262382" cy="2434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970" y="0"/>
                    </a:moveTo>
                    <a:lnTo>
                      <a:pt x="0" y="21600"/>
                    </a:lnTo>
                    <a:lnTo>
                      <a:pt x="21600" y="1709"/>
                    </a:lnTo>
                    <a:lnTo>
                      <a:pt x="18970" y="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46" name="Freeform 23"/>
              <p:cNvSpPr/>
              <p:nvPr/>
            </p:nvSpPr>
            <p:spPr>
              <a:xfrm>
                <a:off x="370868" y="1342710"/>
                <a:ext cx="229897" cy="2109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619"/>
                    </a:moveTo>
                    <a:lnTo>
                      <a:pt x="0" y="21600"/>
                    </a:lnTo>
                    <a:lnTo>
                      <a:pt x="21005" y="0"/>
                    </a:lnTo>
                    <a:lnTo>
                      <a:pt x="21600" y="2619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47" name="Freeform 24"/>
              <p:cNvSpPr/>
              <p:nvPr/>
            </p:nvSpPr>
            <p:spPr>
              <a:xfrm>
                <a:off x="511635" y="1432946"/>
                <a:ext cx="210948" cy="2109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33" y="0"/>
                    </a:moveTo>
                    <a:lnTo>
                      <a:pt x="0" y="21600"/>
                    </a:lnTo>
                    <a:lnTo>
                      <a:pt x="21600" y="1969"/>
                    </a:lnTo>
                    <a:lnTo>
                      <a:pt x="19633" y="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48" name="Freeform 25"/>
              <p:cNvSpPr/>
              <p:nvPr/>
            </p:nvSpPr>
            <p:spPr>
              <a:xfrm>
                <a:off x="1586341" y="0"/>
                <a:ext cx="70181" cy="33276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776" y="21188"/>
                    </a:moveTo>
                    <a:lnTo>
                      <a:pt x="21600" y="0"/>
                    </a:lnTo>
                    <a:lnTo>
                      <a:pt x="0" y="21600"/>
                    </a:lnTo>
                    <a:lnTo>
                      <a:pt x="11776" y="21188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49" name="Freeform 26"/>
              <p:cNvSpPr/>
              <p:nvPr/>
            </p:nvSpPr>
            <p:spPr>
              <a:xfrm>
                <a:off x="1669358" y="64067"/>
                <a:ext cx="63863" cy="3065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0693"/>
                    </a:moveTo>
                    <a:lnTo>
                      <a:pt x="21600" y="0"/>
                    </a:lnTo>
                    <a:lnTo>
                      <a:pt x="8654" y="21600"/>
                    </a:lnTo>
                    <a:lnTo>
                      <a:pt x="0" y="20693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0" name="Freeform 27"/>
              <p:cNvSpPr/>
              <p:nvPr/>
            </p:nvSpPr>
            <p:spPr>
              <a:xfrm>
                <a:off x="1522274" y="70384"/>
                <a:ext cx="38597" cy="2876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21124"/>
                    </a:moveTo>
                    <a:lnTo>
                      <a:pt x="21600" y="0"/>
                    </a:lnTo>
                    <a:lnTo>
                      <a:pt x="0" y="21600"/>
                    </a:lnTo>
                    <a:lnTo>
                      <a:pt x="14362" y="21124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1" name="Freeform 28"/>
              <p:cNvSpPr/>
              <p:nvPr/>
            </p:nvSpPr>
            <p:spPr>
              <a:xfrm>
                <a:off x="2212576" y="1669364"/>
                <a:ext cx="191998" cy="1983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095"/>
                    </a:moveTo>
                    <a:lnTo>
                      <a:pt x="21600" y="21600"/>
                    </a:lnTo>
                    <a:lnTo>
                      <a:pt x="714" y="0"/>
                    </a:lnTo>
                    <a:lnTo>
                      <a:pt x="0" y="2095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2" name="Freeform 29"/>
              <p:cNvSpPr/>
              <p:nvPr/>
            </p:nvSpPr>
            <p:spPr>
              <a:xfrm>
                <a:off x="2167459" y="1700947"/>
                <a:ext cx="179364" cy="1919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20" y="0"/>
                    </a:moveTo>
                    <a:lnTo>
                      <a:pt x="21600" y="21600"/>
                    </a:lnTo>
                    <a:lnTo>
                      <a:pt x="0" y="715"/>
                    </a:lnTo>
                    <a:lnTo>
                      <a:pt x="2320" y="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3" name="Freeform 30"/>
              <p:cNvSpPr/>
              <p:nvPr/>
            </p:nvSpPr>
            <p:spPr>
              <a:xfrm>
                <a:off x="2218893" y="1611613"/>
                <a:ext cx="146881" cy="1405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951"/>
                    </a:moveTo>
                    <a:lnTo>
                      <a:pt x="21600" y="21600"/>
                    </a:lnTo>
                    <a:lnTo>
                      <a:pt x="961" y="0"/>
                    </a:lnTo>
                    <a:lnTo>
                      <a:pt x="0" y="2951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4" name="Freeform 31"/>
              <p:cNvSpPr/>
              <p:nvPr/>
            </p:nvSpPr>
            <p:spPr>
              <a:xfrm>
                <a:off x="0" y="480055"/>
                <a:ext cx="281331" cy="1856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8620"/>
                    </a:moveTo>
                    <a:lnTo>
                      <a:pt x="0" y="0"/>
                    </a:lnTo>
                    <a:lnTo>
                      <a:pt x="21098" y="21600"/>
                    </a:lnTo>
                    <a:lnTo>
                      <a:pt x="21600" y="1862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5" name="Freeform 32"/>
              <p:cNvSpPr/>
              <p:nvPr/>
            </p:nvSpPr>
            <p:spPr>
              <a:xfrm>
                <a:off x="102868" y="473738"/>
                <a:ext cx="217264" cy="1468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88" y="21600"/>
                    </a:moveTo>
                    <a:lnTo>
                      <a:pt x="0" y="0"/>
                    </a:lnTo>
                    <a:lnTo>
                      <a:pt x="21600" y="19737"/>
                    </a:lnTo>
                    <a:lnTo>
                      <a:pt x="19688" y="2160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6" name="Freeform 33"/>
              <p:cNvSpPr/>
              <p:nvPr/>
            </p:nvSpPr>
            <p:spPr>
              <a:xfrm>
                <a:off x="115501" y="614507"/>
                <a:ext cx="166732" cy="11529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5577"/>
                    </a:moveTo>
                    <a:lnTo>
                      <a:pt x="0" y="0"/>
                    </a:lnTo>
                    <a:lnTo>
                      <a:pt x="21600" y="21600"/>
                    </a:lnTo>
                    <a:lnTo>
                      <a:pt x="21600" y="15577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7" name="Freeform 34"/>
              <p:cNvSpPr/>
              <p:nvPr/>
            </p:nvSpPr>
            <p:spPr>
              <a:xfrm>
                <a:off x="2014058" y="537806"/>
                <a:ext cx="185682" cy="1405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977" y="21600"/>
                    </a:moveTo>
                    <a:lnTo>
                      <a:pt x="21600" y="0"/>
                    </a:lnTo>
                    <a:lnTo>
                      <a:pt x="0" y="17676"/>
                    </a:lnTo>
                    <a:lnTo>
                      <a:pt x="2977" y="2160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8" name="Freeform 35"/>
              <p:cNvSpPr/>
              <p:nvPr/>
            </p:nvSpPr>
            <p:spPr>
              <a:xfrm>
                <a:off x="2052859" y="594655"/>
                <a:ext cx="159514" cy="1279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7280"/>
                    </a:moveTo>
                    <a:lnTo>
                      <a:pt x="21600" y="0"/>
                    </a:lnTo>
                    <a:lnTo>
                      <a:pt x="857" y="21600"/>
                    </a:lnTo>
                    <a:lnTo>
                      <a:pt x="0" y="1728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59" name="Freeform 36"/>
              <p:cNvSpPr/>
              <p:nvPr/>
            </p:nvSpPr>
            <p:spPr>
              <a:xfrm>
                <a:off x="1957209" y="537806"/>
                <a:ext cx="153198" cy="11529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707" y="21600"/>
                    </a:moveTo>
                    <a:lnTo>
                      <a:pt x="21600" y="0"/>
                    </a:lnTo>
                    <a:lnTo>
                      <a:pt x="0" y="19183"/>
                    </a:lnTo>
                    <a:lnTo>
                      <a:pt x="2707" y="2160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60" name="Freeform 37"/>
              <p:cNvSpPr/>
              <p:nvPr/>
            </p:nvSpPr>
            <p:spPr>
              <a:xfrm>
                <a:off x="166935" y="1209161"/>
                <a:ext cx="306598" cy="1604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4337"/>
                    </a:moveTo>
                    <a:lnTo>
                      <a:pt x="0" y="21600"/>
                    </a:lnTo>
                    <a:lnTo>
                      <a:pt x="21600" y="0"/>
                    </a:lnTo>
                    <a:lnTo>
                      <a:pt x="21600" y="4337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  <p:sp>
            <p:nvSpPr>
              <p:cNvPr id="161" name="Freeform 38"/>
              <p:cNvSpPr/>
              <p:nvPr/>
            </p:nvSpPr>
            <p:spPr>
              <a:xfrm>
                <a:off x="530585" y="415987"/>
                <a:ext cx="1930838" cy="112503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237" y="8225"/>
                    </a:moveTo>
                    <a:cubicBezTo>
                      <a:pt x="16807" y="6383"/>
                      <a:pt x="15807" y="5036"/>
                      <a:pt x="14589" y="5036"/>
                    </a:cubicBezTo>
                    <a:cubicBezTo>
                      <a:pt x="14589" y="2211"/>
                      <a:pt x="13303" y="0"/>
                      <a:pt x="11657" y="0"/>
                    </a:cubicBezTo>
                    <a:cubicBezTo>
                      <a:pt x="10442" y="0"/>
                      <a:pt x="9439" y="1229"/>
                      <a:pt x="8940" y="2946"/>
                    </a:cubicBezTo>
                    <a:cubicBezTo>
                      <a:pt x="8439" y="2455"/>
                      <a:pt x="7798" y="2090"/>
                      <a:pt x="7153" y="2090"/>
                    </a:cubicBezTo>
                    <a:cubicBezTo>
                      <a:pt x="7011" y="2090"/>
                      <a:pt x="6940" y="2211"/>
                      <a:pt x="6796" y="2211"/>
                    </a:cubicBezTo>
                    <a:cubicBezTo>
                      <a:pt x="6867" y="2581"/>
                      <a:pt x="6867" y="2946"/>
                      <a:pt x="6867" y="3315"/>
                    </a:cubicBezTo>
                    <a:cubicBezTo>
                      <a:pt x="6796" y="4910"/>
                      <a:pt x="6008" y="6018"/>
                      <a:pt x="5079" y="5892"/>
                    </a:cubicBezTo>
                    <a:cubicBezTo>
                      <a:pt x="4651" y="5892"/>
                      <a:pt x="4292" y="5527"/>
                      <a:pt x="4006" y="5036"/>
                    </a:cubicBezTo>
                    <a:cubicBezTo>
                      <a:pt x="3935" y="5157"/>
                      <a:pt x="3935" y="5279"/>
                      <a:pt x="3864" y="5401"/>
                    </a:cubicBezTo>
                    <a:cubicBezTo>
                      <a:pt x="3507" y="6383"/>
                      <a:pt x="3291" y="7491"/>
                      <a:pt x="3291" y="8716"/>
                    </a:cubicBezTo>
                    <a:cubicBezTo>
                      <a:pt x="3291" y="8964"/>
                      <a:pt x="3291" y="9207"/>
                      <a:pt x="3362" y="9455"/>
                    </a:cubicBezTo>
                    <a:cubicBezTo>
                      <a:pt x="1360" y="10189"/>
                      <a:pt x="0" y="12149"/>
                      <a:pt x="0" y="14361"/>
                    </a:cubicBezTo>
                    <a:cubicBezTo>
                      <a:pt x="0" y="17428"/>
                      <a:pt x="2289" y="19762"/>
                      <a:pt x="5223" y="19762"/>
                    </a:cubicBezTo>
                    <a:cubicBezTo>
                      <a:pt x="6439" y="19762"/>
                      <a:pt x="7654" y="19271"/>
                      <a:pt x="8510" y="18532"/>
                    </a:cubicBezTo>
                    <a:cubicBezTo>
                      <a:pt x="9082" y="20374"/>
                      <a:pt x="10298" y="21600"/>
                      <a:pt x="11728" y="21600"/>
                    </a:cubicBezTo>
                    <a:cubicBezTo>
                      <a:pt x="13232" y="21600"/>
                      <a:pt x="14518" y="20127"/>
                      <a:pt x="15020" y="18163"/>
                    </a:cubicBezTo>
                    <a:cubicBezTo>
                      <a:pt x="15161" y="18163"/>
                      <a:pt x="16521" y="18163"/>
                      <a:pt x="16736" y="18163"/>
                    </a:cubicBezTo>
                    <a:cubicBezTo>
                      <a:pt x="19382" y="18163"/>
                      <a:pt x="21600" y="15955"/>
                      <a:pt x="21600" y="13253"/>
                    </a:cubicBezTo>
                    <a:cubicBezTo>
                      <a:pt x="21600" y="10676"/>
                      <a:pt x="19668" y="8473"/>
                      <a:pt x="17237" y="8225"/>
                    </a:cubicBezTo>
                    <a:close/>
                    <a:moveTo>
                      <a:pt x="12946" y="15095"/>
                    </a:moveTo>
                    <a:cubicBezTo>
                      <a:pt x="11300" y="13500"/>
                      <a:pt x="11300" y="13500"/>
                      <a:pt x="11300" y="13500"/>
                    </a:cubicBezTo>
                    <a:cubicBezTo>
                      <a:pt x="10870" y="16937"/>
                      <a:pt x="10870" y="16937"/>
                      <a:pt x="10870" y="16937"/>
                    </a:cubicBezTo>
                    <a:cubicBezTo>
                      <a:pt x="9725" y="13622"/>
                      <a:pt x="9725" y="13622"/>
                      <a:pt x="9725" y="13622"/>
                    </a:cubicBezTo>
                    <a:cubicBezTo>
                      <a:pt x="8295" y="15834"/>
                      <a:pt x="8295" y="15834"/>
                      <a:pt x="8295" y="15834"/>
                    </a:cubicBezTo>
                    <a:cubicBezTo>
                      <a:pt x="8510" y="12518"/>
                      <a:pt x="8510" y="12518"/>
                      <a:pt x="8510" y="12518"/>
                    </a:cubicBezTo>
                    <a:cubicBezTo>
                      <a:pt x="6510" y="13009"/>
                      <a:pt x="6510" y="13009"/>
                      <a:pt x="6510" y="13009"/>
                    </a:cubicBezTo>
                    <a:cubicBezTo>
                      <a:pt x="8084" y="10555"/>
                      <a:pt x="8084" y="10555"/>
                      <a:pt x="8084" y="10555"/>
                    </a:cubicBezTo>
                    <a:cubicBezTo>
                      <a:pt x="6654" y="7982"/>
                      <a:pt x="6654" y="7982"/>
                      <a:pt x="6654" y="7982"/>
                    </a:cubicBezTo>
                    <a:cubicBezTo>
                      <a:pt x="8940" y="8347"/>
                      <a:pt x="8940" y="8347"/>
                      <a:pt x="8940" y="8347"/>
                    </a:cubicBezTo>
                    <a:cubicBezTo>
                      <a:pt x="9513" y="4175"/>
                      <a:pt x="9513" y="4175"/>
                      <a:pt x="9513" y="4175"/>
                    </a:cubicBezTo>
                    <a:cubicBezTo>
                      <a:pt x="10943" y="7243"/>
                      <a:pt x="10943" y="7243"/>
                      <a:pt x="10943" y="7243"/>
                    </a:cubicBezTo>
                    <a:cubicBezTo>
                      <a:pt x="13017" y="5527"/>
                      <a:pt x="13017" y="5527"/>
                      <a:pt x="13017" y="5527"/>
                    </a:cubicBezTo>
                    <a:cubicBezTo>
                      <a:pt x="11872" y="8838"/>
                      <a:pt x="11872" y="8838"/>
                      <a:pt x="11872" y="8838"/>
                    </a:cubicBezTo>
                    <a:cubicBezTo>
                      <a:pt x="14017" y="10676"/>
                      <a:pt x="14017" y="10676"/>
                      <a:pt x="14017" y="10676"/>
                    </a:cubicBezTo>
                    <a:cubicBezTo>
                      <a:pt x="12158" y="11780"/>
                      <a:pt x="12158" y="11780"/>
                      <a:pt x="12158" y="11780"/>
                    </a:cubicBezTo>
                    <a:lnTo>
                      <a:pt x="12946" y="15095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>
                  <a:defRPr>
                    <a:latin typeface="Tahoma"/>
                    <a:ea typeface="Tahoma"/>
                    <a:cs typeface="Tahoma"/>
                    <a:sym typeface="Tahoma"/>
                  </a:defRPr>
                </a:pPr>
                <a:endParaRPr/>
              </a:p>
            </p:txBody>
          </p:sp>
        </p:grpSp>
      </p:grpSp>
      <p:grpSp>
        <p:nvGrpSpPr>
          <p:cNvPr id="167" name="Groupe 17"/>
          <p:cNvGrpSpPr/>
          <p:nvPr/>
        </p:nvGrpSpPr>
        <p:grpSpPr>
          <a:xfrm>
            <a:off x="5689522" y="3389014"/>
            <a:ext cx="1573674" cy="1534534"/>
            <a:chOff x="0" y="0"/>
            <a:chExt cx="5302795" cy="4976533"/>
          </a:xfrm>
        </p:grpSpPr>
        <p:sp>
          <p:nvSpPr>
            <p:cNvPr id="168" name="Rectangle 48"/>
            <p:cNvSpPr/>
            <p:nvPr/>
          </p:nvSpPr>
          <p:spPr>
            <a:xfrm>
              <a:off x="0" y="4003359"/>
              <a:ext cx="5302795" cy="973174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45720" tIns="45720" rIns="45720" bIns="45720" numCol="1" anchor="t">
              <a:spAutoFit/>
            </a:bodyPr>
            <a:lstStyle>
              <a:lvl1pPr algn="ctr">
                <a:spcBef>
                  <a:spcPts val="2200"/>
                </a:spcBef>
                <a:defRPr sz="3600" b="1">
                  <a:solidFill>
                    <a:srgbClr val="FFFFFF"/>
                  </a:solidFill>
                </a:defRPr>
              </a:lvl1pPr>
            </a:lstStyle>
            <a:p>
              <a:endParaRPr sz="1350" dirty="0"/>
            </a:p>
          </p:txBody>
        </p:sp>
        <p:grpSp>
          <p:nvGrpSpPr>
            <p:cNvPr id="169" name="Group 7"/>
            <p:cNvGrpSpPr/>
            <p:nvPr/>
          </p:nvGrpSpPr>
          <p:grpSpPr>
            <a:xfrm>
              <a:off x="665797" y="0"/>
              <a:ext cx="3971206" cy="3865579"/>
              <a:chOff x="0" y="0"/>
              <a:chExt cx="3971205" cy="3865578"/>
            </a:xfrm>
          </p:grpSpPr>
          <p:sp>
            <p:nvSpPr>
              <p:cNvPr id="177" name="Ellipse 7"/>
              <p:cNvSpPr/>
              <p:nvPr/>
            </p:nvSpPr>
            <p:spPr>
              <a:xfrm>
                <a:off x="-1" y="0"/>
                <a:ext cx="3971207" cy="3865579"/>
              </a:xfrm>
              <a:prstGeom prst="ellipse">
                <a:avLst/>
              </a:prstGeom>
              <a:solidFill>
                <a:srgbClr val="FFFFFF">
                  <a:alpha val="34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78" name="Ellipse 7"/>
              <p:cNvSpPr/>
              <p:nvPr/>
            </p:nvSpPr>
            <p:spPr>
              <a:xfrm>
                <a:off x="448280" y="427398"/>
                <a:ext cx="3074641" cy="2992859"/>
              </a:xfrm>
              <a:prstGeom prst="ellipse">
                <a:avLst/>
              </a:prstGeom>
              <a:solidFill>
                <a:schemeClr val="accent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ctr">
                <a:no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170" name="Group 176"/>
            <p:cNvGrpSpPr/>
            <p:nvPr/>
          </p:nvGrpSpPr>
          <p:grpSpPr>
            <a:xfrm>
              <a:off x="1382703" y="1427165"/>
              <a:ext cx="2537388" cy="1386166"/>
              <a:chOff x="0" y="0"/>
              <a:chExt cx="2537386" cy="1386165"/>
            </a:xfrm>
          </p:grpSpPr>
          <p:sp>
            <p:nvSpPr>
              <p:cNvPr id="171" name="Freeform 72"/>
              <p:cNvSpPr/>
              <p:nvPr/>
            </p:nvSpPr>
            <p:spPr>
              <a:xfrm>
                <a:off x="-1" y="0"/>
                <a:ext cx="806639" cy="5991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552" y="0"/>
                    </a:moveTo>
                    <a:cubicBezTo>
                      <a:pt x="2048" y="0"/>
                      <a:pt x="2048" y="0"/>
                      <a:pt x="2048" y="0"/>
                    </a:cubicBezTo>
                    <a:cubicBezTo>
                      <a:pt x="1862" y="0"/>
                      <a:pt x="1862" y="251"/>
                      <a:pt x="1676" y="251"/>
                    </a:cubicBezTo>
                    <a:cubicBezTo>
                      <a:pt x="1676" y="251"/>
                      <a:pt x="1490" y="251"/>
                      <a:pt x="1490" y="251"/>
                    </a:cubicBezTo>
                    <a:cubicBezTo>
                      <a:pt x="1490" y="251"/>
                      <a:pt x="1303" y="251"/>
                      <a:pt x="1303" y="502"/>
                    </a:cubicBezTo>
                    <a:cubicBezTo>
                      <a:pt x="1117" y="502"/>
                      <a:pt x="931" y="753"/>
                      <a:pt x="745" y="753"/>
                    </a:cubicBezTo>
                    <a:cubicBezTo>
                      <a:pt x="745" y="1005"/>
                      <a:pt x="745" y="1005"/>
                      <a:pt x="745" y="1005"/>
                    </a:cubicBezTo>
                    <a:cubicBezTo>
                      <a:pt x="559" y="1256"/>
                      <a:pt x="372" y="1507"/>
                      <a:pt x="372" y="1507"/>
                    </a:cubicBezTo>
                    <a:cubicBezTo>
                      <a:pt x="372" y="1507"/>
                      <a:pt x="372" y="1507"/>
                      <a:pt x="372" y="1507"/>
                    </a:cubicBezTo>
                    <a:cubicBezTo>
                      <a:pt x="186" y="2009"/>
                      <a:pt x="186" y="2763"/>
                      <a:pt x="186" y="3265"/>
                    </a:cubicBezTo>
                    <a:cubicBezTo>
                      <a:pt x="0" y="12056"/>
                      <a:pt x="0" y="12056"/>
                      <a:pt x="0" y="12056"/>
                    </a:cubicBezTo>
                    <a:cubicBezTo>
                      <a:pt x="186" y="18335"/>
                      <a:pt x="186" y="18335"/>
                      <a:pt x="186" y="18335"/>
                    </a:cubicBezTo>
                    <a:cubicBezTo>
                      <a:pt x="186" y="20093"/>
                      <a:pt x="931" y="21600"/>
                      <a:pt x="2048" y="21600"/>
                    </a:cubicBezTo>
                    <a:cubicBezTo>
                      <a:pt x="19552" y="21600"/>
                      <a:pt x="19552" y="21600"/>
                      <a:pt x="19552" y="21600"/>
                    </a:cubicBezTo>
                    <a:cubicBezTo>
                      <a:pt x="20669" y="21600"/>
                      <a:pt x="21600" y="20093"/>
                      <a:pt x="21600" y="18335"/>
                    </a:cubicBezTo>
                    <a:cubicBezTo>
                      <a:pt x="21600" y="3265"/>
                      <a:pt x="21600" y="3265"/>
                      <a:pt x="21600" y="3265"/>
                    </a:cubicBezTo>
                    <a:cubicBezTo>
                      <a:pt x="21600" y="1507"/>
                      <a:pt x="20669" y="0"/>
                      <a:pt x="19552" y="0"/>
                    </a:cubicBezTo>
                    <a:close/>
                    <a:moveTo>
                      <a:pt x="14152" y="14316"/>
                    </a:moveTo>
                    <a:cubicBezTo>
                      <a:pt x="11917" y="7284"/>
                      <a:pt x="11917" y="7284"/>
                      <a:pt x="11917" y="7284"/>
                    </a:cubicBezTo>
                    <a:cubicBezTo>
                      <a:pt x="9497" y="15321"/>
                      <a:pt x="9497" y="15321"/>
                      <a:pt x="9497" y="15321"/>
                    </a:cubicBezTo>
                    <a:cubicBezTo>
                      <a:pt x="6890" y="12558"/>
                      <a:pt x="6890" y="12558"/>
                      <a:pt x="6890" y="12558"/>
                    </a:cubicBezTo>
                    <a:cubicBezTo>
                      <a:pt x="5214" y="16577"/>
                      <a:pt x="5214" y="16577"/>
                      <a:pt x="5214" y="16577"/>
                    </a:cubicBezTo>
                    <a:cubicBezTo>
                      <a:pt x="5214" y="16577"/>
                      <a:pt x="5214" y="16577"/>
                      <a:pt x="5214" y="16577"/>
                    </a:cubicBezTo>
                    <a:cubicBezTo>
                      <a:pt x="4097" y="16326"/>
                      <a:pt x="4097" y="16326"/>
                      <a:pt x="4097" y="16326"/>
                    </a:cubicBezTo>
                    <a:cubicBezTo>
                      <a:pt x="6703" y="10800"/>
                      <a:pt x="6703" y="10800"/>
                      <a:pt x="6703" y="10800"/>
                    </a:cubicBezTo>
                    <a:cubicBezTo>
                      <a:pt x="9124" y="13563"/>
                      <a:pt x="9124" y="13563"/>
                      <a:pt x="9124" y="13563"/>
                    </a:cubicBezTo>
                    <a:cubicBezTo>
                      <a:pt x="11731" y="4772"/>
                      <a:pt x="11731" y="4772"/>
                      <a:pt x="11731" y="4772"/>
                    </a:cubicBezTo>
                    <a:cubicBezTo>
                      <a:pt x="14338" y="12307"/>
                      <a:pt x="14338" y="12307"/>
                      <a:pt x="14338" y="12307"/>
                    </a:cubicBezTo>
                    <a:cubicBezTo>
                      <a:pt x="16759" y="9042"/>
                      <a:pt x="16759" y="9042"/>
                      <a:pt x="16759" y="9042"/>
                    </a:cubicBezTo>
                    <a:cubicBezTo>
                      <a:pt x="17503" y="9293"/>
                      <a:pt x="17503" y="9293"/>
                      <a:pt x="17503" y="9293"/>
                    </a:cubicBezTo>
                    <a:lnTo>
                      <a:pt x="14152" y="14316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2" name="Oval 73"/>
              <p:cNvSpPr/>
              <p:nvPr/>
            </p:nvSpPr>
            <p:spPr>
              <a:xfrm>
                <a:off x="1022003" y="328919"/>
                <a:ext cx="465974" cy="458140"/>
              </a:xfrm>
              <a:prstGeom prst="ellipse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3" name="Freeform 74"/>
              <p:cNvSpPr/>
              <p:nvPr/>
            </p:nvSpPr>
            <p:spPr>
              <a:xfrm>
                <a:off x="1687675" y="0"/>
                <a:ext cx="849712" cy="5991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590" y="0"/>
                    </a:moveTo>
                    <a:cubicBezTo>
                      <a:pt x="1948" y="0"/>
                      <a:pt x="1948" y="0"/>
                      <a:pt x="1948" y="0"/>
                    </a:cubicBezTo>
                    <a:cubicBezTo>
                      <a:pt x="1770" y="0"/>
                      <a:pt x="1593" y="251"/>
                      <a:pt x="1593" y="251"/>
                    </a:cubicBezTo>
                    <a:cubicBezTo>
                      <a:pt x="1416" y="251"/>
                      <a:pt x="1416" y="251"/>
                      <a:pt x="1416" y="251"/>
                    </a:cubicBezTo>
                    <a:cubicBezTo>
                      <a:pt x="1239" y="251"/>
                      <a:pt x="1239" y="251"/>
                      <a:pt x="1062" y="502"/>
                    </a:cubicBezTo>
                    <a:cubicBezTo>
                      <a:pt x="1062" y="502"/>
                      <a:pt x="1062" y="502"/>
                      <a:pt x="1062" y="502"/>
                    </a:cubicBezTo>
                    <a:cubicBezTo>
                      <a:pt x="885" y="753"/>
                      <a:pt x="885" y="753"/>
                      <a:pt x="708" y="753"/>
                    </a:cubicBezTo>
                    <a:cubicBezTo>
                      <a:pt x="708" y="1005"/>
                      <a:pt x="708" y="1005"/>
                      <a:pt x="708" y="1005"/>
                    </a:cubicBezTo>
                    <a:cubicBezTo>
                      <a:pt x="531" y="1256"/>
                      <a:pt x="531" y="1256"/>
                      <a:pt x="354" y="1507"/>
                    </a:cubicBezTo>
                    <a:cubicBezTo>
                      <a:pt x="354" y="1507"/>
                      <a:pt x="354" y="1507"/>
                      <a:pt x="354" y="1507"/>
                    </a:cubicBezTo>
                    <a:cubicBezTo>
                      <a:pt x="354" y="1507"/>
                      <a:pt x="354" y="1507"/>
                      <a:pt x="354" y="1507"/>
                    </a:cubicBezTo>
                    <a:cubicBezTo>
                      <a:pt x="177" y="2009"/>
                      <a:pt x="0" y="2763"/>
                      <a:pt x="0" y="3265"/>
                    </a:cubicBezTo>
                    <a:cubicBezTo>
                      <a:pt x="0" y="12056"/>
                      <a:pt x="0" y="12056"/>
                      <a:pt x="0" y="12056"/>
                    </a:cubicBezTo>
                    <a:cubicBezTo>
                      <a:pt x="0" y="12056"/>
                      <a:pt x="0" y="12056"/>
                      <a:pt x="0" y="12056"/>
                    </a:cubicBezTo>
                    <a:cubicBezTo>
                      <a:pt x="0" y="18335"/>
                      <a:pt x="0" y="18335"/>
                      <a:pt x="0" y="18335"/>
                    </a:cubicBezTo>
                    <a:cubicBezTo>
                      <a:pt x="0" y="20093"/>
                      <a:pt x="885" y="21600"/>
                      <a:pt x="1948" y="21600"/>
                    </a:cubicBezTo>
                    <a:cubicBezTo>
                      <a:pt x="18590" y="21600"/>
                      <a:pt x="18590" y="21600"/>
                      <a:pt x="18590" y="21600"/>
                    </a:cubicBezTo>
                    <a:cubicBezTo>
                      <a:pt x="19652" y="21600"/>
                      <a:pt x="21600" y="20093"/>
                      <a:pt x="21600" y="18335"/>
                    </a:cubicBezTo>
                    <a:cubicBezTo>
                      <a:pt x="21600" y="3265"/>
                      <a:pt x="21600" y="3265"/>
                      <a:pt x="21600" y="3265"/>
                    </a:cubicBezTo>
                    <a:cubicBezTo>
                      <a:pt x="21600" y="1507"/>
                      <a:pt x="19652" y="0"/>
                      <a:pt x="18590" y="0"/>
                    </a:cubicBezTo>
                    <a:close/>
                    <a:moveTo>
                      <a:pt x="9738" y="13814"/>
                    </a:moveTo>
                    <a:cubicBezTo>
                      <a:pt x="4249" y="13814"/>
                      <a:pt x="4249" y="13814"/>
                      <a:pt x="4249" y="13814"/>
                    </a:cubicBezTo>
                    <a:cubicBezTo>
                      <a:pt x="4249" y="6530"/>
                      <a:pt x="4249" y="6530"/>
                      <a:pt x="4249" y="6530"/>
                    </a:cubicBezTo>
                    <a:cubicBezTo>
                      <a:pt x="9738" y="6530"/>
                      <a:pt x="9738" y="6530"/>
                      <a:pt x="9738" y="6530"/>
                    </a:cubicBezTo>
                    <a:lnTo>
                      <a:pt x="9738" y="13814"/>
                    </a:lnTo>
                    <a:close/>
                    <a:moveTo>
                      <a:pt x="17351" y="13814"/>
                    </a:moveTo>
                    <a:cubicBezTo>
                      <a:pt x="11862" y="13814"/>
                      <a:pt x="11862" y="13814"/>
                      <a:pt x="11862" y="13814"/>
                    </a:cubicBezTo>
                    <a:cubicBezTo>
                      <a:pt x="11862" y="6530"/>
                      <a:pt x="11862" y="6530"/>
                      <a:pt x="11862" y="6530"/>
                    </a:cubicBezTo>
                    <a:cubicBezTo>
                      <a:pt x="17351" y="6530"/>
                      <a:pt x="17351" y="6530"/>
                      <a:pt x="17351" y="6530"/>
                    </a:cubicBezTo>
                    <a:lnTo>
                      <a:pt x="17351" y="13814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4" name="Freeform 75"/>
              <p:cNvSpPr/>
              <p:nvPr/>
            </p:nvSpPr>
            <p:spPr>
              <a:xfrm>
                <a:off x="849711" y="0"/>
                <a:ext cx="806639" cy="5991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552" y="0"/>
                    </a:moveTo>
                    <a:cubicBezTo>
                      <a:pt x="2048" y="0"/>
                      <a:pt x="2048" y="0"/>
                      <a:pt x="2048" y="0"/>
                    </a:cubicBezTo>
                    <a:cubicBezTo>
                      <a:pt x="1862" y="0"/>
                      <a:pt x="1676" y="251"/>
                      <a:pt x="1490" y="251"/>
                    </a:cubicBezTo>
                    <a:cubicBezTo>
                      <a:pt x="1490" y="251"/>
                      <a:pt x="1490" y="251"/>
                      <a:pt x="1303" y="251"/>
                    </a:cubicBezTo>
                    <a:cubicBezTo>
                      <a:pt x="1303" y="251"/>
                      <a:pt x="1117" y="251"/>
                      <a:pt x="1117" y="502"/>
                    </a:cubicBezTo>
                    <a:cubicBezTo>
                      <a:pt x="1117" y="502"/>
                      <a:pt x="931" y="502"/>
                      <a:pt x="931" y="502"/>
                    </a:cubicBezTo>
                    <a:cubicBezTo>
                      <a:pt x="931" y="753"/>
                      <a:pt x="745" y="753"/>
                      <a:pt x="745" y="753"/>
                    </a:cubicBezTo>
                    <a:cubicBezTo>
                      <a:pt x="745" y="1005"/>
                      <a:pt x="559" y="1005"/>
                      <a:pt x="559" y="1005"/>
                    </a:cubicBezTo>
                    <a:cubicBezTo>
                      <a:pt x="559" y="1256"/>
                      <a:pt x="372" y="1256"/>
                      <a:pt x="372" y="1507"/>
                    </a:cubicBezTo>
                    <a:cubicBezTo>
                      <a:pt x="372" y="1507"/>
                      <a:pt x="372" y="1507"/>
                      <a:pt x="372" y="1507"/>
                    </a:cubicBezTo>
                    <a:cubicBezTo>
                      <a:pt x="372" y="1507"/>
                      <a:pt x="372" y="1507"/>
                      <a:pt x="372" y="1507"/>
                    </a:cubicBezTo>
                    <a:cubicBezTo>
                      <a:pt x="186" y="2009"/>
                      <a:pt x="0" y="2763"/>
                      <a:pt x="0" y="3265"/>
                    </a:cubicBezTo>
                    <a:cubicBezTo>
                      <a:pt x="0" y="12056"/>
                      <a:pt x="0" y="12056"/>
                      <a:pt x="0" y="12056"/>
                    </a:cubicBezTo>
                    <a:cubicBezTo>
                      <a:pt x="0" y="12056"/>
                      <a:pt x="0" y="12056"/>
                      <a:pt x="0" y="12056"/>
                    </a:cubicBezTo>
                    <a:cubicBezTo>
                      <a:pt x="0" y="18335"/>
                      <a:pt x="0" y="18335"/>
                      <a:pt x="0" y="18335"/>
                    </a:cubicBezTo>
                    <a:cubicBezTo>
                      <a:pt x="0" y="20093"/>
                      <a:pt x="931" y="21600"/>
                      <a:pt x="2048" y="21600"/>
                    </a:cubicBezTo>
                    <a:cubicBezTo>
                      <a:pt x="3724" y="21600"/>
                      <a:pt x="3724" y="21600"/>
                      <a:pt x="3724" y="21600"/>
                    </a:cubicBezTo>
                    <a:cubicBezTo>
                      <a:pt x="3724" y="21098"/>
                      <a:pt x="3724" y="20595"/>
                      <a:pt x="3724" y="20093"/>
                    </a:cubicBezTo>
                    <a:cubicBezTo>
                      <a:pt x="3724" y="14819"/>
                      <a:pt x="6890" y="10298"/>
                      <a:pt x="10986" y="10298"/>
                    </a:cubicBezTo>
                    <a:cubicBezTo>
                      <a:pt x="14897" y="10298"/>
                      <a:pt x="18248" y="14819"/>
                      <a:pt x="18248" y="20093"/>
                    </a:cubicBezTo>
                    <a:cubicBezTo>
                      <a:pt x="18248" y="20595"/>
                      <a:pt x="18062" y="21098"/>
                      <a:pt x="18062" y="21600"/>
                    </a:cubicBezTo>
                    <a:cubicBezTo>
                      <a:pt x="19552" y="21600"/>
                      <a:pt x="19552" y="21600"/>
                      <a:pt x="19552" y="21600"/>
                    </a:cubicBezTo>
                    <a:cubicBezTo>
                      <a:pt x="20669" y="21600"/>
                      <a:pt x="21600" y="20093"/>
                      <a:pt x="21600" y="18335"/>
                    </a:cubicBezTo>
                    <a:cubicBezTo>
                      <a:pt x="21600" y="3265"/>
                      <a:pt x="21600" y="3265"/>
                      <a:pt x="21600" y="3265"/>
                    </a:cubicBezTo>
                    <a:cubicBezTo>
                      <a:pt x="21600" y="1507"/>
                      <a:pt x="20669" y="0"/>
                      <a:pt x="19552" y="0"/>
                    </a:cubicBezTo>
                    <a:close/>
                    <a:moveTo>
                      <a:pt x="6703" y="8540"/>
                    </a:moveTo>
                    <a:cubicBezTo>
                      <a:pt x="2793" y="8540"/>
                      <a:pt x="2793" y="8540"/>
                      <a:pt x="2793" y="8540"/>
                    </a:cubicBezTo>
                    <a:cubicBezTo>
                      <a:pt x="2793" y="5023"/>
                      <a:pt x="2793" y="5023"/>
                      <a:pt x="2793" y="5023"/>
                    </a:cubicBezTo>
                    <a:cubicBezTo>
                      <a:pt x="6703" y="5023"/>
                      <a:pt x="6703" y="5023"/>
                      <a:pt x="6703" y="5023"/>
                    </a:cubicBezTo>
                    <a:lnTo>
                      <a:pt x="6703" y="8540"/>
                    </a:lnTo>
                    <a:close/>
                    <a:moveTo>
                      <a:pt x="13221" y="8540"/>
                    </a:moveTo>
                    <a:cubicBezTo>
                      <a:pt x="9310" y="8540"/>
                      <a:pt x="9310" y="8540"/>
                      <a:pt x="9310" y="8540"/>
                    </a:cubicBezTo>
                    <a:cubicBezTo>
                      <a:pt x="9310" y="5023"/>
                      <a:pt x="9310" y="5023"/>
                      <a:pt x="9310" y="5023"/>
                    </a:cubicBezTo>
                    <a:cubicBezTo>
                      <a:pt x="13221" y="5023"/>
                      <a:pt x="13221" y="5023"/>
                      <a:pt x="13221" y="5023"/>
                    </a:cubicBezTo>
                    <a:lnTo>
                      <a:pt x="13221" y="8540"/>
                    </a:lnTo>
                    <a:close/>
                    <a:moveTo>
                      <a:pt x="19738" y="8540"/>
                    </a:moveTo>
                    <a:cubicBezTo>
                      <a:pt x="15828" y="8540"/>
                      <a:pt x="15828" y="8540"/>
                      <a:pt x="15828" y="8540"/>
                    </a:cubicBezTo>
                    <a:cubicBezTo>
                      <a:pt x="15828" y="5023"/>
                      <a:pt x="15828" y="5023"/>
                      <a:pt x="15828" y="5023"/>
                    </a:cubicBezTo>
                    <a:cubicBezTo>
                      <a:pt x="19738" y="5023"/>
                      <a:pt x="19738" y="5023"/>
                      <a:pt x="19738" y="5023"/>
                    </a:cubicBezTo>
                    <a:lnTo>
                      <a:pt x="19738" y="854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5" name="Freeform 76"/>
              <p:cNvSpPr/>
              <p:nvPr/>
            </p:nvSpPr>
            <p:spPr>
              <a:xfrm>
                <a:off x="964891" y="863082"/>
                <a:ext cx="125973" cy="12597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854" h="19854" extrusionOk="0">
                    <a:moveTo>
                      <a:pt x="19647" y="12087"/>
                    </a:moveTo>
                    <a:cubicBezTo>
                      <a:pt x="20727" y="6687"/>
                      <a:pt x="17487" y="1287"/>
                      <a:pt x="12087" y="207"/>
                    </a:cubicBezTo>
                    <a:cubicBezTo>
                      <a:pt x="6687" y="-873"/>
                      <a:pt x="1287" y="2367"/>
                      <a:pt x="207" y="7767"/>
                    </a:cubicBezTo>
                    <a:cubicBezTo>
                      <a:pt x="-873" y="13167"/>
                      <a:pt x="2367" y="18567"/>
                      <a:pt x="7767" y="19647"/>
                    </a:cubicBezTo>
                    <a:cubicBezTo>
                      <a:pt x="13167" y="20727"/>
                      <a:pt x="18567" y="17487"/>
                      <a:pt x="19647" y="120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6" name="Freeform 77"/>
              <p:cNvSpPr/>
              <p:nvPr/>
            </p:nvSpPr>
            <p:spPr>
              <a:xfrm>
                <a:off x="943688" y="849711"/>
                <a:ext cx="626516" cy="5364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9257"/>
                    </a:moveTo>
                    <a:cubicBezTo>
                      <a:pt x="0" y="12343"/>
                      <a:pt x="0" y="12343"/>
                      <a:pt x="0" y="12343"/>
                    </a:cubicBezTo>
                    <a:cubicBezTo>
                      <a:pt x="0" y="19075"/>
                      <a:pt x="0" y="19075"/>
                      <a:pt x="0" y="19075"/>
                    </a:cubicBezTo>
                    <a:cubicBezTo>
                      <a:pt x="0" y="20478"/>
                      <a:pt x="1200" y="21600"/>
                      <a:pt x="2880" y="21600"/>
                    </a:cubicBezTo>
                    <a:cubicBezTo>
                      <a:pt x="18720" y="21600"/>
                      <a:pt x="18720" y="21600"/>
                      <a:pt x="18720" y="21600"/>
                    </a:cubicBezTo>
                    <a:cubicBezTo>
                      <a:pt x="20400" y="21600"/>
                      <a:pt x="21600" y="20478"/>
                      <a:pt x="21600" y="19075"/>
                    </a:cubicBezTo>
                    <a:cubicBezTo>
                      <a:pt x="21600" y="8696"/>
                      <a:pt x="21600" y="8696"/>
                      <a:pt x="21600" y="8696"/>
                    </a:cubicBezTo>
                    <a:cubicBezTo>
                      <a:pt x="21600" y="5049"/>
                      <a:pt x="19440" y="1964"/>
                      <a:pt x="16800" y="561"/>
                    </a:cubicBezTo>
                    <a:cubicBezTo>
                      <a:pt x="16800" y="561"/>
                      <a:pt x="16560" y="561"/>
                      <a:pt x="16560" y="561"/>
                    </a:cubicBezTo>
                    <a:cubicBezTo>
                      <a:pt x="16320" y="281"/>
                      <a:pt x="16080" y="281"/>
                      <a:pt x="15840" y="281"/>
                    </a:cubicBezTo>
                    <a:cubicBezTo>
                      <a:pt x="15840" y="281"/>
                      <a:pt x="15840" y="281"/>
                      <a:pt x="15600" y="281"/>
                    </a:cubicBezTo>
                    <a:cubicBezTo>
                      <a:pt x="15600" y="0"/>
                      <a:pt x="15360" y="0"/>
                      <a:pt x="15120" y="0"/>
                    </a:cubicBezTo>
                    <a:cubicBezTo>
                      <a:pt x="14880" y="0"/>
                      <a:pt x="14880" y="0"/>
                      <a:pt x="14880" y="0"/>
                    </a:cubicBezTo>
                    <a:cubicBezTo>
                      <a:pt x="14400" y="0"/>
                      <a:pt x="14160" y="0"/>
                      <a:pt x="13920" y="0"/>
                    </a:cubicBezTo>
                    <a:cubicBezTo>
                      <a:pt x="7680" y="0"/>
                      <a:pt x="7680" y="0"/>
                      <a:pt x="7680" y="0"/>
                    </a:cubicBezTo>
                    <a:cubicBezTo>
                      <a:pt x="8640" y="1403"/>
                      <a:pt x="8880" y="3086"/>
                      <a:pt x="8400" y="5049"/>
                    </a:cubicBezTo>
                    <a:cubicBezTo>
                      <a:pt x="7680" y="8696"/>
                      <a:pt x="4560" y="10940"/>
                      <a:pt x="1440" y="10099"/>
                    </a:cubicBezTo>
                    <a:cubicBezTo>
                      <a:pt x="960" y="9818"/>
                      <a:pt x="480" y="9538"/>
                      <a:pt x="0" y="9257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20" tIns="45720" rIns="45720" bIns="45720" numCol="1" anchor="t">
                <a:noAutofit/>
              </a:bodyPr>
              <a:lstStyle/>
              <a:p>
                <a:endParaRPr/>
              </a:p>
            </p:txBody>
          </p:sp>
        </p:grpSp>
      </p:grpSp>
      <p:sp>
        <p:nvSpPr>
          <p:cNvPr id="179" name="Rectangle 178"/>
          <p:cNvSpPr/>
          <p:nvPr/>
        </p:nvSpPr>
        <p:spPr>
          <a:xfrm>
            <a:off x="3744753" y="1231847"/>
            <a:ext cx="33009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schemeClr val="accent5"/>
                </a:solidFill>
              </a:rPr>
              <a:t>o</a:t>
            </a:r>
            <a:r>
              <a:rPr lang="fr-FR" sz="1600" b="1" dirty="0" smtClean="0">
                <a:solidFill>
                  <a:schemeClr val="accent5"/>
                </a:solidFill>
              </a:rPr>
              <a:t>r </a:t>
            </a:r>
            <a:r>
              <a:rPr lang="fr-FR" sz="1600" b="1" dirty="0" err="1" smtClean="0">
                <a:solidFill>
                  <a:schemeClr val="accent5"/>
                </a:solidFill>
              </a:rPr>
              <a:t>support@openrainbow.com</a:t>
            </a:r>
            <a:endParaRPr lang="fr-FR" sz="1600" b="1" dirty="0">
              <a:solidFill>
                <a:schemeClr val="accent5"/>
              </a:solidFill>
            </a:endParaRPr>
          </a:p>
        </p:txBody>
      </p:sp>
      <p:sp>
        <p:nvSpPr>
          <p:cNvPr id="64" name="Rectangle 54"/>
          <p:cNvSpPr/>
          <p:nvPr/>
        </p:nvSpPr>
        <p:spPr>
          <a:xfrm>
            <a:off x="172667" y="1802402"/>
            <a:ext cx="3473025" cy="50783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pPr algn="r"/>
            <a:r>
              <a:rPr lang="fr-FR" sz="1350" dirty="0" smtClean="0"/>
              <a:t>Access to the </a:t>
            </a:r>
            <a:r>
              <a:rPr lang="fr-FR" sz="1350" dirty="0" err="1" smtClean="0"/>
              <a:t>Developer</a:t>
            </a:r>
            <a:r>
              <a:rPr lang="fr-FR" sz="1350" dirty="0" smtClean="0"/>
              <a:t> </a:t>
            </a:r>
            <a:r>
              <a:rPr lang="fr-FR" sz="1350" dirty="0" err="1" smtClean="0"/>
              <a:t>Sandboxed</a:t>
            </a:r>
            <a:r>
              <a:rPr lang="fr-FR" sz="1350" dirty="0" smtClean="0"/>
              <a:t> Platform</a:t>
            </a:r>
            <a:endParaRPr sz="1350" dirty="0"/>
          </a:p>
        </p:txBody>
      </p:sp>
      <p:sp>
        <p:nvSpPr>
          <p:cNvPr id="3" name="Rectangle 2"/>
          <p:cNvSpPr/>
          <p:nvPr/>
        </p:nvSpPr>
        <p:spPr>
          <a:xfrm>
            <a:off x="3744753" y="1802402"/>
            <a:ext cx="43428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schemeClr val="accent5"/>
                </a:solidFill>
              </a:rPr>
              <a:t>https://web-</a:t>
            </a:r>
            <a:r>
              <a:rPr lang="fr-FR" sz="1600" b="1" dirty="0" err="1">
                <a:solidFill>
                  <a:schemeClr val="accent5"/>
                </a:solidFill>
              </a:rPr>
              <a:t>sandbox.openrainbow.com</a:t>
            </a:r>
            <a:endParaRPr lang="fr-FR" sz="1600" b="1" dirty="0">
              <a:solidFill>
                <a:schemeClr val="accent5"/>
              </a:solidFill>
            </a:endParaRPr>
          </a:p>
        </p:txBody>
      </p:sp>
      <p:sp>
        <p:nvSpPr>
          <p:cNvPr id="66" name="Rectangle 54"/>
          <p:cNvSpPr/>
          <p:nvPr/>
        </p:nvSpPr>
        <p:spPr>
          <a:xfrm>
            <a:off x="172667" y="2586868"/>
            <a:ext cx="3473025" cy="50783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pPr algn="r"/>
            <a:r>
              <a:rPr lang="fr-FR" sz="1350" dirty="0" smtClean="0"/>
              <a:t>Be </a:t>
            </a:r>
            <a:r>
              <a:rPr lang="fr-FR" sz="1350" dirty="0" err="1" smtClean="0"/>
              <a:t>informed</a:t>
            </a:r>
            <a:r>
              <a:rPr lang="fr-FR" sz="1350" dirty="0" smtClean="0"/>
              <a:t> of new </a:t>
            </a:r>
            <a:r>
              <a:rPr lang="fr-FR" sz="1350" dirty="0" err="1" smtClean="0"/>
              <a:t>features</a:t>
            </a:r>
            <a:r>
              <a:rPr lang="fr-FR" sz="1350" dirty="0" smtClean="0"/>
              <a:t> and releases</a:t>
            </a:r>
            <a:endParaRPr sz="1350" dirty="0"/>
          </a:p>
        </p:txBody>
      </p:sp>
      <p:sp>
        <p:nvSpPr>
          <p:cNvPr id="67" name="Rectangle 66"/>
          <p:cNvSpPr/>
          <p:nvPr/>
        </p:nvSpPr>
        <p:spPr>
          <a:xfrm>
            <a:off x="3744753" y="2548396"/>
            <a:ext cx="302037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 err="1" smtClean="0">
                <a:solidFill>
                  <a:schemeClr val="accent5"/>
                </a:solidFill>
              </a:rPr>
              <a:t>subscribe</a:t>
            </a:r>
            <a:r>
              <a:rPr lang="fr-FR" sz="1600" b="1" dirty="0" smtClean="0">
                <a:solidFill>
                  <a:schemeClr val="accent5"/>
                </a:solidFill>
              </a:rPr>
              <a:t> to </a:t>
            </a:r>
            <a:r>
              <a:rPr lang="fr-FR" sz="1600" b="1" dirty="0" err="1" smtClean="0">
                <a:solidFill>
                  <a:schemeClr val="accent5"/>
                </a:solidFill>
              </a:rPr>
              <a:t>our</a:t>
            </a:r>
            <a:r>
              <a:rPr lang="fr-FR" sz="1600" b="1" dirty="0" smtClean="0">
                <a:solidFill>
                  <a:schemeClr val="accent5"/>
                </a:solidFill>
              </a:rPr>
              <a:t> newsletter</a:t>
            </a:r>
            <a:endParaRPr lang="fr-FR" sz="1600" b="1" dirty="0">
              <a:solidFill>
                <a:schemeClr val="accent5"/>
              </a:solidFill>
            </a:endParaRPr>
          </a:p>
        </p:txBody>
      </p:sp>
      <p:sp>
        <p:nvSpPr>
          <p:cNvPr id="68" name="Rectangle 63"/>
          <p:cNvSpPr/>
          <p:nvPr/>
        </p:nvSpPr>
        <p:spPr>
          <a:xfrm>
            <a:off x="5762025" y="4631815"/>
            <a:ext cx="1419370" cy="30008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350" dirty="0" smtClean="0"/>
              <a:t>BE READY</a:t>
            </a:r>
            <a:endParaRPr sz="1350" dirty="0"/>
          </a:p>
        </p:txBody>
      </p:sp>
    </p:spTree>
    <p:extLst>
      <p:ext uri="{BB962C8B-B14F-4D97-AF65-F5344CB8AC3E}">
        <p14:creationId xmlns:p14="http://schemas.microsoft.com/office/powerpoint/2010/main" val="1383709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922042" y="1943400"/>
            <a:ext cx="7329726" cy="48383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More </a:t>
            </a:r>
            <a:r>
              <a:rPr lang="fr-FR" sz="2000" dirty="0" err="1" smtClean="0">
                <a:solidFill>
                  <a:schemeClr val="bg1"/>
                </a:solidFill>
                <a:latin typeface="+mj-lt"/>
              </a:rPr>
              <a:t>than</a:t>
            </a: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fr-FR" sz="4000" dirty="0" smtClean="0">
                <a:solidFill>
                  <a:schemeClr val="accent5"/>
                </a:solidFill>
                <a:latin typeface="+mj-lt"/>
              </a:rPr>
              <a:t>40</a:t>
            </a: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 ISV or </a:t>
            </a:r>
            <a:r>
              <a:rPr lang="fr-FR" sz="2000" dirty="0" err="1" smtClean="0">
                <a:solidFill>
                  <a:schemeClr val="bg1"/>
                </a:solidFill>
                <a:latin typeface="+mj-lt"/>
              </a:rPr>
              <a:t>partners</a:t>
            </a: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 have </a:t>
            </a:r>
            <a:r>
              <a:rPr lang="fr-FR" sz="2000" dirty="0" err="1" smtClean="0">
                <a:solidFill>
                  <a:schemeClr val="bg1"/>
                </a:solidFill>
                <a:latin typeface="+mj-lt"/>
              </a:rPr>
              <a:t>already</a:t>
            </a: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fr-FR" sz="2000" dirty="0" err="1" smtClean="0">
                <a:solidFill>
                  <a:schemeClr val="bg1"/>
                </a:solidFill>
                <a:latin typeface="+mj-lt"/>
              </a:rPr>
              <a:t>started</a:t>
            </a: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fr-FR" sz="2000" dirty="0" err="1" smtClean="0">
                <a:solidFill>
                  <a:schemeClr val="bg1"/>
                </a:solidFill>
                <a:latin typeface="+mj-lt"/>
              </a:rPr>
              <a:t>with</a:t>
            </a: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 Rainbow CPAAS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5735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172667" y="170260"/>
            <a:ext cx="7707528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VERTICALIZED DEMOS TO SHOW OPPORTUNITIES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pic>
        <p:nvPicPr>
          <p:cNvPr id="5" name="Picture 93" descr="Picture 93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936381" y="849812"/>
            <a:ext cx="1116528" cy="1112803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Picture 95" descr="Picture 95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7569615" y="869815"/>
            <a:ext cx="1051998" cy="1037391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Picture 94" descr="Picture 94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5794154" y="878584"/>
            <a:ext cx="1034216" cy="1019857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icture 92" descr="Picture 92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2225495" y="825240"/>
            <a:ext cx="1077852" cy="1126543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Picture 96" descr="Picture 96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443170" y="887744"/>
            <a:ext cx="1041080" cy="98372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ZoneTexte 9"/>
          <p:cNvSpPr txBox="1"/>
          <p:nvPr/>
        </p:nvSpPr>
        <p:spPr>
          <a:xfrm>
            <a:off x="3619864" y="1982861"/>
            <a:ext cx="17495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HOSPITALITY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5436481" y="1982861"/>
            <a:ext cx="17495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HEALTHCARE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7253098" y="1982861"/>
            <a:ext cx="17495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GOVERNMENT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1889640" y="1982861"/>
            <a:ext cx="17495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EDUCATION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88929" y="1982861"/>
            <a:ext cx="17495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TRANSPORT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538100" y="2371273"/>
            <a:ext cx="946150" cy="602386"/>
          </a:xfrm>
          <a:prstGeom prst="rect">
            <a:avLst/>
          </a:prstGeom>
        </p:spPr>
      </p:pic>
      <p:sp>
        <p:nvSpPr>
          <p:cNvPr id="16" name="ZoneTexte 15"/>
          <p:cNvSpPr txBox="1"/>
          <p:nvPr/>
        </p:nvSpPr>
        <p:spPr>
          <a:xfrm>
            <a:off x="538100" y="2492100"/>
            <a:ext cx="946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Bot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orders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Uber</a:t>
            </a:r>
            <a:endParaRPr lang="fr-FR" sz="9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7675463" y="2350852"/>
            <a:ext cx="946150" cy="602386"/>
          </a:xfrm>
          <a:prstGeom prst="rect">
            <a:avLst/>
          </a:prstGeom>
        </p:spPr>
      </p:pic>
      <p:sp>
        <p:nvSpPr>
          <p:cNvPr id="18" name="ZoneTexte 17"/>
          <p:cNvSpPr txBox="1"/>
          <p:nvPr/>
        </p:nvSpPr>
        <p:spPr>
          <a:xfrm>
            <a:off x="7675463" y="2389905"/>
            <a:ext cx="9461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End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customer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video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call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with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advisor</a:t>
            </a:r>
            <a:endParaRPr lang="fr-FR" sz="9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538100" y="3084973"/>
            <a:ext cx="946150" cy="602386"/>
          </a:xfrm>
          <a:prstGeom prst="rect">
            <a:avLst/>
          </a:prstGeom>
        </p:spPr>
      </p:pic>
      <p:sp>
        <p:nvSpPr>
          <p:cNvPr id="20" name="ZoneTexte 19"/>
          <p:cNvSpPr txBox="1"/>
          <p:nvPr/>
        </p:nvSpPr>
        <p:spPr>
          <a:xfrm>
            <a:off x="538100" y="3138894"/>
            <a:ext cx="9461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Bot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retrieves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Air France Flight info</a:t>
            </a:r>
            <a:endParaRPr lang="fr-FR" sz="9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21" name="Image 20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4050734" y="2365483"/>
            <a:ext cx="946150" cy="602386"/>
          </a:xfrm>
          <a:prstGeom prst="rect">
            <a:avLst/>
          </a:prstGeom>
        </p:spPr>
      </p:pic>
      <p:sp>
        <p:nvSpPr>
          <p:cNvPr id="22" name="ZoneTexte 21"/>
          <p:cNvSpPr txBox="1"/>
          <p:nvPr/>
        </p:nvSpPr>
        <p:spPr>
          <a:xfrm>
            <a:off x="4050734" y="2419404"/>
            <a:ext cx="9461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Bot for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booking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Hotel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rooms</a:t>
            </a:r>
            <a:endParaRPr lang="fr-FR" sz="9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4050734" y="3073492"/>
            <a:ext cx="946150" cy="602386"/>
          </a:xfrm>
          <a:prstGeom prst="rect">
            <a:avLst/>
          </a:prstGeom>
        </p:spPr>
      </p:pic>
      <p:sp>
        <p:nvSpPr>
          <p:cNvPr id="24" name="ZoneTexte 23"/>
          <p:cNvSpPr txBox="1"/>
          <p:nvPr/>
        </p:nvSpPr>
        <p:spPr>
          <a:xfrm>
            <a:off x="4050734" y="3127413"/>
            <a:ext cx="946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Concierge Bot for TUI Boat</a:t>
            </a:r>
            <a:endParaRPr lang="fr-FR" sz="9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5863098" y="2352497"/>
            <a:ext cx="946150" cy="602386"/>
          </a:xfrm>
          <a:prstGeom prst="rect">
            <a:avLst/>
          </a:prstGeom>
        </p:spPr>
      </p:pic>
      <p:sp>
        <p:nvSpPr>
          <p:cNvPr id="26" name="ZoneTexte 25"/>
          <p:cNvSpPr txBox="1"/>
          <p:nvPr/>
        </p:nvSpPr>
        <p:spPr>
          <a:xfrm>
            <a:off x="5863098" y="2324644"/>
            <a:ext cx="946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Video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remote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consultation and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virtual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waiting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room</a:t>
            </a:r>
            <a:endParaRPr lang="fr-FR" sz="9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538099" y="4402262"/>
            <a:ext cx="8083513" cy="24622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Dedicated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 Platform  in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progress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for « live »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demos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(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with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1000" b="1" dirty="0" err="1" smtClean="0">
                <a:solidFill>
                  <a:srgbClr val="FFFFFF"/>
                </a:solidFill>
                <a:latin typeface="Trebuchet MS" pitchFamily="34" charset="0"/>
              </a:rPr>
              <a:t>reservation</a:t>
            </a: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)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31" name="Image 30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2294417" y="2389905"/>
            <a:ext cx="946150" cy="602386"/>
          </a:xfrm>
          <a:prstGeom prst="rect">
            <a:avLst/>
          </a:prstGeom>
        </p:spPr>
      </p:pic>
      <p:sp>
        <p:nvSpPr>
          <p:cNvPr id="32" name="ZoneTexte 31"/>
          <p:cNvSpPr txBox="1"/>
          <p:nvPr/>
        </p:nvSpPr>
        <p:spPr>
          <a:xfrm>
            <a:off x="2294417" y="2443826"/>
            <a:ext cx="9461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900" b="1" dirty="0" err="1" smtClean="0">
                <a:solidFill>
                  <a:srgbClr val="FFFFFF"/>
                </a:solidFill>
                <a:latin typeface="Trebuchet MS" pitchFamily="34" charset="0"/>
              </a:rPr>
              <a:t>Student</a:t>
            </a:r>
            <a:r>
              <a:rPr lang="fr-FR" sz="900" b="1" dirty="0" smtClean="0">
                <a:solidFill>
                  <a:srgbClr val="FFFFFF"/>
                </a:solidFill>
                <a:latin typeface="Trebuchet MS" pitchFamily="34" charset="0"/>
              </a:rPr>
              <a:t> Teacher / Staff relation</a:t>
            </a:r>
            <a:endParaRPr lang="fr-FR" sz="9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94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6089556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401033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22868" y="1000763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#PATTERN: CONNECT USERS TO BOT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128513" y="3638345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128513" y="2726716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28513" y="2441313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3809735" y="3638345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3809735" y="2726716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3809735" y="2441313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809735" y="1525153"/>
            <a:ext cx="1457499" cy="246221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IBM WATSON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6490964" y="3638345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ANDROID APP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6490964" y="2726716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6490964" y="2441313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6490964" y="3352942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ANDROID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6490964" y="1525153"/>
            <a:ext cx="1457499" cy="246221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IBM WATSON</a:t>
            </a:r>
          </a:p>
        </p:txBody>
      </p:sp>
      <p:cxnSp>
        <p:nvCxnSpPr>
          <p:cNvPr id="19" name="Connecteur droit avec flèche 18"/>
          <p:cNvCxnSpPr/>
          <p:nvPr/>
        </p:nvCxnSpPr>
        <p:spPr bwMode="auto">
          <a:xfrm flipV="1">
            <a:off x="1355729" y="297293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Connecteur droit avec flèche 20"/>
          <p:cNvCxnSpPr/>
          <p:nvPr/>
        </p:nvCxnSpPr>
        <p:spPr bwMode="auto">
          <a:xfrm flipV="1">
            <a:off x="1940391" y="297293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ZoneTexte 19"/>
          <p:cNvSpPr txBox="1"/>
          <p:nvPr/>
        </p:nvSpPr>
        <p:spPr>
          <a:xfrm>
            <a:off x="1050929" y="3238923"/>
            <a:ext cx="36576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FIND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1688240" y="3238923"/>
            <a:ext cx="36576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SK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2184232" y="3238236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NSW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25" name="Connecteur droit avec flèche 24"/>
          <p:cNvCxnSpPr/>
          <p:nvPr/>
        </p:nvCxnSpPr>
        <p:spPr bwMode="auto">
          <a:xfrm>
            <a:off x="2236878" y="297293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6" name="Connecteur droit avec flèche 25"/>
          <p:cNvCxnSpPr/>
          <p:nvPr/>
        </p:nvCxnSpPr>
        <p:spPr bwMode="auto">
          <a:xfrm flipV="1">
            <a:off x="4086825" y="2978478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7" name="Connecteur droit avec flèche 26"/>
          <p:cNvCxnSpPr/>
          <p:nvPr/>
        </p:nvCxnSpPr>
        <p:spPr bwMode="auto">
          <a:xfrm flipV="1">
            <a:off x="4671487" y="2978478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8" name="ZoneTexte 27"/>
          <p:cNvSpPr txBox="1"/>
          <p:nvPr/>
        </p:nvSpPr>
        <p:spPr>
          <a:xfrm>
            <a:off x="3782025" y="3244464"/>
            <a:ext cx="36576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FIND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4419336" y="3244464"/>
            <a:ext cx="36576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SK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4915328" y="3243777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NSW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31" name="Connecteur droit avec flèche 30"/>
          <p:cNvCxnSpPr/>
          <p:nvPr/>
        </p:nvCxnSpPr>
        <p:spPr bwMode="auto">
          <a:xfrm>
            <a:off x="4967974" y="2978478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Connecteur droit avec flèche 31"/>
          <p:cNvCxnSpPr/>
          <p:nvPr/>
        </p:nvCxnSpPr>
        <p:spPr bwMode="auto">
          <a:xfrm flipV="1">
            <a:off x="4671487" y="1776916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3" name="ZoneTexte 32"/>
          <p:cNvSpPr txBox="1"/>
          <p:nvPr/>
        </p:nvSpPr>
        <p:spPr>
          <a:xfrm>
            <a:off x="4419336" y="2042902"/>
            <a:ext cx="36576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SK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4915328" y="2042215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NSW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35" name="Connecteur droit avec flèche 34"/>
          <p:cNvCxnSpPr/>
          <p:nvPr/>
        </p:nvCxnSpPr>
        <p:spPr bwMode="auto">
          <a:xfrm>
            <a:off x="4967974" y="1776916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" name="Rectangle 21"/>
          <p:cNvSpPr/>
          <p:nvPr/>
        </p:nvSpPr>
        <p:spPr>
          <a:xfrm>
            <a:off x="989969" y="2298348"/>
            <a:ext cx="1734589" cy="807983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677367" y="1365415"/>
            <a:ext cx="1734589" cy="174091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2321392" y="2135571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9" name="ZoneTexte 38"/>
          <p:cNvSpPr txBox="1"/>
          <p:nvPr/>
        </p:nvSpPr>
        <p:spPr>
          <a:xfrm>
            <a:off x="4785096" y="1200390"/>
            <a:ext cx="65984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 WITH AI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6364772" y="3238236"/>
            <a:ext cx="1734589" cy="801028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7061886" y="4003047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NEW USER EXPERIENC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722868" y="4216525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smtClean="0">
                <a:solidFill>
                  <a:schemeClr val="bg1"/>
                </a:solidFill>
                <a:latin typeface="Trebuchet MS" pitchFamily="34" charset="0"/>
              </a:rPr>
              <a:t>SIMPLE BOT INTERACTION</a:t>
            </a:r>
            <a:endParaRPr lang="fr-FR" sz="10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3401033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AI BOT INTERACTION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6089556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CUSTOMIZE USER EXPERIENCE</a:t>
            </a:r>
          </a:p>
        </p:txBody>
      </p:sp>
      <p:cxnSp>
        <p:nvCxnSpPr>
          <p:cNvPr id="51" name="Connecteur droit avec flèche 50"/>
          <p:cNvCxnSpPr/>
          <p:nvPr/>
        </p:nvCxnSpPr>
        <p:spPr bwMode="auto">
          <a:xfrm flipV="1">
            <a:off x="6789543" y="2981274"/>
            <a:ext cx="0" cy="378000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2" name="Connecteur droit avec flèche 51"/>
          <p:cNvCxnSpPr/>
          <p:nvPr/>
        </p:nvCxnSpPr>
        <p:spPr bwMode="auto">
          <a:xfrm flipV="1">
            <a:off x="7374205" y="2981274"/>
            <a:ext cx="0" cy="378000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3" name="ZoneTexte 52"/>
          <p:cNvSpPr txBox="1"/>
          <p:nvPr/>
        </p:nvSpPr>
        <p:spPr>
          <a:xfrm>
            <a:off x="6508523" y="3044074"/>
            <a:ext cx="36576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FIND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7124816" y="3044074"/>
            <a:ext cx="36576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SK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5" name="ZoneTexte 54"/>
          <p:cNvSpPr txBox="1"/>
          <p:nvPr/>
        </p:nvSpPr>
        <p:spPr>
          <a:xfrm>
            <a:off x="7626018" y="3043568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NSW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56" name="Connecteur droit avec flèche 55"/>
          <p:cNvCxnSpPr/>
          <p:nvPr/>
        </p:nvCxnSpPr>
        <p:spPr bwMode="auto">
          <a:xfrm>
            <a:off x="7670692" y="2992942"/>
            <a:ext cx="0" cy="378000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7" name="Connecteur droit avec flèche 56"/>
          <p:cNvCxnSpPr/>
          <p:nvPr/>
        </p:nvCxnSpPr>
        <p:spPr bwMode="auto">
          <a:xfrm flipV="1">
            <a:off x="7382177" y="177670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8" name="ZoneTexte 57"/>
          <p:cNvSpPr txBox="1"/>
          <p:nvPr/>
        </p:nvSpPr>
        <p:spPr>
          <a:xfrm>
            <a:off x="7130026" y="2042693"/>
            <a:ext cx="36576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SK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9" name="ZoneTexte 58"/>
          <p:cNvSpPr txBox="1"/>
          <p:nvPr/>
        </p:nvSpPr>
        <p:spPr>
          <a:xfrm>
            <a:off x="7626018" y="2042006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NSW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60" name="Connecteur droit avec flèche 59"/>
          <p:cNvCxnSpPr/>
          <p:nvPr/>
        </p:nvCxnSpPr>
        <p:spPr bwMode="auto">
          <a:xfrm>
            <a:off x="7678664" y="177670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1" name="ZoneTexte 60"/>
          <p:cNvSpPr txBox="1"/>
          <p:nvPr/>
        </p:nvSpPr>
        <p:spPr>
          <a:xfrm>
            <a:off x="722868" y="4463022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1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3395158" y="4466755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2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6092160" y="4470488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3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5" name="ZoneTexte 64"/>
          <p:cNvSpPr txBox="1"/>
          <p:nvPr/>
        </p:nvSpPr>
        <p:spPr>
          <a:xfrm>
            <a:off x="722867" y="643861"/>
            <a:ext cx="7646509" cy="246221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Example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: Propose a bot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that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replaces first-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level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advisor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help</a:t>
            </a:r>
            <a:endParaRPr lang="fr-FR" sz="2400" i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598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6089556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401033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22868" y="1000763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#PATTERN: CONNECT GUESTS TO ADVISOR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128513" y="3688223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128513" y="2776594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25834" y="1854279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cxnSp>
        <p:nvCxnSpPr>
          <p:cNvPr id="19" name="Connecteur droit avec flèche 18"/>
          <p:cNvCxnSpPr/>
          <p:nvPr/>
        </p:nvCxnSpPr>
        <p:spPr bwMode="auto">
          <a:xfrm flipV="1">
            <a:off x="1355729" y="3022815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Connecteur droit avec flèche 20"/>
          <p:cNvCxnSpPr/>
          <p:nvPr/>
        </p:nvCxnSpPr>
        <p:spPr bwMode="auto">
          <a:xfrm flipV="1">
            <a:off x="1702093" y="2107714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ZoneTexte 19"/>
          <p:cNvSpPr txBox="1"/>
          <p:nvPr/>
        </p:nvSpPr>
        <p:spPr>
          <a:xfrm>
            <a:off x="865621" y="3299622"/>
            <a:ext cx="557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REQUEST HELP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1156487" y="2306891"/>
            <a:ext cx="6012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REATE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GUES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2184232" y="3288114"/>
            <a:ext cx="5403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GUEST ACCOUN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25" name="Connecteur droit avec flèche 24"/>
          <p:cNvCxnSpPr/>
          <p:nvPr/>
        </p:nvCxnSpPr>
        <p:spPr bwMode="auto">
          <a:xfrm>
            <a:off x="2236878" y="3022815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" name="Rectangle 21"/>
          <p:cNvSpPr/>
          <p:nvPr/>
        </p:nvSpPr>
        <p:spPr>
          <a:xfrm>
            <a:off x="989969" y="1734591"/>
            <a:ext cx="1734589" cy="14216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1704757" y="1577418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ERV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722868" y="4216525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GUEST USER REGIST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3401033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CREATE RELATIONSHIP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6089556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ADVISOR HELPS VISITOR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722868" y="4463022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1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3395158" y="4466755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2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6092160" y="4470488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3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5" name="ZoneTexte 64"/>
          <p:cNvSpPr txBox="1"/>
          <p:nvPr/>
        </p:nvSpPr>
        <p:spPr>
          <a:xfrm>
            <a:off x="1936894" y="2306891"/>
            <a:ext cx="5312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GUEST</a:t>
            </a:r>
            <a:br>
              <a:rPr lang="fr-FR" sz="60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CCOUN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66" name="Connecteur droit avec flèche 65"/>
          <p:cNvCxnSpPr/>
          <p:nvPr/>
        </p:nvCxnSpPr>
        <p:spPr bwMode="auto">
          <a:xfrm>
            <a:off x="1991287" y="2109485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9" name="ZoneTexte 78"/>
          <p:cNvSpPr txBox="1"/>
          <p:nvPr/>
        </p:nvSpPr>
        <p:spPr>
          <a:xfrm>
            <a:off x="3813764" y="3673309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3811085" y="2750994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cxnSp>
        <p:nvCxnSpPr>
          <p:cNvPr id="81" name="Connecteur droit avec flèche 80"/>
          <p:cNvCxnSpPr/>
          <p:nvPr/>
        </p:nvCxnSpPr>
        <p:spPr bwMode="auto">
          <a:xfrm flipV="1">
            <a:off x="4027125" y="3004429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2" name="ZoneTexte 81"/>
          <p:cNvSpPr txBox="1"/>
          <p:nvPr/>
        </p:nvSpPr>
        <p:spPr>
          <a:xfrm>
            <a:off x="3481519" y="3203606"/>
            <a:ext cx="6012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FIND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VISO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3675220" y="2631306"/>
            <a:ext cx="1734589" cy="14216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" name="Cylindre 3"/>
          <p:cNvSpPr/>
          <p:nvPr/>
        </p:nvSpPr>
        <p:spPr>
          <a:xfrm>
            <a:off x="5265691" y="1202184"/>
            <a:ext cx="243840" cy="378851"/>
          </a:xfrm>
          <a:prstGeom prst="can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86" name="Connecteur droit avec flèche 85"/>
          <p:cNvCxnSpPr/>
          <p:nvPr/>
        </p:nvCxnSpPr>
        <p:spPr bwMode="auto">
          <a:xfrm flipV="1">
            <a:off x="4533053" y="2995675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7" name="ZoneTexte 86"/>
          <p:cNvSpPr txBox="1"/>
          <p:nvPr/>
        </p:nvSpPr>
        <p:spPr>
          <a:xfrm>
            <a:off x="3992007" y="3200509"/>
            <a:ext cx="6012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REATE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UBBL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8" name="ZoneTexte 87"/>
          <p:cNvSpPr txBox="1"/>
          <p:nvPr/>
        </p:nvSpPr>
        <p:spPr>
          <a:xfrm>
            <a:off x="5021690" y="1035200"/>
            <a:ext cx="7318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VISOR’S LIS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0" name="Nuage 9"/>
          <p:cNvSpPr/>
          <p:nvPr/>
        </p:nvSpPr>
        <p:spPr>
          <a:xfrm>
            <a:off x="4337241" y="1786868"/>
            <a:ext cx="410544" cy="310531"/>
          </a:xfrm>
          <a:prstGeom prst="cloud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91" name="ZoneTexte 90"/>
          <p:cNvSpPr txBox="1"/>
          <p:nvPr/>
        </p:nvSpPr>
        <p:spPr>
          <a:xfrm>
            <a:off x="4181270" y="1606364"/>
            <a:ext cx="7318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UBBL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92" name="Connecteur droit avec flèche 91"/>
          <p:cNvCxnSpPr/>
          <p:nvPr/>
        </p:nvCxnSpPr>
        <p:spPr bwMode="auto">
          <a:xfrm flipV="1">
            <a:off x="5072654" y="3007125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3" name="ZoneTexte 92"/>
          <p:cNvSpPr txBox="1"/>
          <p:nvPr/>
        </p:nvSpPr>
        <p:spPr>
          <a:xfrm>
            <a:off x="4527048" y="3206302"/>
            <a:ext cx="601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PUT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VISOR AND GUEST IN</a:t>
            </a:r>
            <a:r>
              <a:rPr lang="fr-FR" sz="600" dirty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UBBL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94" name="ZoneTexte 93"/>
          <p:cNvSpPr txBox="1"/>
          <p:nvPr/>
        </p:nvSpPr>
        <p:spPr>
          <a:xfrm>
            <a:off x="4968293" y="1603697"/>
            <a:ext cx="731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D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VAILABLE ADVISO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6" name="Sourire 35"/>
          <p:cNvSpPr/>
          <p:nvPr/>
        </p:nvSpPr>
        <p:spPr>
          <a:xfrm>
            <a:off x="1691703" y="1128885"/>
            <a:ext cx="330352" cy="311066"/>
          </a:xfrm>
          <a:prstGeom prst="smileyFace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03" name="Connecteur droit avec flèche 102"/>
          <p:cNvCxnSpPr>
            <a:stCxn id="6" idx="0"/>
            <a:endCxn id="36" idx="4"/>
          </p:cNvCxnSpPr>
          <p:nvPr/>
        </p:nvCxnSpPr>
        <p:spPr bwMode="auto">
          <a:xfrm flipV="1">
            <a:off x="1854584" y="1439951"/>
            <a:ext cx="2295" cy="41432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6" name="ZoneTexte 105"/>
          <p:cNvSpPr txBox="1"/>
          <p:nvPr/>
        </p:nvSpPr>
        <p:spPr>
          <a:xfrm>
            <a:off x="1295836" y="1537315"/>
            <a:ext cx="60129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CREAT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07" name="ZoneTexte 106"/>
          <p:cNvSpPr txBox="1"/>
          <p:nvPr/>
        </p:nvSpPr>
        <p:spPr>
          <a:xfrm>
            <a:off x="1656884" y="983573"/>
            <a:ext cx="41178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GUES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14" name="ZoneTexte 113"/>
          <p:cNvSpPr txBox="1"/>
          <p:nvPr/>
        </p:nvSpPr>
        <p:spPr>
          <a:xfrm>
            <a:off x="3549118" y="1602373"/>
            <a:ext cx="7318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DD</a:t>
            </a:r>
            <a:br>
              <a:rPr lang="fr-FR" sz="60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GUES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17" name="ZoneTexte 116"/>
          <p:cNvSpPr txBox="1"/>
          <p:nvPr/>
        </p:nvSpPr>
        <p:spPr>
          <a:xfrm>
            <a:off x="3996329" y="2281612"/>
            <a:ext cx="60129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REAT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34" name="Connecteur en arc 133"/>
          <p:cNvCxnSpPr>
            <a:stCxn id="36" idx="6"/>
            <a:endCxn id="10" idx="2"/>
          </p:cNvCxnSpPr>
          <p:nvPr/>
        </p:nvCxnSpPr>
        <p:spPr bwMode="auto">
          <a:xfrm>
            <a:off x="2022055" y="1284418"/>
            <a:ext cx="2316459" cy="657716"/>
          </a:xfrm>
          <a:prstGeom prst="curvedConnector3">
            <a:avLst/>
          </a:prstGeom>
          <a:noFill/>
          <a:ln w="12700" cap="flat" cmpd="sng" algn="ctr">
            <a:solidFill>
              <a:srgbClr val="E9E9E9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38" name="Connecteur en arc 137"/>
          <p:cNvCxnSpPr>
            <a:stCxn id="4" idx="2"/>
            <a:endCxn id="10" idx="0"/>
          </p:cNvCxnSpPr>
          <p:nvPr/>
        </p:nvCxnSpPr>
        <p:spPr bwMode="auto">
          <a:xfrm rot="10800000" flipV="1">
            <a:off x="4747443" y="1391610"/>
            <a:ext cx="518248" cy="550524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rgbClr val="E9E9E9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52" name="Connecteur droit avec flèche 151"/>
          <p:cNvCxnSpPr/>
          <p:nvPr/>
        </p:nvCxnSpPr>
        <p:spPr bwMode="auto">
          <a:xfrm flipV="1">
            <a:off x="4543226" y="2085586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7" name="ZoneTexte 156"/>
          <p:cNvSpPr txBox="1"/>
          <p:nvPr/>
        </p:nvSpPr>
        <p:spPr>
          <a:xfrm>
            <a:off x="4374861" y="2466787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ERV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58" name="ZoneTexte 157"/>
          <p:cNvSpPr txBox="1"/>
          <p:nvPr/>
        </p:nvSpPr>
        <p:spPr>
          <a:xfrm>
            <a:off x="6500716" y="3677861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159" name="ZoneTexte 158"/>
          <p:cNvSpPr txBox="1"/>
          <p:nvPr/>
        </p:nvSpPr>
        <p:spPr>
          <a:xfrm>
            <a:off x="6500716" y="2758208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160" name="Nuage 159"/>
          <p:cNvSpPr/>
          <p:nvPr/>
        </p:nvSpPr>
        <p:spPr>
          <a:xfrm>
            <a:off x="7000477" y="1762084"/>
            <a:ext cx="410544" cy="310531"/>
          </a:xfrm>
          <a:prstGeom prst="cloud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61" name="Connecteur droit avec flèche 160"/>
          <p:cNvCxnSpPr/>
          <p:nvPr/>
        </p:nvCxnSpPr>
        <p:spPr bwMode="auto">
          <a:xfrm flipV="1">
            <a:off x="6695869" y="3008101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2" name="ZoneTexte 161"/>
          <p:cNvSpPr txBox="1"/>
          <p:nvPr/>
        </p:nvSpPr>
        <p:spPr>
          <a:xfrm>
            <a:off x="6150263" y="3207278"/>
            <a:ext cx="6012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LOGIN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GUES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63" name="Connecteur droit avec flèche 162"/>
          <p:cNvCxnSpPr/>
          <p:nvPr/>
        </p:nvCxnSpPr>
        <p:spPr bwMode="auto">
          <a:xfrm flipV="1">
            <a:off x="7255382" y="301044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4" name="ZoneTexte 163"/>
          <p:cNvSpPr txBox="1"/>
          <p:nvPr/>
        </p:nvSpPr>
        <p:spPr>
          <a:xfrm>
            <a:off x="6668700" y="3209624"/>
            <a:ext cx="64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HAT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FILESHARING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65" name="ZoneTexte 164"/>
          <p:cNvSpPr txBox="1"/>
          <p:nvPr/>
        </p:nvSpPr>
        <p:spPr>
          <a:xfrm>
            <a:off x="6548861" y="2280007"/>
            <a:ext cx="706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HAT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FILESHARING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66" name="Connecteur droit avec flèche 165"/>
          <p:cNvCxnSpPr/>
          <p:nvPr/>
        </p:nvCxnSpPr>
        <p:spPr bwMode="auto">
          <a:xfrm flipV="1">
            <a:off x="7200988" y="2083981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7" name="ZoneTexte 166"/>
          <p:cNvSpPr txBox="1"/>
          <p:nvPr/>
        </p:nvSpPr>
        <p:spPr>
          <a:xfrm>
            <a:off x="6835067" y="1596653"/>
            <a:ext cx="7318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UBBL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68" name="Connecteur droit avec flèche 167"/>
          <p:cNvCxnSpPr/>
          <p:nvPr/>
        </p:nvCxnSpPr>
        <p:spPr bwMode="auto">
          <a:xfrm flipV="1">
            <a:off x="7729267" y="3017265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9" name="ZoneTexte 168"/>
          <p:cNvSpPr txBox="1"/>
          <p:nvPr/>
        </p:nvSpPr>
        <p:spPr>
          <a:xfrm>
            <a:off x="7142585" y="3216442"/>
            <a:ext cx="64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UDIO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VIDEO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70" name="Sourire 169"/>
          <p:cNvSpPr/>
          <p:nvPr/>
        </p:nvSpPr>
        <p:spPr>
          <a:xfrm>
            <a:off x="7932663" y="1179824"/>
            <a:ext cx="330352" cy="311066"/>
          </a:xfrm>
          <a:prstGeom prst="smileyFace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71" name="ZoneTexte 170"/>
          <p:cNvSpPr txBox="1"/>
          <p:nvPr/>
        </p:nvSpPr>
        <p:spPr>
          <a:xfrm>
            <a:off x="7850312" y="1017590"/>
            <a:ext cx="47417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VISO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6363388" y="2629192"/>
            <a:ext cx="1734589" cy="14216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75" name="ZoneTexte 174"/>
          <p:cNvSpPr txBox="1"/>
          <p:nvPr/>
        </p:nvSpPr>
        <p:spPr>
          <a:xfrm>
            <a:off x="7063029" y="2464673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LIEN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77" name="Connecteur en angle 176"/>
          <p:cNvCxnSpPr>
            <a:stCxn id="170" idx="2"/>
            <a:endCxn id="160" idx="0"/>
          </p:cNvCxnSpPr>
          <p:nvPr/>
        </p:nvCxnSpPr>
        <p:spPr bwMode="auto">
          <a:xfrm rot="10800000" flipV="1">
            <a:off x="7410679" y="1335356"/>
            <a:ext cx="521984" cy="581993"/>
          </a:xfrm>
          <a:prstGeom prst="bentConnector3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78" name="ZoneTexte 177"/>
          <p:cNvSpPr txBox="1"/>
          <p:nvPr/>
        </p:nvSpPr>
        <p:spPr>
          <a:xfrm>
            <a:off x="7020291" y="1294823"/>
            <a:ext cx="706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CHAT</a:t>
            </a:r>
            <a:br>
              <a:rPr lang="fr-FR" sz="60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FILESHARING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80" name="Connecteur en arc 179"/>
          <p:cNvCxnSpPr>
            <a:stCxn id="170" idx="4"/>
          </p:cNvCxnSpPr>
          <p:nvPr/>
        </p:nvCxnSpPr>
        <p:spPr bwMode="auto">
          <a:xfrm rot="5400000">
            <a:off x="7201911" y="1871706"/>
            <a:ext cx="1276745" cy="515112"/>
          </a:xfrm>
          <a:prstGeom prst="curvedConnector3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/>
            <a:tailEnd type="triangle"/>
          </a:ln>
          <a:effectLst/>
        </p:spPr>
      </p:cxnSp>
      <p:sp>
        <p:nvSpPr>
          <p:cNvPr id="183" name="ZoneTexte 182"/>
          <p:cNvSpPr txBox="1"/>
          <p:nvPr/>
        </p:nvSpPr>
        <p:spPr>
          <a:xfrm>
            <a:off x="7912162" y="1950880"/>
            <a:ext cx="454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UDIO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VIDEO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84" name="ZoneTexte 183"/>
          <p:cNvSpPr txBox="1"/>
          <p:nvPr/>
        </p:nvSpPr>
        <p:spPr>
          <a:xfrm>
            <a:off x="722867" y="643861"/>
            <a:ext cx="7646509" cy="246221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Example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: Propose a « I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need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help »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button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to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visitor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of a Web site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that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connect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a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visitor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to an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advisor</a:t>
            </a:r>
            <a:endParaRPr lang="fr-FR" sz="2400" i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42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6089556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401033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22868" y="1000763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#PATTERN: PRESENCE BASED MONITORING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722868" y="4216525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IOT REGIST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3401033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IOT MONITORING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6089556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IOT FAILURE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722868" y="4463022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1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3395158" y="4466755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2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6092160" y="4470488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3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2" name="ZoneTexte 81"/>
          <p:cNvSpPr txBox="1"/>
          <p:nvPr/>
        </p:nvSpPr>
        <p:spPr>
          <a:xfrm>
            <a:off x="678749" y="2675302"/>
            <a:ext cx="6012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TART &amp; SUBSCRIB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4" name="Cylindre 3"/>
          <p:cNvSpPr/>
          <p:nvPr/>
        </p:nvSpPr>
        <p:spPr>
          <a:xfrm>
            <a:off x="2366304" y="1174751"/>
            <a:ext cx="243840" cy="378851"/>
          </a:xfrm>
          <a:prstGeom prst="can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38" name="Connecteur en arc 137"/>
          <p:cNvCxnSpPr>
            <a:stCxn id="4" idx="2"/>
            <a:endCxn id="98" idx="0"/>
          </p:cNvCxnSpPr>
          <p:nvPr/>
        </p:nvCxnSpPr>
        <p:spPr bwMode="auto">
          <a:xfrm rot="10800000" flipV="1">
            <a:off x="1302492" y="1364176"/>
            <a:ext cx="1063812" cy="418935"/>
          </a:xfrm>
          <a:prstGeom prst="curvedConnector2">
            <a:avLst/>
          </a:prstGeom>
          <a:noFill/>
          <a:ln w="12700" cap="flat" cmpd="sng" algn="ctr">
            <a:solidFill>
              <a:srgbClr val="E9E9E9"/>
            </a:solidFill>
            <a:prstDash val="sysDot"/>
            <a:round/>
            <a:headEnd type="triangle" w="med" len="med"/>
            <a:tailEnd type="none" w="med" len="med"/>
          </a:ln>
          <a:effectLst/>
        </p:spPr>
      </p:cxnSp>
      <p:sp>
        <p:nvSpPr>
          <p:cNvPr id="69" name="ZoneTexte 68"/>
          <p:cNvSpPr txBox="1"/>
          <p:nvPr/>
        </p:nvSpPr>
        <p:spPr>
          <a:xfrm>
            <a:off x="1125019" y="3676737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70" name="ZoneTexte 69"/>
          <p:cNvSpPr txBox="1"/>
          <p:nvPr/>
        </p:nvSpPr>
        <p:spPr>
          <a:xfrm>
            <a:off x="1122750" y="3329540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73" name="Rectangle 72"/>
          <p:cNvSpPr/>
          <p:nvPr/>
        </p:nvSpPr>
        <p:spPr>
          <a:xfrm>
            <a:off x="986475" y="3206051"/>
            <a:ext cx="1734589" cy="8503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78" name="ZoneTexte 77"/>
          <p:cNvSpPr txBox="1"/>
          <p:nvPr/>
        </p:nvSpPr>
        <p:spPr>
          <a:xfrm>
            <a:off x="1674734" y="3040726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I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9" name="ZoneTexte 88"/>
          <p:cNvSpPr txBox="1"/>
          <p:nvPr/>
        </p:nvSpPr>
        <p:spPr>
          <a:xfrm>
            <a:off x="1980123" y="2051259"/>
            <a:ext cx="811283" cy="184666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90" name="ZoneTexte 89"/>
          <p:cNvSpPr txBox="1"/>
          <p:nvPr/>
        </p:nvSpPr>
        <p:spPr>
          <a:xfrm>
            <a:off x="1982702" y="1794281"/>
            <a:ext cx="813552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95" name="Rectangle 94"/>
          <p:cNvSpPr/>
          <p:nvPr/>
        </p:nvSpPr>
        <p:spPr>
          <a:xfrm>
            <a:off x="1906939" y="1713767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96" name="ZoneTexte 95"/>
          <p:cNvSpPr txBox="1"/>
          <p:nvPr/>
        </p:nvSpPr>
        <p:spPr>
          <a:xfrm>
            <a:off x="1845343" y="1550238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97" name="ZoneTexte 96"/>
          <p:cNvSpPr txBox="1"/>
          <p:nvPr/>
        </p:nvSpPr>
        <p:spPr>
          <a:xfrm>
            <a:off x="881187" y="2047045"/>
            <a:ext cx="839635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98" name="ZoneTexte 97"/>
          <p:cNvSpPr txBox="1"/>
          <p:nvPr/>
        </p:nvSpPr>
        <p:spPr>
          <a:xfrm>
            <a:off x="882674" y="1783112"/>
            <a:ext cx="839635" cy="18466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99" name="Rectangle 98"/>
          <p:cNvSpPr/>
          <p:nvPr/>
        </p:nvSpPr>
        <p:spPr>
          <a:xfrm>
            <a:off x="822220" y="1713767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00" name="ZoneTexte 99"/>
          <p:cNvSpPr txBox="1"/>
          <p:nvPr/>
        </p:nvSpPr>
        <p:spPr>
          <a:xfrm>
            <a:off x="745163" y="1555402"/>
            <a:ext cx="63472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MIN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01" name="Connecteur droit avec flèche 100"/>
          <p:cNvCxnSpPr/>
          <p:nvPr/>
        </p:nvCxnSpPr>
        <p:spPr bwMode="auto">
          <a:xfrm flipH="1" flipV="1">
            <a:off x="1224515" y="2241467"/>
            <a:ext cx="3354" cy="1094723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" name="Rectangle à coins arrondis 6"/>
          <p:cNvSpPr/>
          <p:nvPr/>
        </p:nvSpPr>
        <p:spPr>
          <a:xfrm>
            <a:off x="1499813" y="1662579"/>
            <a:ext cx="707910" cy="172276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smtClean="0">
                <a:solidFill>
                  <a:schemeClr val="bg1"/>
                </a:solidFill>
                <a:latin typeface="Trebuchet MS"/>
                <a:cs typeface="Trebuchet MS"/>
              </a:rPr>
              <a:t>SAME IDENTITY</a:t>
            </a:r>
            <a:endParaRPr lang="fr-FR" sz="16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cxnSp>
        <p:nvCxnSpPr>
          <p:cNvPr id="16" name="Connecteur en arc 15"/>
          <p:cNvCxnSpPr>
            <a:stCxn id="4" idx="3"/>
            <a:endCxn id="90" idx="0"/>
          </p:cNvCxnSpPr>
          <p:nvPr/>
        </p:nvCxnSpPr>
        <p:spPr bwMode="auto">
          <a:xfrm rot="5400000">
            <a:off x="2318512" y="1624568"/>
            <a:ext cx="240679" cy="98746"/>
          </a:xfrm>
          <a:prstGeom prst="curvedConnector3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02" name="ZoneTexte 101"/>
          <p:cNvSpPr txBox="1"/>
          <p:nvPr/>
        </p:nvSpPr>
        <p:spPr>
          <a:xfrm>
            <a:off x="2076158" y="1013715"/>
            <a:ext cx="8241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BOT’S NETWORK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04" name="Connecteur droit avec flèche 103"/>
          <p:cNvCxnSpPr/>
          <p:nvPr/>
        </p:nvCxnSpPr>
        <p:spPr bwMode="auto">
          <a:xfrm flipH="1">
            <a:off x="1437271" y="2241467"/>
            <a:ext cx="3354" cy="1094723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5" name="ZoneTexte 104"/>
          <p:cNvSpPr txBox="1"/>
          <p:nvPr/>
        </p:nvSpPr>
        <p:spPr>
          <a:xfrm>
            <a:off x="1396234" y="2671493"/>
            <a:ext cx="6012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MANUAL</a:t>
            </a:r>
            <a:br>
              <a:rPr lang="fr-FR" sz="60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CCEP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08" name="ZoneTexte 107"/>
          <p:cNvSpPr txBox="1"/>
          <p:nvPr/>
        </p:nvSpPr>
        <p:spPr>
          <a:xfrm>
            <a:off x="3803375" y="3671195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09" name="ZoneTexte 108"/>
          <p:cNvSpPr txBox="1"/>
          <p:nvPr/>
        </p:nvSpPr>
        <p:spPr>
          <a:xfrm>
            <a:off x="3801106" y="3323998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3664831" y="3200509"/>
            <a:ext cx="1734589" cy="8503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11" name="ZoneTexte 110"/>
          <p:cNvSpPr txBox="1"/>
          <p:nvPr/>
        </p:nvSpPr>
        <p:spPr>
          <a:xfrm>
            <a:off x="4354243" y="3038356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I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12" name="ZoneTexte 111"/>
          <p:cNvSpPr txBox="1"/>
          <p:nvPr/>
        </p:nvSpPr>
        <p:spPr>
          <a:xfrm>
            <a:off x="4672005" y="2046609"/>
            <a:ext cx="811283" cy="184666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13" name="ZoneTexte 112"/>
          <p:cNvSpPr txBox="1"/>
          <p:nvPr/>
        </p:nvSpPr>
        <p:spPr>
          <a:xfrm>
            <a:off x="4674584" y="1789631"/>
            <a:ext cx="813552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4598821" y="1709117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16" name="ZoneTexte 115"/>
          <p:cNvSpPr txBox="1"/>
          <p:nvPr/>
        </p:nvSpPr>
        <p:spPr>
          <a:xfrm>
            <a:off x="4537225" y="1545588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26" name="ZoneTexte 125"/>
          <p:cNvSpPr txBox="1"/>
          <p:nvPr/>
        </p:nvSpPr>
        <p:spPr>
          <a:xfrm>
            <a:off x="6491604" y="3671195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27" name="ZoneTexte 126"/>
          <p:cNvSpPr txBox="1"/>
          <p:nvPr/>
        </p:nvSpPr>
        <p:spPr>
          <a:xfrm>
            <a:off x="6489335" y="3323998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28" name="Rectangle 127"/>
          <p:cNvSpPr/>
          <p:nvPr/>
        </p:nvSpPr>
        <p:spPr>
          <a:xfrm>
            <a:off x="6353060" y="3200509"/>
            <a:ext cx="1734589" cy="8503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29" name="ZoneTexte 128"/>
          <p:cNvSpPr txBox="1"/>
          <p:nvPr/>
        </p:nvSpPr>
        <p:spPr>
          <a:xfrm>
            <a:off x="7042472" y="3038356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I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30" name="ZoneTexte 129"/>
          <p:cNvSpPr txBox="1"/>
          <p:nvPr/>
        </p:nvSpPr>
        <p:spPr>
          <a:xfrm>
            <a:off x="7360234" y="2046609"/>
            <a:ext cx="811283" cy="184666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31" name="ZoneTexte 130"/>
          <p:cNvSpPr txBox="1"/>
          <p:nvPr/>
        </p:nvSpPr>
        <p:spPr>
          <a:xfrm>
            <a:off x="7362813" y="1789631"/>
            <a:ext cx="813552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32" name="Rectangle 131"/>
          <p:cNvSpPr/>
          <p:nvPr/>
        </p:nvSpPr>
        <p:spPr>
          <a:xfrm>
            <a:off x="7287050" y="1709117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33" name="ZoneTexte 132"/>
          <p:cNvSpPr txBox="1"/>
          <p:nvPr/>
        </p:nvSpPr>
        <p:spPr>
          <a:xfrm>
            <a:off x="7225454" y="1545588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8" name="Connecteur en arc 17"/>
          <p:cNvCxnSpPr>
            <a:stCxn id="109" idx="0"/>
            <a:endCxn id="185" idx="2"/>
          </p:cNvCxnSpPr>
          <p:nvPr/>
        </p:nvCxnSpPr>
        <p:spPr bwMode="auto">
          <a:xfrm rot="16200000" flipV="1">
            <a:off x="4176920" y="2971062"/>
            <a:ext cx="471022" cy="234850"/>
          </a:xfrm>
          <a:prstGeom prst="curvedConnector3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39" name="Connecteur en arc 138"/>
          <p:cNvCxnSpPr>
            <a:stCxn id="185" idx="0"/>
            <a:endCxn id="113" idx="1"/>
          </p:cNvCxnSpPr>
          <p:nvPr/>
        </p:nvCxnSpPr>
        <p:spPr bwMode="auto">
          <a:xfrm rot="5400000" flipH="1" flipV="1">
            <a:off x="4147339" y="1987071"/>
            <a:ext cx="632352" cy="422138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41" name="Connecteur en arc 140"/>
          <p:cNvCxnSpPr>
            <a:endCxn id="52" idx="2"/>
          </p:cNvCxnSpPr>
          <p:nvPr/>
        </p:nvCxnSpPr>
        <p:spPr bwMode="auto">
          <a:xfrm rot="16200000" flipV="1">
            <a:off x="6847042" y="2951755"/>
            <a:ext cx="480633" cy="266362"/>
          </a:xfrm>
          <a:prstGeom prst="curvedConnector3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42" name="Connecteur en arc 141"/>
          <p:cNvCxnSpPr>
            <a:stCxn id="52" idx="0"/>
            <a:endCxn id="131" idx="1"/>
          </p:cNvCxnSpPr>
          <p:nvPr/>
        </p:nvCxnSpPr>
        <p:spPr bwMode="auto">
          <a:xfrm rot="5400000" flipH="1" flipV="1">
            <a:off x="6825218" y="1968364"/>
            <a:ext cx="623995" cy="451196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43" name="ZoneTexte 142"/>
          <p:cNvSpPr txBox="1"/>
          <p:nvPr/>
        </p:nvSpPr>
        <p:spPr>
          <a:xfrm>
            <a:off x="3593917" y="2595604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44" name="ZoneTexte 143"/>
          <p:cNvSpPr txBox="1"/>
          <p:nvPr/>
        </p:nvSpPr>
        <p:spPr>
          <a:xfrm>
            <a:off x="6252116" y="2595604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45" name="ZoneTexte 144"/>
          <p:cNvSpPr txBox="1"/>
          <p:nvPr/>
        </p:nvSpPr>
        <p:spPr>
          <a:xfrm>
            <a:off x="4286997" y="2919453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ONLIN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46" name="ZoneTexte 145"/>
          <p:cNvSpPr txBox="1"/>
          <p:nvPr/>
        </p:nvSpPr>
        <p:spPr>
          <a:xfrm>
            <a:off x="4216457" y="2313400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ONLIN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48" name="ZoneTexte 147"/>
          <p:cNvSpPr txBox="1"/>
          <p:nvPr/>
        </p:nvSpPr>
        <p:spPr>
          <a:xfrm>
            <a:off x="6869362" y="2320543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OFFLIN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50" name="ZoneTexte 149"/>
          <p:cNvSpPr txBox="1"/>
          <p:nvPr/>
        </p:nvSpPr>
        <p:spPr>
          <a:xfrm>
            <a:off x="6955118" y="2912264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OFFLIN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55" name="Nuage 154"/>
          <p:cNvSpPr/>
          <p:nvPr/>
        </p:nvSpPr>
        <p:spPr>
          <a:xfrm>
            <a:off x="6567023" y="1244287"/>
            <a:ext cx="410544" cy="310531"/>
          </a:xfrm>
          <a:prstGeom prst="cloud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56" name="ZoneTexte 155"/>
          <p:cNvSpPr txBox="1"/>
          <p:nvPr/>
        </p:nvSpPr>
        <p:spPr>
          <a:xfrm>
            <a:off x="6339244" y="1788510"/>
            <a:ext cx="692771" cy="184666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172" name="ZoneTexte 171"/>
          <p:cNvSpPr txBox="1"/>
          <p:nvPr/>
        </p:nvSpPr>
        <p:spPr>
          <a:xfrm>
            <a:off x="6014798" y="1938175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OTHER SUPERVISOR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73" name="Connecteur en arc 172"/>
          <p:cNvCxnSpPr>
            <a:stCxn id="131" idx="0"/>
            <a:endCxn id="155" idx="0"/>
          </p:cNvCxnSpPr>
          <p:nvPr/>
        </p:nvCxnSpPr>
        <p:spPr bwMode="auto">
          <a:xfrm rot="16200000" flipV="1">
            <a:off x="7178368" y="1198410"/>
            <a:ext cx="390078" cy="792364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81" name="Connecteur en arc 180"/>
          <p:cNvCxnSpPr>
            <a:stCxn id="155" idx="1"/>
            <a:endCxn id="156" idx="0"/>
          </p:cNvCxnSpPr>
          <p:nvPr/>
        </p:nvCxnSpPr>
        <p:spPr bwMode="auto">
          <a:xfrm rot="5400000">
            <a:off x="6611952" y="1628166"/>
            <a:ext cx="234023" cy="86665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82" name="ZoneTexte 181"/>
          <p:cNvSpPr txBox="1"/>
          <p:nvPr/>
        </p:nvSpPr>
        <p:spPr>
          <a:xfrm>
            <a:off x="6154121" y="1495652"/>
            <a:ext cx="71476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NOTIFICATION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84" name="ZoneTexte 183"/>
          <p:cNvSpPr txBox="1"/>
          <p:nvPr/>
        </p:nvSpPr>
        <p:spPr>
          <a:xfrm>
            <a:off x="6414913" y="1084012"/>
            <a:ext cx="71476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BUBBL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2" name="Explosion 2 51"/>
          <p:cNvSpPr/>
          <p:nvPr/>
        </p:nvSpPr>
        <p:spPr>
          <a:xfrm>
            <a:off x="6692695" y="2468268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85" name="Explosion 2 184"/>
          <p:cNvSpPr/>
          <p:nvPr/>
        </p:nvSpPr>
        <p:spPr>
          <a:xfrm>
            <a:off x="4033524" y="2476625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86" name="ZoneTexte 185"/>
          <p:cNvSpPr txBox="1"/>
          <p:nvPr/>
        </p:nvSpPr>
        <p:spPr>
          <a:xfrm>
            <a:off x="7603914" y="1126487"/>
            <a:ext cx="692771" cy="184666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187" name="ZoneTexte 186"/>
          <p:cNvSpPr txBox="1"/>
          <p:nvPr/>
        </p:nvSpPr>
        <p:spPr>
          <a:xfrm>
            <a:off x="7274283" y="987565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UPERVISO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88" name="Connecteur en arc 187"/>
          <p:cNvCxnSpPr>
            <a:stCxn id="131" idx="0"/>
            <a:endCxn id="186" idx="2"/>
          </p:cNvCxnSpPr>
          <p:nvPr/>
        </p:nvCxnSpPr>
        <p:spPr bwMode="auto">
          <a:xfrm rot="5400000" flipH="1" flipV="1">
            <a:off x="7620705" y="1460037"/>
            <a:ext cx="478478" cy="180711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89" name="ZoneTexte 188"/>
          <p:cNvSpPr txBox="1"/>
          <p:nvPr/>
        </p:nvSpPr>
        <p:spPr>
          <a:xfrm>
            <a:off x="7437801" y="1364069"/>
            <a:ext cx="71476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END MSG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90" name="ZoneTexte 189"/>
          <p:cNvSpPr txBox="1"/>
          <p:nvPr/>
        </p:nvSpPr>
        <p:spPr>
          <a:xfrm>
            <a:off x="722867" y="643861"/>
            <a:ext cx="7646509" cy="246221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Example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: Propose a bot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that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monitors IOT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device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and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alert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one or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several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people in case of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failure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detection</a:t>
            </a:r>
            <a:endParaRPr lang="fr-FR" sz="2400" i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548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6089556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401033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22868" y="1000763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#PATTERN: URL BASED P2P COMMUNICATION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722868" y="4216525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GUEST 1 CONNECT TO RAINBOW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3401033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GUEST 2 USES URL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6089556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GUEST 2 CALLS GUEST 1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722868" y="4463022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1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3395158" y="4466755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2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6092160" y="4470488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3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65" name="ZoneTexte 164"/>
          <p:cNvSpPr txBox="1"/>
          <p:nvPr/>
        </p:nvSpPr>
        <p:spPr>
          <a:xfrm>
            <a:off x="722867" y="643861"/>
            <a:ext cx="7646509" cy="246221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Example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: Audio/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Video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communication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between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2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user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based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on URL</a:t>
            </a:r>
            <a:endParaRPr lang="fr-FR" sz="2400" i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86428" y="3156237"/>
            <a:ext cx="1734589" cy="8473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60" name="ZoneTexte 59"/>
          <p:cNvSpPr txBox="1"/>
          <p:nvPr/>
        </p:nvSpPr>
        <p:spPr>
          <a:xfrm>
            <a:off x="1123756" y="3630606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62" name="ZoneTexte 61"/>
          <p:cNvSpPr txBox="1"/>
          <p:nvPr/>
        </p:nvSpPr>
        <p:spPr>
          <a:xfrm>
            <a:off x="1123756" y="3277079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65" name="ZoneTexte 64"/>
          <p:cNvSpPr txBox="1"/>
          <p:nvPr/>
        </p:nvSpPr>
        <p:spPr>
          <a:xfrm>
            <a:off x="900398" y="1994610"/>
            <a:ext cx="811283" cy="18466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66" name="ZoneTexte 65"/>
          <p:cNvSpPr txBox="1"/>
          <p:nvPr/>
        </p:nvSpPr>
        <p:spPr>
          <a:xfrm>
            <a:off x="898129" y="2264576"/>
            <a:ext cx="813552" cy="184666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67" name="Rectangle 66"/>
          <p:cNvSpPr/>
          <p:nvPr/>
        </p:nvSpPr>
        <p:spPr>
          <a:xfrm>
            <a:off x="824678" y="1916841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68" name="Connecteur en arc 67"/>
          <p:cNvCxnSpPr/>
          <p:nvPr/>
        </p:nvCxnSpPr>
        <p:spPr bwMode="auto">
          <a:xfrm rot="16200000" flipV="1">
            <a:off x="1158965" y="2583538"/>
            <a:ext cx="838080" cy="54900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triangle"/>
          </a:ln>
          <a:effectLst/>
        </p:spPr>
      </p:cxnSp>
      <p:sp>
        <p:nvSpPr>
          <p:cNvPr id="71" name="ZoneTexte 70"/>
          <p:cNvSpPr txBox="1"/>
          <p:nvPr/>
        </p:nvSpPr>
        <p:spPr>
          <a:xfrm>
            <a:off x="1408155" y="1774303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2" name="ZoneTexte 71"/>
          <p:cNvSpPr txBox="1"/>
          <p:nvPr/>
        </p:nvSpPr>
        <p:spPr>
          <a:xfrm>
            <a:off x="2250849" y="2999041"/>
            <a:ext cx="54876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GUES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3" name="ZoneTexte 72"/>
          <p:cNvSpPr txBox="1"/>
          <p:nvPr/>
        </p:nvSpPr>
        <p:spPr>
          <a:xfrm>
            <a:off x="865369" y="2676208"/>
            <a:ext cx="5887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SK GUEST ACCOUN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4" name="Explosion 2 73"/>
          <p:cNvSpPr/>
          <p:nvPr/>
        </p:nvSpPr>
        <p:spPr>
          <a:xfrm>
            <a:off x="2168228" y="1397392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77" name="Connecteur en arc 76"/>
          <p:cNvCxnSpPr>
            <a:stCxn id="62" idx="0"/>
            <a:endCxn id="74" idx="2"/>
          </p:cNvCxnSpPr>
          <p:nvPr/>
        </p:nvCxnSpPr>
        <p:spPr bwMode="auto">
          <a:xfrm rot="5400000" flipH="1" flipV="1">
            <a:off x="1389440" y="2236809"/>
            <a:ext cx="1503336" cy="577204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78" name="ZoneTexte 77"/>
          <p:cNvSpPr txBox="1"/>
          <p:nvPr/>
        </p:nvSpPr>
        <p:spPr>
          <a:xfrm>
            <a:off x="1711681" y="1518951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9" name="ZoneTexte 78"/>
          <p:cNvSpPr txBox="1"/>
          <p:nvPr/>
        </p:nvSpPr>
        <p:spPr>
          <a:xfrm>
            <a:off x="2017142" y="2533867"/>
            <a:ext cx="55822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CONNEC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" name="Terminaison 7"/>
          <p:cNvSpPr/>
          <p:nvPr/>
        </p:nvSpPr>
        <p:spPr>
          <a:xfrm>
            <a:off x="2300425" y="3340903"/>
            <a:ext cx="549876" cy="145997"/>
          </a:xfrm>
          <a:prstGeom prst="flowChartTerminator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400" dirty="0" smtClean="0">
                <a:solidFill>
                  <a:schemeClr val="bg1"/>
                </a:solidFill>
                <a:latin typeface="Trebuchet MS"/>
                <a:cs typeface="Trebuchet MS"/>
              </a:rPr>
              <a:t>URL/GUESTID</a:t>
            </a:r>
            <a:endParaRPr lang="fr-FR" sz="4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3664769" y="3156237"/>
            <a:ext cx="1734589" cy="8473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81" name="ZoneTexte 80"/>
          <p:cNvSpPr txBox="1"/>
          <p:nvPr/>
        </p:nvSpPr>
        <p:spPr>
          <a:xfrm>
            <a:off x="3802097" y="3630606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82" name="ZoneTexte 81"/>
          <p:cNvSpPr txBox="1"/>
          <p:nvPr/>
        </p:nvSpPr>
        <p:spPr>
          <a:xfrm>
            <a:off x="3802097" y="3277079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83" name="Explosion 2 82"/>
          <p:cNvSpPr/>
          <p:nvPr/>
        </p:nvSpPr>
        <p:spPr>
          <a:xfrm>
            <a:off x="4795986" y="1397392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84" name="Connecteur en arc 83"/>
          <p:cNvCxnSpPr>
            <a:stCxn id="82" idx="0"/>
            <a:endCxn id="83" idx="2"/>
          </p:cNvCxnSpPr>
          <p:nvPr/>
        </p:nvCxnSpPr>
        <p:spPr bwMode="auto">
          <a:xfrm rot="5400000" flipH="1" flipV="1">
            <a:off x="4042489" y="2262101"/>
            <a:ext cx="1503336" cy="526621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87" name="ZoneTexte 86"/>
          <p:cNvSpPr txBox="1"/>
          <p:nvPr/>
        </p:nvSpPr>
        <p:spPr>
          <a:xfrm>
            <a:off x="4339439" y="1518951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96" name="ZoneTexte 95"/>
          <p:cNvSpPr txBox="1"/>
          <p:nvPr/>
        </p:nvSpPr>
        <p:spPr>
          <a:xfrm>
            <a:off x="4644900" y="2533867"/>
            <a:ext cx="55822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CONNEC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02" name="Connecteur en arc 101"/>
          <p:cNvCxnSpPr>
            <a:stCxn id="8" idx="3"/>
            <a:endCxn id="81" idx="1"/>
          </p:cNvCxnSpPr>
          <p:nvPr/>
        </p:nvCxnSpPr>
        <p:spPr bwMode="auto">
          <a:xfrm>
            <a:off x="2850301" y="3413902"/>
            <a:ext cx="951796" cy="339815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03" name="ZoneTexte 102"/>
          <p:cNvSpPr txBox="1"/>
          <p:nvPr/>
        </p:nvSpPr>
        <p:spPr>
          <a:xfrm>
            <a:off x="3580737" y="2012139"/>
            <a:ext cx="811283" cy="18466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04" name="ZoneTexte 103"/>
          <p:cNvSpPr txBox="1"/>
          <p:nvPr/>
        </p:nvSpPr>
        <p:spPr>
          <a:xfrm>
            <a:off x="3578468" y="2282105"/>
            <a:ext cx="813552" cy="184666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3505017" y="1934370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06" name="Connecteur en arc 105"/>
          <p:cNvCxnSpPr>
            <a:stCxn id="82" idx="0"/>
            <a:endCxn id="104" idx="2"/>
          </p:cNvCxnSpPr>
          <p:nvPr/>
        </p:nvCxnSpPr>
        <p:spPr bwMode="auto">
          <a:xfrm rot="16200000" flipV="1">
            <a:off x="3852892" y="2599123"/>
            <a:ext cx="810308" cy="545603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triangle"/>
          </a:ln>
          <a:effectLst/>
        </p:spPr>
      </p:cxnSp>
      <p:sp>
        <p:nvSpPr>
          <p:cNvPr id="111" name="ZoneTexte 110"/>
          <p:cNvSpPr txBox="1"/>
          <p:nvPr/>
        </p:nvSpPr>
        <p:spPr>
          <a:xfrm>
            <a:off x="4088494" y="1791832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12" name="ZoneTexte 111"/>
          <p:cNvSpPr txBox="1"/>
          <p:nvPr/>
        </p:nvSpPr>
        <p:spPr>
          <a:xfrm>
            <a:off x="3540080" y="2668681"/>
            <a:ext cx="5887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SK GUEST ACCOUN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6362727" y="3156237"/>
            <a:ext cx="1734589" cy="8473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16" name="ZoneTexte 115"/>
          <p:cNvSpPr txBox="1"/>
          <p:nvPr/>
        </p:nvSpPr>
        <p:spPr>
          <a:xfrm>
            <a:off x="6500055" y="3630606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126" name="ZoneTexte 125"/>
          <p:cNvSpPr txBox="1"/>
          <p:nvPr/>
        </p:nvSpPr>
        <p:spPr>
          <a:xfrm>
            <a:off x="6500055" y="3277079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127" name="Terminaison 126"/>
          <p:cNvSpPr/>
          <p:nvPr/>
        </p:nvSpPr>
        <p:spPr>
          <a:xfrm>
            <a:off x="5097975" y="3680717"/>
            <a:ext cx="549876" cy="145997"/>
          </a:xfrm>
          <a:prstGeom prst="flowChartTerminator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400" dirty="0" smtClean="0">
                <a:solidFill>
                  <a:schemeClr val="bg1"/>
                </a:solidFill>
                <a:latin typeface="Trebuchet MS"/>
                <a:cs typeface="Trebuchet MS"/>
              </a:rPr>
              <a:t>URL/GUESTID</a:t>
            </a:r>
            <a:endParaRPr lang="fr-FR" sz="4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cxnSp>
        <p:nvCxnSpPr>
          <p:cNvPr id="128" name="Connecteur en arc 127"/>
          <p:cNvCxnSpPr>
            <a:stCxn id="127" idx="3"/>
          </p:cNvCxnSpPr>
          <p:nvPr/>
        </p:nvCxnSpPr>
        <p:spPr bwMode="auto">
          <a:xfrm flipV="1">
            <a:off x="5647851" y="3753715"/>
            <a:ext cx="852203" cy="1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29" name="Explosion 2 128"/>
          <p:cNvSpPr/>
          <p:nvPr/>
        </p:nvSpPr>
        <p:spPr>
          <a:xfrm>
            <a:off x="6508831" y="1884165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30" name="ZoneTexte 129"/>
          <p:cNvSpPr txBox="1"/>
          <p:nvPr/>
        </p:nvSpPr>
        <p:spPr>
          <a:xfrm>
            <a:off x="7304155" y="1507408"/>
            <a:ext cx="839635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131" name="ZoneTexte 130"/>
          <p:cNvSpPr txBox="1"/>
          <p:nvPr/>
        </p:nvSpPr>
        <p:spPr>
          <a:xfrm>
            <a:off x="7305642" y="1243475"/>
            <a:ext cx="839635" cy="18466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132" name="Rectangle 131"/>
          <p:cNvSpPr/>
          <p:nvPr/>
        </p:nvSpPr>
        <p:spPr>
          <a:xfrm>
            <a:off x="7245188" y="1174130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33" name="ZoneTexte 132"/>
          <p:cNvSpPr txBox="1"/>
          <p:nvPr/>
        </p:nvSpPr>
        <p:spPr>
          <a:xfrm>
            <a:off x="4923419" y="3002362"/>
            <a:ext cx="54876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GUES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37" name="ZoneTexte 136"/>
          <p:cNvSpPr txBox="1"/>
          <p:nvPr/>
        </p:nvSpPr>
        <p:spPr>
          <a:xfrm>
            <a:off x="7595989" y="3005683"/>
            <a:ext cx="54876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GUES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39" name="ZoneTexte 138"/>
          <p:cNvSpPr txBox="1"/>
          <p:nvPr/>
        </p:nvSpPr>
        <p:spPr>
          <a:xfrm>
            <a:off x="7723972" y="1019176"/>
            <a:ext cx="54876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GUES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41" name="Connecteur en arc 140"/>
          <p:cNvCxnSpPr>
            <a:stCxn id="126" idx="0"/>
            <a:endCxn id="129" idx="2"/>
          </p:cNvCxnSpPr>
          <p:nvPr/>
        </p:nvCxnSpPr>
        <p:spPr bwMode="auto">
          <a:xfrm rot="16200000" flipV="1">
            <a:off x="6491278" y="2539552"/>
            <a:ext cx="1016563" cy="45849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42" name="ZoneTexte 141"/>
          <p:cNvSpPr txBox="1"/>
          <p:nvPr/>
        </p:nvSpPr>
        <p:spPr>
          <a:xfrm>
            <a:off x="6046706" y="2329474"/>
            <a:ext cx="781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CREATE CONVERSATION WITH GUESTID</a:t>
            </a:r>
            <a:br>
              <a:rPr lang="fr-FR" sz="60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+ CALL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43" name="Connecteur en arc 142"/>
          <p:cNvCxnSpPr>
            <a:stCxn id="129" idx="0"/>
            <a:endCxn id="132" idx="1"/>
          </p:cNvCxnSpPr>
          <p:nvPr/>
        </p:nvCxnSpPr>
        <p:spPr bwMode="auto">
          <a:xfrm rot="5400000" flipH="1" flipV="1">
            <a:off x="6767033" y="1443702"/>
            <a:ext cx="438875" cy="517435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44" name="Connecteur en arc 143"/>
          <p:cNvCxnSpPr>
            <a:stCxn id="126" idx="0"/>
            <a:endCxn id="130" idx="2"/>
          </p:cNvCxnSpPr>
          <p:nvPr/>
        </p:nvCxnSpPr>
        <p:spPr bwMode="auto">
          <a:xfrm rot="5400000" flipH="1" flipV="1">
            <a:off x="6683887" y="2236993"/>
            <a:ext cx="1585005" cy="495168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45" name="ZoneTexte 144"/>
          <p:cNvSpPr txBox="1"/>
          <p:nvPr/>
        </p:nvSpPr>
        <p:spPr>
          <a:xfrm>
            <a:off x="6877525" y="2153075"/>
            <a:ext cx="7814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UDIO</a:t>
            </a:r>
            <a:br>
              <a:rPr lang="fr-FR" sz="60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VIDEO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46" name="ZoneTexte 145"/>
          <p:cNvSpPr txBox="1"/>
          <p:nvPr/>
        </p:nvSpPr>
        <p:spPr>
          <a:xfrm>
            <a:off x="6071888" y="2039494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950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6089556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401033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22868" y="1000763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#PATTERN: CATEGORIZE USERS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722868" y="4216525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ASK USER FOR FEEDBACK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3401033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CATEGORIZE USERS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6089556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RECONTACT USER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722868" y="4463022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1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3395158" y="4466755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2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6092160" y="4470488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3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08" name="ZoneTexte 107"/>
          <p:cNvSpPr txBox="1"/>
          <p:nvPr/>
        </p:nvSpPr>
        <p:spPr>
          <a:xfrm>
            <a:off x="3803375" y="3671195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09" name="ZoneTexte 108"/>
          <p:cNvSpPr txBox="1"/>
          <p:nvPr/>
        </p:nvSpPr>
        <p:spPr>
          <a:xfrm>
            <a:off x="3801106" y="3323998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3664831" y="3200509"/>
            <a:ext cx="1734589" cy="8503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11" name="ZoneTexte 110"/>
          <p:cNvSpPr txBox="1"/>
          <p:nvPr/>
        </p:nvSpPr>
        <p:spPr>
          <a:xfrm>
            <a:off x="4354243" y="3038356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4" name="ZoneTexte 73"/>
          <p:cNvSpPr txBox="1"/>
          <p:nvPr/>
        </p:nvSpPr>
        <p:spPr>
          <a:xfrm>
            <a:off x="1128513" y="3638345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75" name="ZoneTexte 74"/>
          <p:cNvSpPr txBox="1"/>
          <p:nvPr/>
        </p:nvSpPr>
        <p:spPr>
          <a:xfrm>
            <a:off x="1128513" y="2726716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76" name="ZoneTexte 75"/>
          <p:cNvSpPr txBox="1"/>
          <p:nvPr/>
        </p:nvSpPr>
        <p:spPr>
          <a:xfrm>
            <a:off x="1128513" y="2441313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cxnSp>
        <p:nvCxnSpPr>
          <p:cNvPr id="77" name="Connecteur droit avec flèche 76"/>
          <p:cNvCxnSpPr/>
          <p:nvPr/>
        </p:nvCxnSpPr>
        <p:spPr bwMode="auto">
          <a:xfrm flipV="1">
            <a:off x="1355729" y="297293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9" name="Connecteur droit avec flèche 78"/>
          <p:cNvCxnSpPr/>
          <p:nvPr/>
        </p:nvCxnSpPr>
        <p:spPr bwMode="auto">
          <a:xfrm flipV="1">
            <a:off x="1940391" y="297293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80" name="ZoneTexte 79"/>
          <p:cNvSpPr txBox="1"/>
          <p:nvPr/>
        </p:nvSpPr>
        <p:spPr>
          <a:xfrm>
            <a:off x="942670" y="3238923"/>
            <a:ext cx="47401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DISCUS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1" name="ZoneTexte 80"/>
          <p:cNvSpPr txBox="1"/>
          <p:nvPr/>
        </p:nvSpPr>
        <p:spPr>
          <a:xfrm>
            <a:off x="1419404" y="3182587"/>
            <a:ext cx="584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SK</a:t>
            </a:r>
            <a:br>
              <a:rPr lang="fr-FR" sz="60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FEEDBACK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3" name="ZoneTexte 82"/>
          <p:cNvSpPr txBox="1"/>
          <p:nvPr/>
        </p:nvSpPr>
        <p:spPr>
          <a:xfrm>
            <a:off x="2184232" y="3238236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NSW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84" name="Connecteur droit avec flèche 83"/>
          <p:cNvCxnSpPr/>
          <p:nvPr/>
        </p:nvCxnSpPr>
        <p:spPr bwMode="auto">
          <a:xfrm>
            <a:off x="2236878" y="297293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85" name="Rectangle 84"/>
          <p:cNvSpPr/>
          <p:nvPr/>
        </p:nvSpPr>
        <p:spPr>
          <a:xfrm>
            <a:off x="989969" y="2298348"/>
            <a:ext cx="1734589" cy="807983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86" name="ZoneTexte 85"/>
          <p:cNvSpPr txBox="1"/>
          <p:nvPr/>
        </p:nvSpPr>
        <p:spPr>
          <a:xfrm>
            <a:off x="2321392" y="2135571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92" name="Connecteur en arc 91"/>
          <p:cNvCxnSpPr>
            <a:stCxn id="109" idx="0"/>
            <a:endCxn id="154" idx="2"/>
          </p:cNvCxnSpPr>
          <p:nvPr/>
        </p:nvCxnSpPr>
        <p:spPr bwMode="auto">
          <a:xfrm rot="16200000" flipV="1">
            <a:off x="3743173" y="2537314"/>
            <a:ext cx="802429" cy="770939"/>
          </a:xfrm>
          <a:prstGeom prst="curvedConnector3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93" name="ZoneTexte 92"/>
          <p:cNvSpPr txBox="1"/>
          <p:nvPr/>
        </p:nvSpPr>
        <p:spPr>
          <a:xfrm>
            <a:off x="3827574" y="2275557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94" name="ZoneTexte 93"/>
          <p:cNvSpPr txBox="1"/>
          <p:nvPr/>
        </p:nvSpPr>
        <p:spPr>
          <a:xfrm>
            <a:off x="4513001" y="1194239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 GROUP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4384072" y="1341897"/>
            <a:ext cx="1156489" cy="82893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06" name="ZoneTexte 105"/>
          <p:cNvSpPr txBox="1"/>
          <p:nvPr/>
        </p:nvSpPr>
        <p:spPr>
          <a:xfrm>
            <a:off x="4462446" y="1411697"/>
            <a:ext cx="1012030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HAPPY USERS</a:t>
            </a:r>
          </a:p>
        </p:txBody>
      </p:sp>
      <p:sp>
        <p:nvSpPr>
          <p:cNvPr id="107" name="ZoneTexte 106"/>
          <p:cNvSpPr txBox="1"/>
          <p:nvPr/>
        </p:nvSpPr>
        <p:spPr>
          <a:xfrm>
            <a:off x="4459119" y="1661947"/>
            <a:ext cx="1015357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UNSATISFIED USERS</a:t>
            </a:r>
          </a:p>
        </p:txBody>
      </p:sp>
      <p:sp>
        <p:nvSpPr>
          <p:cNvPr id="114" name="ZoneTexte 113"/>
          <p:cNvSpPr txBox="1"/>
          <p:nvPr/>
        </p:nvSpPr>
        <p:spPr>
          <a:xfrm>
            <a:off x="4459119" y="1886033"/>
            <a:ext cx="1015357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DON’T ANSWER USERS</a:t>
            </a:r>
          </a:p>
        </p:txBody>
      </p:sp>
      <p:cxnSp>
        <p:nvCxnSpPr>
          <p:cNvPr id="117" name="Connecteur en arc 116"/>
          <p:cNvCxnSpPr>
            <a:stCxn id="154" idx="0"/>
            <a:endCxn id="106" idx="1"/>
          </p:cNvCxnSpPr>
          <p:nvPr/>
        </p:nvCxnSpPr>
        <p:spPr bwMode="auto">
          <a:xfrm rot="5400000" flipH="1" flipV="1">
            <a:off x="3749962" y="1470426"/>
            <a:ext cx="678879" cy="746089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18" name="ZoneTexte 117"/>
          <p:cNvSpPr txBox="1"/>
          <p:nvPr/>
        </p:nvSpPr>
        <p:spPr>
          <a:xfrm>
            <a:off x="3875154" y="2627499"/>
            <a:ext cx="7147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D USER TO GROUP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19" name="ZoneTexte 118"/>
          <p:cNvSpPr txBox="1"/>
          <p:nvPr/>
        </p:nvSpPr>
        <p:spPr>
          <a:xfrm>
            <a:off x="3358473" y="1437954"/>
            <a:ext cx="7147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D USER TO GROUP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20" name="ZoneTexte 119"/>
          <p:cNvSpPr txBox="1"/>
          <p:nvPr/>
        </p:nvSpPr>
        <p:spPr>
          <a:xfrm>
            <a:off x="7366941" y="2102323"/>
            <a:ext cx="811283" cy="184666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21" name="ZoneTexte 120"/>
          <p:cNvSpPr txBox="1"/>
          <p:nvPr/>
        </p:nvSpPr>
        <p:spPr>
          <a:xfrm>
            <a:off x="7369520" y="1845345"/>
            <a:ext cx="813552" cy="18466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7293757" y="1764831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23" name="ZoneTexte 122"/>
          <p:cNvSpPr txBox="1"/>
          <p:nvPr/>
        </p:nvSpPr>
        <p:spPr>
          <a:xfrm>
            <a:off x="7232161" y="1601302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24" name="ZoneTexte 123"/>
          <p:cNvSpPr txBox="1"/>
          <p:nvPr/>
        </p:nvSpPr>
        <p:spPr>
          <a:xfrm>
            <a:off x="6268005" y="2098109"/>
            <a:ext cx="839635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125" name="ZoneTexte 124"/>
          <p:cNvSpPr txBox="1"/>
          <p:nvPr/>
        </p:nvSpPr>
        <p:spPr>
          <a:xfrm>
            <a:off x="6269492" y="1834176"/>
            <a:ext cx="839635" cy="18466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134" name="Rectangle 133"/>
          <p:cNvSpPr/>
          <p:nvPr/>
        </p:nvSpPr>
        <p:spPr>
          <a:xfrm>
            <a:off x="6209038" y="1764831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35" name="ZoneTexte 134"/>
          <p:cNvSpPr txBox="1"/>
          <p:nvPr/>
        </p:nvSpPr>
        <p:spPr>
          <a:xfrm>
            <a:off x="6131981" y="1606466"/>
            <a:ext cx="63472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VISO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36" name="Rectangle à coins arrondis 135"/>
          <p:cNvSpPr/>
          <p:nvPr/>
        </p:nvSpPr>
        <p:spPr>
          <a:xfrm>
            <a:off x="6886631" y="1713643"/>
            <a:ext cx="707910" cy="172276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smtClean="0">
                <a:solidFill>
                  <a:schemeClr val="bg1"/>
                </a:solidFill>
                <a:latin typeface="Trebuchet MS"/>
                <a:cs typeface="Trebuchet MS"/>
              </a:rPr>
              <a:t>SAME IDENTITY</a:t>
            </a:r>
            <a:endParaRPr lang="fr-FR" sz="16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40" name="Cylindre 139"/>
          <p:cNvSpPr/>
          <p:nvPr/>
        </p:nvSpPr>
        <p:spPr>
          <a:xfrm>
            <a:off x="7060370" y="1136610"/>
            <a:ext cx="243840" cy="378851"/>
          </a:xfrm>
          <a:prstGeom prst="can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47" name="Connecteur en arc 146"/>
          <p:cNvCxnSpPr>
            <a:endCxn id="140" idx="2"/>
          </p:cNvCxnSpPr>
          <p:nvPr/>
        </p:nvCxnSpPr>
        <p:spPr bwMode="auto">
          <a:xfrm rot="5400000" flipH="1" flipV="1">
            <a:off x="6614160" y="1395043"/>
            <a:ext cx="515216" cy="377203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51" name="ZoneTexte 150"/>
          <p:cNvSpPr txBox="1"/>
          <p:nvPr/>
        </p:nvSpPr>
        <p:spPr>
          <a:xfrm>
            <a:off x="6500716" y="3667637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152" name="ZoneTexte 151"/>
          <p:cNvSpPr txBox="1"/>
          <p:nvPr/>
        </p:nvSpPr>
        <p:spPr>
          <a:xfrm>
            <a:off x="6141255" y="1331420"/>
            <a:ext cx="71476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PICK US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54" name="Explosion 2 153"/>
          <p:cNvSpPr/>
          <p:nvPr/>
        </p:nvSpPr>
        <p:spPr>
          <a:xfrm>
            <a:off x="3497435" y="2145218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57" name="ZoneTexte 156"/>
          <p:cNvSpPr txBox="1"/>
          <p:nvPr/>
        </p:nvSpPr>
        <p:spPr>
          <a:xfrm>
            <a:off x="6623507" y="1483212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UNSATISFIED USER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58" name="Explosion 2 157"/>
          <p:cNvSpPr/>
          <p:nvPr/>
        </p:nvSpPr>
        <p:spPr>
          <a:xfrm>
            <a:off x="6692870" y="2764456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59" name="Connecteur en arc 158"/>
          <p:cNvCxnSpPr>
            <a:stCxn id="124" idx="2"/>
            <a:endCxn id="158" idx="0"/>
          </p:cNvCxnSpPr>
          <p:nvPr/>
        </p:nvCxnSpPr>
        <p:spPr bwMode="auto">
          <a:xfrm rot="16200000" flipH="1">
            <a:off x="6540121" y="2430476"/>
            <a:ext cx="519372" cy="223969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60" name="Connecteur en arc 159"/>
          <p:cNvCxnSpPr>
            <a:stCxn id="158" idx="2"/>
            <a:endCxn id="151" idx="0"/>
          </p:cNvCxnSpPr>
          <p:nvPr/>
        </p:nvCxnSpPr>
        <p:spPr bwMode="auto">
          <a:xfrm rot="16200000" flipH="1">
            <a:off x="6828494" y="3266665"/>
            <a:ext cx="526830" cy="275114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61" name="ZoneTexte 160"/>
          <p:cNvSpPr txBox="1"/>
          <p:nvPr/>
        </p:nvSpPr>
        <p:spPr>
          <a:xfrm>
            <a:off x="6809921" y="2419159"/>
            <a:ext cx="7335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HAT</a:t>
            </a: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60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UDIO-VIDEO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62" name="ZoneTexte 161"/>
          <p:cNvSpPr txBox="1"/>
          <p:nvPr/>
        </p:nvSpPr>
        <p:spPr>
          <a:xfrm>
            <a:off x="7066510" y="2887842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63" name="ZoneTexte 162"/>
          <p:cNvSpPr txBox="1"/>
          <p:nvPr/>
        </p:nvSpPr>
        <p:spPr>
          <a:xfrm>
            <a:off x="6991620" y="3152787"/>
            <a:ext cx="8982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HAT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UDIO-VIDEO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64" name="ZoneTexte 163"/>
          <p:cNvSpPr txBox="1"/>
          <p:nvPr/>
        </p:nvSpPr>
        <p:spPr>
          <a:xfrm>
            <a:off x="6617920" y="991726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’S GROUP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8" name="ZoneTexte 27"/>
          <p:cNvSpPr txBox="1"/>
          <p:nvPr/>
        </p:nvSpPr>
        <p:spPr>
          <a:xfrm rot="897807">
            <a:off x="7134851" y="392592"/>
            <a:ext cx="1940325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bg1"/>
                </a:solidFill>
                <a:latin typeface="Trebuchet MS" pitchFamily="34" charset="0"/>
              </a:rPr>
              <a:t>AVAILABLE EOY’17</a:t>
            </a:r>
          </a:p>
        </p:txBody>
      </p:sp>
      <p:sp>
        <p:nvSpPr>
          <p:cNvPr id="165" name="ZoneTexte 164"/>
          <p:cNvSpPr txBox="1"/>
          <p:nvPr/>
        </p:nvSpPr>
        <p:spPr>
          <a:xfrm>
            <a:off x="722867" y="643861"/>
            <a:ext cx="7646509" cy="246221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Example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: Propose a bot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that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ask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user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for feedbacks,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categorize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answer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and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allow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an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advisor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to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recontact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them</a:t>
            </a:r>
            <a:endParaRPr lang="fr-FR" sz="2400" i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817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6089556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401033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22868" y="1000763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#PATTERN: MASS-MESSAGE BROADCASTING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722868" y="4216525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USING PRIVATE CHANNEL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3401033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USING PUBLIC CHANNEL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6089556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USER OR BOT PUBLISHES A MESSAGE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722868" y="4463022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1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3395158" y="4466755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ALTERNATIVE STEP 1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6092160" y="4470488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2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4" name="ZoneTexte 73"/>
          <p:cNvSpPr txBox="1"/>
          <p:nvPr/>
        </p:nvSpPr>
        <p:spPr>
          <a:xfrm>
            <a:off x="1128513" y="3638345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75" name="ZoneTexte 74"/>
          <p:cNvSpPr txBox="1"/>
          <p:nvPr/>
        </p:nvSpPr>
        <p:spPr>
          <a:xfrm>
            <a:off x="1128513" y="2726716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76" name="ZoneTexte 75"/>
          <p:cNvSpPr txBox="1"/>
          <p:nvPr/>
        </p:nvSpPr>
        <p:spPr>
          <a:xfrm>
            <a:off x="1128513" y="2441313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cxnSp>
        <p:nvCxnSpPr>
          <p:cNvPr id="77" name="Connecteur droit avec flèche 76"/>
          <p:cNvCxnSpPr/>
          <p:nvPr/>
        </p:nvCxnSpPr>
        <p:spPr bwMode="auto">
          <a:xfrm flipV="1">
            <a:off x="1355729" y="297293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9" name="Connecteur droit avec flèche 78"/>
          <p:cNvCxnSpPr/>
          <p:nvPr/>
        </p:nvCxnSpPr>
        <p:spPr bwMode="auto">
          <a:xfrm>
            <a:off x="1940391" y="297293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80" name="ZoneTexte 79"/>
          <p:cNvSpPr txBox="1"/>
          <p:nvPr/>
        </p:nvSpPr>
        <p:spPr>
          <a:xfrm>
            <a:off x="942670" y="3238923"/>
            <a:ext cx="47401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DISCUS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1" name="ZoneTexte 80"/>
          <p:cNvSpPr txBox="1"/>
          <p:nvPr/>
        </p:nvSpPr>
        <p:spPr>
          <a:xfrm>
            <a:off x="1419404" y="3182587"/>
            <a:ext cx="584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SK TO SUBSCRIB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83" name="ZoneTexte 82"/>
          <p:cNvSpPr txBox="1"/>
          <p:nvPr/>
        </p:nvSpPr>
        <p:spPr>
          <a:xfrm>
            <a:off x="2184232" y="3238236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NSW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84" name="Connecteur droit avec flèche 83"/>
          <p:cNvCxnSpPr/>
          <p:nvPr/>
        </p:nvCxnSpPr>
        <p:spPr bwMode="auto">
          <a:xfrm>
            <a:off x="2236878" y="2972937"/>
            <a:ext cx="0" cy="6654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85" name="Rectangle 84"/>
          <p:cNvSpPr/>
          <p:nvPr/>
        </p:nvSpPr>
        <p:spPr>
          <a:xfrm>
            <a:off x="989969" y="2298348"/>
            <a:ext cx="1734589" cy="807983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86" name="ZoneTexte 85"/>
          <p:cNvSpPr txBox="1"/>
          <p:nvPr/>
        </p:nvSpPr>
        <p:spPr>
          <a:xfrm>
            <a:off x="2321392" y="2135571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8" name="ZoneTexte 27"/>
          <p:cNvSpPr txBox="1"/>
          <p:nvPr/>
        </p:nvSpPr>
        <p:spPr>
          <a:xfrm rot="897807">
            <a:off x="7134851" y="392592"/>
            <a:ext cx="1940325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bg1"/>
                </a:solidFill>
                <a:latin typeface="Trebuchet MS" pitchFamily="34" charset="0"/>
              </a:rPr>
              <a:t>AVAILABLE EOY’17</a:t>
            </a:r>
          </a:p>
        </p:txBody>
      </p:sp>
      <p:sp>
        <p:nvSpPr>
          <p:cNvPr id="165" name="ZoneTexte 164"/>
          <p:cNvSpPr txBox="1"/>
          <p:nvPr/>
        </p:nvSpPr>
        <p:spPr>
          <a:xfrm>
            <a:off x="722867" y="643861"/>
            <a:ext cx="7646509" cy="246221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Example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: Broadcast message to large group of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subscribers</a:t>
            </a:r>
            <a:endParaRPr lang="fr-FR" sz="2400" i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2" name="ZoneTexte 61"/>
          <p:cNvSpPr txBox="1"/>
          <p:nvPr/>
        </p:nvSpPr>
        <p:spPr>
          <a:xfrm>
            <a:off x="1827940" y="1021335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 CHANNEL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710095" y="1168993"/>
            <a:ext cx="1156489" cy="82893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66" name="ZoneTexte 65"/>
          <p:cNvSpPr txBox="1"/>
          <p:nvPr/>
        </p:nvSpPr>
        <p:spPr>
          <a:xfrm>
            <a:off x="1788469" y="1238793"/>
            <a:ext cx="1012030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#SALES</a:t>
            </a:r>
          </a:p>
        </p:txBody>
      </p:sp>
      <p:sp>
        <p:nvSpPr>
          <p:cNvPr id="67" name="ZoneTexte 66"/>
          <p:cNvSpPr txBox="1"/>
          <p:nvPr/>
        </p:nvSpPr>
        <p:spPr>
          <a:xfrm>
            <a:off x="1785142" y="1489043"/>
            <a:ext cx="1015357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#RD</a:t>
            </a:r>
          </a:p>
        </p:txBody>
      </p:sp>
      <p:sp>
        <p:nvSpPr>
          <p:cNvPr id="68" name="ZoneTexte 67"/>
          <p:cNvSpPr txBox="1"/>
          <p:nvPr/>
        </p:nvSpPr>
        <p:spPr>
          <a:xfrm>
            <a:off x="1785142" y="1713129"/>
            <a:ext cx="1015357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#BOARD</a:t>
            </a:r>
          </a:p>
        </p:txBody>
      </p:sp>
      <p:cxnSp>
        <p:nvCxnSpPr>
          <p:cNvPr id="69" name="Connecteur en arc 68"/>
          <p:cNvCxnSpPr>
            <a:stCxn id="76" idx="0"/>
            <a:endCxn id="67" idx="1"/>
          </p:cNvCxnSpPr>
          <p:nvPr/>
        </p:nvCxnSpPr>
        <p:spPr bwMode="auto">
          <a:xfrm rot="16200000" flipV="1">
            <a:off x="1391235" y="1975284"/>
            <a:ext cx="859937" cy="72121"/>
          </a:xfrm>
          <a:prstGeom prst="curvedConnector4">
            <a:avLst>
              <a:gd name="adj1" fmla="val 44631"/>
              <a:gd name="adj2" fmla="val 1327422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71" name="ZoneTexte 70"/>
          <p:cNvSpPr txBox="1"/>
          <p:nvPr/>
        </p:nvSpPr>
        <p:spPr>
          <a:xfrm>
            <a:off x="863541" y="1340416"/>
            <a:ext cx="7147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D USER TO CHANNEL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2" name="ZoneTexte 71"/>
          <p:cNvSpPr txBox="1"/>
          <p:nvPr/>
        </p:nvSpPr>
        <p:spPr>
          <a:xfrm>
            <a:off x="4509308" y="1021335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 OR USER CHANNEL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391463" y="1168993"/>
            <a:ext cx="1156489" cy="82893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78" name="ZoneTexte 77"/>
          <p:cNvSpPr txBox="1"/>
          <p:nvPr/>
        </p:nvSpPr>
        <p:spPr>
          <a:xfrm>
            <a:off x="4469837" y="1238793"/>
            <a:ext cx="1012030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#SALES</a:t>
            </a:r>
          </a:p>
        </p:txBody>
      </p:sp>
      <p:sp>
        <p:nvSpPr>
          <p:cNvPr id="82" name="ZoneTexte 81"/>
          <p:cNvSpPr txBox="1"/>
          <p:nvPr/>
        </p:nvSpPr>
        <p:spPr>
          <a:xfrm>
            <a:off x="4466510" y="1489043"/>
            <a:ext cx="1015357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#RD</a:t>
            </a:r>
          </a:p>
        </p:txBody>
      </p:sp>
      <p:sp>
        <p:nvSpPr>
          <p:cNvPr id="87" name="ZoneTexte 86"/>
          <p:cNvSpPr txBox="1"/>
          <p:nvPr/>
        </p:nvSpPr>
        <p:spPr>
          <a:xfrm>
            <a:off x="4466510" y="1713129"/>
            <a:ext cx="1015357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#BOARD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3669077" y="3152787"/>
            <a:ext cx="1734589" cy="8473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96" name="ZoneTexte 95"/>
          <p:cNvSpPr txBox="1"/>
          <p:nvPr/>
        </p:nvSpPr>
        <p:spPr>
          <a:xfrm>
            <a:off x="3806405" y="3627156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97" name="ZoneTexte 96"/>
          <p:cNvSpPr txBox="1"/>
          <p:nvPr/>
        </p:nvSpPr>
        <p:spPr>
          <a:xfrm>
            <a:off x="3806405" y="3273629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112" name="Explosion 2 111"/>
          <p:cNvSpPr/>
          <p:nvPr/>
        </p:nvSpPr>
        <p:spPr>
          <a:xfrm>
            <a:off x="3786832" y="2143916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15" name="Connecteur en arc 114"/>
          <p:cNvCxnSpPr>
            <a:stCxn id="97" idx="0"/>
            <a:endCxn id="112" idx="2"/>
          </p:cNvCxnSpPr>
          <p:nvPr/>
        </p:nvCxnSpPr>
        <p:spPr bwMode="auto">
          <a:xfrm rot="16200000" flipV="1">
            <a:off x="3915054" y="2653527"/>
            <a:ext cx="753362" cy="486841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16" name="ZoneTexte 115"/>
          <p:cNvSpPr txBox="1"/>
          <p:nvPr/>
        </p:nvSpPr>
        <p:spPr>
          <a:xfrm>
            <a:off x="4133093" y="2262925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26" name="Connecteur en arc 125"/>
          <p:cNvCxnSpPr>
            <a:stCxn id="112" idx="0"/>
            <a:endCxn id="82" idx="1"/>
          </p:cNvCxnSpPr>
          <p:nvPr/>
        </p:nvCxnSpPr>
        <p:spPr bwMode="auto">
          <a:xfrm rot="5400000" flipH="1" flipV="1">
            <a:off x="3936017" y="1651114"/>
            <a:ext cx="600231" cy="460756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27" name="ZoneTexte 126"/>
          <p:cNvSpPr txBox="1"/>
          <p:nvPr/>
        </p:nvSpPr>
        <p:spPr>
          <a:xfrm>
            <a:off x="4124813" y="2537019"/>
            <a:ext cx="898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USER SUBSCRIBE TO A VISIBLE CHANNEL FROM BOT OR US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28" name="ZoneTexte 127"/>
          <p:cNvSpPr txBox="1"/>
          <p:nvPr/>
        </p:nvSpPr>
        <p:spPr>
          <a:xfrm>
            <a:off x="3283979" y="1498276"/>
            <a:ext cx="8405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USER SUBSCRIBE TO VISIBLE CHANNEL FROM BOT OR US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29" name="ZoneTexte 128"/>
          <p:cNvSpPr txBox="1"/>
          <p:nvPr/>
        </p:nvSpPr>
        <p:spPr>
          <a:xfrm>
            <a:off x="7361229" y="1710686"/>
            <a:ext cx="811283" cy="184666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30" name="ZoneTexte 129"/>
          <p:cNvSpPr txBox="1"/>
          <p:nvPr/>
        </p:nvSpPr>
        <p:spPr>
          <a:xfrm>
            <a:off x="7363808" y="1453708"/>
            <a:ext cx="813552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7288045" y="1373194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32" name="ZoneTexte 131"/>
          <p:cNvSpPr txBox="1"/>
          <p:nvPr/>
        </p:nvSpPr>
        <p:spPr>
          <a:xfrm>
            <a:off x="6262293" y="1706472"/>
            <a:ext cx="839635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133" name="ZoneTexte 132"/>
          <p:cNvSpPr txBox="1"/>
          <p:nvPr/>
        </p:nvSpPr>
        <p:spPr>
          <a:xfrm>
            <a:off x="6263780" y="1442539"/>
            <a:ext cx="839635" cy="18466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6203326" y="1373194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38" name="Rectangle à coins arrondis 137"/>
          <p:cNvSpPr/>
          <p:nvPr/>
        </p:nvSpPr>
        <p:spPr>
          <a:xfrm>
            <a:off x="6880919" y="1322006"/>
            <a:ext cx="707910" cy="172276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600" smtClean="0">
                <a:solidFill>
                  <a:schemeClr val="bg1"/>
                </a:solidFill>
                <a:latin typeface="Trebuchet MS"/>
                <a:cs typeface="Trebuchet MS"/>
              </a:rPr>
              <a:t>SAME IDENTITY</a:t>
            </a:r>
            <a:endParaRPr lang="fr-FR" sz="16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139" name="Explosion 2 138"/>
          <p:cNvSpPr/>
          <p:nvPr/>
        </p:nvSpPr>
        <p:spPr>
          <a:xfrm>
            <a:off x="7029133" y="2471814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41" name="Connecteur en arc 140"/>
          <p:cNvCxnSpPr>
            <a:stCxn id="132" idx="2"/>
            <a:endCxn id="139" idx="0"/>
          </p:cNvCxnSpPr>
          <p:nvPr/>
        </p:nvCxnSpPr>
        <p:spPr bwMode="auto">
          <a:xfrm rot="16200000" flipH="1">
            <a:off x="6655900" y="1917349"/>
            <a:ext cx="618367" cy="565944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42" name="Connecteur en arc 141"/>
          <p:cNvCxnSpPr/>
          <p:nvPr/>
        </p:nvCxnSpPr>
        <p:spPr bwMode="auto">
          <a:xfrm rot="16200000" flipH="1">
            <a:off x="9332919" y="2226448"/>
            <a:ext cx="618367" cy="523080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44" name="Connecteur en arc 143"/>
          <p:cNvCxnSpPr>
            <a:stCxn id="129" idx="2"/>
            <a:endCxn id="139" idx="0"/>
          </p:cNvCxnSpPr>
          <p:nvPr/>
        </p:nvCxnSpPr>
        <p:spPr bwMode="auto">
          <a:xfrm rot="5400000">
            <a:off x="7200387" y="1943020"/>
            <a:ext cx="614153" cy="518816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45" name="ZoneTexte 144"/>
          <p:cNvSpPr txBox="1"/>
          <p:nvPr/>
        </p:nvSpPr>
        <p:spPr>
          <a:xfrm>
            <a:off x="6626865" y="3312662"/>
            <a:ext cx="704475" cy="184666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146" name="ZoneTexte 145"/>
          <p:cNvSpPr txBox="1"/>
          <p:nvPr/>
        </p:nvSpPr>
        <p:spPr>
          <a:xfrm>
            <a:off x="6779265" y="3465062"/>
            <a:ext cx="704475" cy="184666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148" name="ZoneTexte 147"/>
          <p:cNvSpPr txBox="1"/>
          <p:nvPr/>
        </p:nvSpPr>
        <p:spPr>
          <a:xfrm>
            <a:off x="6931665" y="3617462"/>
            <a:ext cx="704475" cy="184666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sp>
        <p:nvSpPr>
          <p:cNvPr id="150" name="ZoneTexte 149"/>
          <p:cNvSpPr txBox="1"/>
          <p:nvPr/>
        </p:nvSpPr>
        <p:spPr>
          <a:xfrm>
            <a:off x="7084065" y="3769862"/>
            <a:ext cx="704475" cy="184666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 APP</a:t>
            </a:r>
          </a:p>
        </p:txBody>
      </p:sp>
      <p:cxnSp>
        <p:nvCxnSpPr>
          <p:cNvPr id="153" name="Connecteur en arc 152"/>
          <p:cNvCxnSpPr>
            <a:stCxn id="139" idx="2"/>
            <a:endCxn id="145" idx="0"/>
          </p:cNvCxnSpPr>
          <p:nvPr/>
        </p:nvCxnSpPr>
        <p:spPr bwMode="auto">
          <a:xfrm rot="5400000">
            <a:off x="6902611" y="2924657"/>
            <a:ext cx="464497" cy="31151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55" name="Connecteur en arc 154"/>
          <p:cNvCxnSpPr>
            <a:stCxn id="139" idx="2"/>
            <a:endCxn id="146" idx="0"/>
          </p:cNvCxnSpPr>
          <p:nvPr/>
        </p:nvCxnSpPr>
        <p:spPr bwMode="auto">
          <a:xfrm rot="5400000">
            <a:off x="6902611" y="3077057"/>
            <a:ext cx="616897" cy="15911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56" name="Connecteur en arc 155"/>
          <p:cNvCxnSpPr>
            <a:stCxn id="139" idx="2"/>
            <a:endCxn id="148" idx="0"/>
          </p:cNvCxnSpPr>
          <p:nvPr/>
        </p:nvCxnSpPr>
        <p:spPr bwMode="auto">
          <a:xfrm rot="5400000">
            <a:off x="6902611" y="3229457"/>
            <a:ext cx="769297" cy="671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66" name="Connecteur en arc 165"/>
          <p:cNvCxnSpPr>
            <a:stCxn id="139" idx="2"/>
            <a:endCxn id="150" idx="0"/>
          </p:cNvCxnSpPr>
          <p:nvPr/>
        </p:nvCxnSpPr>
        <p:spPr bwMode="auto">
          <a:xfrm rot="16200000" flipH="1">
            <a:off x="6902611" y="3236169"/>
            <a:ext cx="921697" cy="145688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167" name="Connecteur en arc 166"/>
          <p:cNvCxnSpPr>
            <a:stCxn id="139" idx="2"/>
            <a:endCxn id="150" idx="0"/>
          </p:cNvCxnSpPr>
          <p:nvPr/>
        </p:nvCxnSpPr>
        <p:spPr bwMode="auto">
          <a:xfrm rot="16200000" flipH="1">
            <a:off x="6902611" y="3236169"/>
            <a:ext cx="921697" cy="145688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68" name="ZoneTexte 167"/>
          <p:cNvSpPr txBox="1"/>
          <p:nvPr/>
        </p:nvSpPr>
        <p:spPr>
          <a:xfrm>
            <a:off x="7272330" y="2981768"/>
            <a:ext cx="910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BROADCAST MESSAGE TO SUBSCRIBER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69" name="ZoneTexte 168"/>
          <p:cNvSpPr txBox="1"/>
          <p:nvPr/>
        </p:nvSpPr>
        <p:spPr>
          <a:xfrm>
            <a:off x="7416520" y="2603431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70" name="ZoneTexte 169"/>
          <p:cNvSpPr txBox="1"/>
          <p:nvPr/>
        </p:nvSpPr>
        <p:spPr>
          <a:xfrm>
            <a:off x="6828459" y="1994280"/>
            <a:ext cx="839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SEND MESSAGE TO CHANNEL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08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1800" b="0" dirty="0" smtClean="0">
                <a:solidFill>
                  <a:schemeClr val="bg1"/>
                </a:solidFill>
                <a:latin typeface="+mj-lt"/>
              </a:rPr>
              <a:t>RAINBOW CPAAS: COMMUNICATION PLATFORM AS A SERVICE</a:t>
            </a:r>
            <a:endParaRPr lang="en-US" sz="1800" b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769" y="850705"/>
            <a:ext cx="1313666" cy="1769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Rectangle 1"/>
          <p:cNvSpPr/>
          <p:nvPr/>
        </p:nvSpPr>
        <p:spPr>
          <a:xfrm>
            <a:off x="2139189" y="1072665"/>
            <a:ext cx="66335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Integrate</a:t>
            </a:r>
            <a:r>
              <a:rPr lang="en-US" sz="1400" dirty="0" smtClean="0">
                <a:solidFill>
                  <a:schemeClr val="accent1"/>
                </a:solidFill>
                <a:latin typeface="Trebuchet MS" pitchFamily="34" charset="0"/>
              </a:rPr>
              <a:t> </a:t>
            </a:r>
            <a:r>
              <a:rPr lang="en-US" sz="1400" dirty="0">
                <a:solidFill>
                  <a:schemeClr val="accent5"/>
                </a:solidFill>
                <a:latin typeface="Trebuchet MS" pitchFamily="34" charset="0"/>
              </a:rPr>
              <a:t>c</a:t>
            </a:r>
            <a:r>
              <a:rPr lang="en-US" sz="1400" dirty="0" smtClean="0">
                <a:solidFill>
                  <a:schemeClr val="accent5"/>
                </a:solidFill>
                <a:latin typeface="Trebuchet MS" pitchFamily="34" charset="0"/>
              </a:rPr>
              <a:t>ommunications into </a:t>
            </a:r>
            <a:r>
              <a:rPr lang="en-US" sz="1400" dirty="0">
                <a:solidFill>
                  <a:schemeClr val="accent5"/>
                </a:solidFill>
                <a:latin typeface="Trebuchet MS" pitchFamily="34" charset="0"/>
              </a:rPr>
              <a:t>b</a:t>
            </a:r>
            <a:r>
              <a:rPr lang="en-US" sz="1400" dirty="0" smtClean="0">
                <a:solidFill>
                  <a:schemeClr val="accent5"/>
                </a:solidFill>
                <a:latin typeface="Trebuchet MS" pitchFamily="34" charset="0"/>
              </a:rPr>
              <a:t>usiness </a:t>
            </a:r>
            <a:r>
              <a:rPr lang="en-US" sz="1400" dirty="0">
                <a:solidFill>
                  <a:schemeClr val="accent5"/>
                </a:solidFill>
                <a:latin typeface="Trebuchet MS" pitchFamily="34" charset="0"/>
              </a:rPr>
              <a:t>p</a:t>
            </a:r>
            <a:r>
              <a:rPr lang="en-US" sz="1400" dirty="0" smtClean="0">
                <a:solidFill>
                  <a:schemeClr val="accent5"/>
                </a:solidFill>
                <a:latin typeface="Trebuchet MS" pitchFamily="34" charset="0"/>
              </a:rPr>
              <a:t>rocesses </a:t>
            </a:r>
            <a:r>
              <a:rPr lang="en-US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by connecting people and transforming the way they work.</a:t>
            </a:r>
            <a:r>
              <a:rPr lang="en-US" sz="1400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en-US" sz="14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Trebuchet MS" pitchFamily="34" charset="0"/>
              </a:rPr>
              <a:t> </a:t>
            </a:r>
            <a:endParaRPr lang="en-US" sz="1400" dirty="0">
              <a:solidFill>
                <a:schemeClr val="accent1">
                  <a:lumMod val="40000"/>
                  <a:lumOff val="60000"/>
                </a:schemeClr>
              </a:solidFill>
              <a:latin typeface="Trebuchet MS" pitchFamily="34" charset="0"/>
            </a:endParaRPr>
          </a:p>
        </p:txBody>
      </p:sp>
      <p:cxnSp>
        <p:nvCxnSpPr>
          <p:cNvPr id="67" name="Straight Connector 29"/>
          <p:cNvCxnSpPr/>
          <p:nvPr/>
        </p:nvCxnSpPr>
        <p:spPr>
          <a:xfrm flipV="1">
            <a:off x="2009268" y="885647"/>
            <a:ext cx="12248" cy="2927257"/>
          </a:xfrm>
          <a:prstGeom prst="line">
            <a:avLst/>
          </a:prstGeom>
          <a:ln w="12700" cap="rnd">
            <a:solidFill>
              <a:schemeClr val="bg1">
                <a:alpha val="47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2128106" y="3136745"/>
            <a:ext cx="66723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solidFill>
                  <a:schemeClr val="accent5"/>
                </a:solidFill>
                <a:latin typeface="Trebuchet MS" pitchFamily="34" charset="0"/>
              </a:rPr>
              <a:t>Company exposing a communication platform as a service</a:t>
            </a:r>
            <a:r>
              <a:rPr lang="en-US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 focused to help developers integrating communication and collaboration features to their application for transforming their business experiences.</a:t>
            </a:r>
            <a:endParaRPr lang="en-US" sz="1400" dirty="0">
              <a:solidFill>
                <a:schemeClr val="accent1">
                  <a:lumMod val="60000"/>
                  <a:lumOff val="40000"/>
                </a:schemeClr>
              </a:solidFill>
              <a:latin typeface="Trebuchet MS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2128107" y="797972"/>
            <a:ext cx="31096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Trebuchet MS" pitchFamily="34" charset="0"/>
              </a:rPr>
              <a:t>DIGITAL TRANSFORMATION</a:t>
            </a:r>
            <a:endParaRPr lang="en-US" sz="16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2128106" y="1756655"/>
            <a:ext cx="627883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Trebuchet MS" pitchFamily="34" charset="0"/>
              </a:rPr>
              <a:t>COMMUNICATION PLATFORM AS A SERVICE</a:t>
            </a:r>
            <a:endParaRPr lang="en-US" sz="16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95081" y="4193442"/>
            <a:ext cx="22433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Trebuchet MS" pitchFamily="34" charset="0"/>
              </a:rPr>
              <a:t>Improve the connected customer experience</a:t>
            </a:r>
            <a:endParaRPr lang="en-US" sz="16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2567306" y="4193442"/>
            <a:ext cx="20455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Trebuchet MS" pitchFamily="34" charset="0"/>
              </a:rPr>
              <a:t>Increase employee efficiency</a:t>
            </a:r>
            <a:endParaRPr lang="en-US" sz="16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4841729" y="4214864"/>
            <a:ext cx="20193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Trebuchet MS" pitchFamily="34" charset="0"/>
              </a:rPr>
              <a:t>Accelerate decision making</a:t>
            </a:r>
            <a:endParaRPr lang="en-US" sz="16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41959" y="2034744"/>
            <a:ext cx="663350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solidFill>
                  <a:schemeClr val="accent5"/>
                </a:solidFill>
                <a:latin typeface="Trebuchet MS" pitchFamily="34" charset="0"/>
              </a:rPr>
              <a:t>Set of API/SDK </a:t>
            </a:r>
            <a:r>
              <a:rPr lang="en-US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accessible </a:t>
            </a:r>
            <a:r>
              <a:rPr lang="en-US" sz="1400" dirty="0" smtClean="0">
                <a:solidFill>
                  <a:schemeClr val="accent5"/>
                </a:solidFill>
                <a:latin typeface="Trebuchet MS" pitchFamily="34" charset="0"/>
              </a:rPr>
              <a:t>as a service </a:t>
            </a:r>
            <a:r>
              <a:rPr lang="en-US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(developers don’t care about hosting</a:t>
            </a:r>
            <a:r>
              <a:rPr lang="en-US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, scaling and management of the infrastructure</a:t>
            </a:r>
            <a:r>
              <a:rPr lang="fr-FR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) and </a:t>
            </a:r>
            <a:r>
              <a:rPr lang="fr-FR" sz="1400" dirty="0" err="1" smtClean="0">
                <a:solidFill>
                  <a:schemeClr val="accent5"/>
                </a:solidFill>
                <a:latin typeface="Trebuchet MS" pitchFamily="34" charset="0"/>
              </a:rPr>
              <a:t>offering</a:t>
            </a:r>
            <a:r>
              <a:rPr lang="fr-FR" sz="1400" dirty="0" smtClean="0">
                <a:solidFill>
                  <a:schemeClr val="accent5"/>
                </a:solidFill>
                <a:latin typeface="Trebuchet MS" pitchFamily="34" charset="0"/>
              </a:rPr>
              <a:t> communication and collaboration </a:t>
            </a:r>
            <a:r>
              <a:rPr lang="fr-FR" sz="1400" dirty="0" err="1" smtClean="0">
                <a:solidFill>
                  <a:schemeClr val="accent5"/>
                </a:solidFill>
                <a:latin typeface="Trebuchet MS" pitchFamily="34" charset="0"/>
              </a:rPr>
              <a:t>features</a:t>
            </a:r>
            <a:r>
              <a:rPr lang="fr-FR" sz="1400" dirty="0" smtClean="0">
                <a:solidFill>
                  <a:schemeClr val="accent5"/>
                </a:solidFill>
                <a:latin typeface="Trebuchet MS" pitchFamily="34" charset="0"/>
              </a:rPr>
              <a:t> </a:t>
            </a:r>
            <a:r>
              <a:rPr lang="fr-FR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(audio, </a:t>
            </a:r>
            <a:r>
              <a:rPr lang="fr-FR" sz="1400" dirty="0" err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video</a:t>
            </a:r>
            <a:r>
              <a:rPr lang="mr-IN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…</a:t>
            </a:r>
            <a:r>
              <a:rPr lang="fr-FR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)</a:t>
            </a:r>
            <a:endParaRPr lang="en-US" sz="1400" dirty="0">
              <a:solidFill>
                <a:schemeClr val="accent1">
                  <a:lumMod val="60000"/>
                  <a:lumOff val="40000"/>
                </a:schemeClr>
              </a:solidFill>
              <a:latin typeface="Trebuchet MS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128106" y="2888979"/>
            <a:ext cx="627883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Trebuchet MS" pitchFamily="34" charset="0"/>
              </a:rPr>
              <a:t>CPAAS PROVIDER</a:t>
            </a:r>
            <a:endParaRPr lang="en-US" sz="16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089932" y="4214864"/>
            <a:ext cx="186096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Insure product </a:t>
            </a:r>
            <a:r>
              <a:rPr lang="en-US" sz="1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stickiness</a:t>
            </a:r>
          </a:p>
        </p:txBody>
      </p:sp>
    </p:spTree>
    <p:extLst>
      <p:ext uri="{BB962C8B-B14F-4D97-AF65-F5344CB8AC3E}">
        <p14:creationId xmlns:p14="http://schemas.microsoft.com/office/powerpoint/2010/main" val="8801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4748570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2070405" y="1000763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#PATTERN: REASON CALL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2070405" y="4216525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USING MEDIA-TO-MEDI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4748570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USING 3PCC CALL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2089093" y="4473524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1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4745204" y="4476226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2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8" name="ZoneTexte 27"/>
          <p:cNvSpPr txBox="1"/>
          <p:nvPr/>
        </p:nvSpPr>
        <p:spPr>
          <a:xfrm rot="897807">
            <a:off x="7134851" y="392592"/>
            <a:ext cx="1940325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bg1"/>
                </a:solidFill>
                <a:latin typeface="Trebuchet MS" pitchFamily="34" charset="0"/>
              </a:rPr>
              <a:t>AVAILABLE EOY’17</a:t>
            </a:r>
          </a:p>
        </p:txBody>
      </p:sp>
      <p:sp>
        <p:nvSpPr>
          <p:cNvPr id="165" name="ZoneTexte 164"/>
          <p:cNvSpPr txBox="1"/>
          <p:nvPr/>
        </p:nvSpPr>
        <p:spPr>
          <a:xfrm>
            <a:off x="722867" y="643861"/>
            <a:ext cx="7646509" cy="246221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Example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: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Inform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the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recipient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about the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reason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of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you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call  </a:t>
            </a:r>
            <a:endParaRPr lang="fr-FR" sz="2400" i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339516" y="3156237"/>
            <a:ext cx="1734589" cy="8473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2476844" y="3630606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2476844" y="3277079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32" name="Explosion 2 31"/>
          <p:cNvSpPr/>
          <p:nvPr/>
        </p:nvSpPr>
        <p:spPr>
          <a:xfrm>
            <a:off x="2485620" y="1884165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3280944" y="1507408"/>
            <a:ext cx="839635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34" name="ZoneTexte 33"/>
          <p:cNvSpPr txBox="1"/>
          <p:nvPr/>
        </p:nvSpPr>
        <p:spPr>
          <a:xfrm>
            <a:off x="3282431" y="1243475"/>
            <a:ext cx="839635" cy="18466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221977" y="1174130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3572778" y="3005683"/>
            <a:ext cx="54876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US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37" name="Connecteur en arc 36"/>
          <p:cNvCxnSpPr/>
          <p:nvPr/>
        </p:nvCxnSpPr>
        <p:spPr bwMode="auto">
          <a:xfrm rot="16200000" flipV="1">
            <a:off x="2468067" y="2539552"/>
            <a:ext cx="1016563" cy="45849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38" name="ZoneTexte 37"/>
          <p:cNvSpPr txBox="1"/>
          <p:nvPr/>
        </p:nvSpPr>
        <p:spPr>
          <a:xfrm>
            <a:off x="1903687" y="2818216"/>
            <a:ext cx="1257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MAKECALL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(REASON=‘</a:t>
            </a:r>
            <a:r>
              <a:rPr lang="fr-FR" sz="600" dirty="0" err="1" smtClean="0">
                <a:solidFill>
                  <a:schemeClr val="bg1"/>
                </a:solidFill>
                <a:latin typeface="Trebuchet MS" pitchFamily="34" charset="0"/>
              </a:rPr>
              <a:t>TheReason</a:t>
            </a: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’)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39" name="Connecteur en arc 38"/>
          <p:cNvCxnSpPr>
            <a:endCxn id="34" idx="1"/>
          </p:cNvCxnSpPr>
          <p:nvPr/>
        </p:nvCxnSpPr>
        <p:spPr bwMode="auto">
          <a:xfrm rot="5400000" flipH="1" flipV="1">
            <a:off x="2700461" y="1339889"/>
            <a:ext cx="586050" cy="577889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40" name="Connecteur en arc 39"/>
          <p:cNvCxnSpPr/>
          <p:nvPr/>
        </p:nvCxnSpPr>
        <p:spPr bwMode="auto">
          <a:xfrm rot="5400000" flipH="1" flipV="1">
            <a:off x="2660676" y="2236993"/>
            <a:ext cx="1585005" cy="495168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triangle"/>
          </a:ln>
          <a:effectLst/>
        </p:spPr>
      </p:cxnSp>
      <p:sp>
        <p:nvSpPr>
          <p:cNvPr id="41" name="ZoneTexte 40"/>
          <p:cNvSpPr txBox="1"/>
          <p:nvPr/>
        </p:nvSpPr>
        <p:spPr>
          <a:xfrm>
            <a:off x="2854314" y="2153075"/>
            <a:ext cx="7814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UDIO</a:t>
            </a:r>
            <a:br>
              <a:rPr lang="fr-FR" sz="60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VIDEO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42" name="ZoneTexte 41"/>
          <p:cNvSpPr txBox="1"/>
          <p:nvPr/>
        </p:nvSpPr>
        <p:spPr>
          <a:xfrm>
            <a:off x="2048677" y="2039494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89221" y="1200409"/>
            <a:ext cx="10385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&lt;INCOMINGCALL </a:t>
            </a:r>
            <a:r>
              <a:rPr lang="fr-FR" sz="6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6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>
                <a:solidFill>
                  <a:schemeClr val="bg1"/>
                </a:solidFill>
                <a:latin typeface="Trebuchet MS" pitchFamily="34" charset="0"/>
              </a:rPr>
              <a:t>REASON=‘</a:t>
            </a:r>
            <a:r>
              <a:rPr lang="fr-FR" sz="600" dirty="0" err="1">
                <a:solidFill>
                  <a:schemeClr val="bg1"/>
                </a:solidFill>
                <a:latin typeface="Trebuchet MS" pitchFamily="34" charset="0"/>
              </a:rPr>
              <a:t>TheReason</a:t>
            </a:r>
            <a:r>
              <a:rPr lang="fr-FR" sz="600" dirty="0">
                <a:solidFill>
                  <a:schemeClr val="bg1"/>
                </a:solidFill>
                <a:latin typeface="Trebuchet MS" pitchFamily="34" charset="0"/>
              </a:rPr>
              <a:t>’ /&gt;</a:t>
            </a:r>
            <a:endParaRPr lang="fr-FR" sz="320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5023002" y="3153436"/>
            <a:ext cx="1734589" cy="8473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1" name="ZoneTexte 50"/>
          <p:cNvSpPr txBox="1"/>
          <p:nvPr/>
        </p:nvSpPr>
        <p:spPr>
          <a:xfrm>
            <a:off x="5160330" y="3627805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160330" y="3274278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53" name="Explosion 2 52"/>
          <p:cNvSpPr/>
          <p:nvPr/>
        </p:nvSpPr>
        <p:spPr>
          <a:xfrm>
            <a:off x="5169106" y="1881364"/>
            <a:ext cx="486394" cy="431439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5964430" y="1504607"/>
            <a:ext cx="839635" cy="1846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5965917" y="1240674"/>
            <a:ext cx="839635" cy="18466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905463" y="1171329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7" name="ZoneTexte 56"/>
          <p:cNvSpPr txBox="1"/>
          <p:nvPr/>
        </p:nvSpPr>
        <p:spPr>
          <a:xfrm>
            <a:off x="6256264" y="3002882"/>
            <a:ext cx="54876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USE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58" name="Connecteur en arc 57"/>
          <p:cNvCxnSpPr/>
          <p:nvPr/>
        </p:nvCxnSpPr>
        <p:spPr bwMode="auto">
          <a:xfrm rot="16200000" flipV="1">
            <a:off x="5151553" y="2536751"/>
            <a:ext cx="1016563" cy="45849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59" name="ZoneTexte 58"/>
          <p:cNvSpPr txBox="1"/>
          <p:nvPr/>
        </p:nvSpPr>
        <p:spPr>
          <a:xfrm>
            <a:off x="4587173" y="2815415"/>
            <a:ext cx="1257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MAKECALLPBX</a:t>
            </a:r>
            <a:b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(REASON=‘</a:t>
            </a:r>
            <a:r>
              <a:rPr lang="fr-FR" sz="600" dirty="0" err="1" smtClean="0">
                <a:solidFill>
                  <a:schemeClr val="bg1"/>
                </a:solidFill>
                <a:latin typeface="Trebuchet MS" pitchFamily="34" charset="0"/>
              </a:rPr>
              <a:t>TheReason</a:t>
            </a:r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’)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60" name="Connecteur en arc 59"/>
          <p:cNvCxnSpPr>
            <a:endCxn id="55" idx="1"/>
          </p:cNvCxnSpPr>
          <p:nvPr/>
        </p:nvCxnSpPr>
        <p:spPr bwMode="auto">
          <a:xfrm rot="5400000" flipH="1" flipV="1">
            <a:off x="5383947" y="1337088"/>
            <a:ext cx="586050" cy="577889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62" name="Connecteur en arc 61"/>
          <p:cNvCxnSpPr/>
          <p:nvPr/>
        </p:nvCxnSpPr>
        <p:spPr bwMode="auto">
          <a:xfrm rot="5400000" flipH="1" flipV="1">
            <a:off x="6004336" y="2384362"/>
            <a:ext cx="759748" cy="84533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triangle"/>
          </a:ln>
          <a:effectLst/>
        </p:spPr>
      </p:cxnSp>
      <p:sp>
        <p:nvSpPr>
          <p:cNvPr id="65" name="ZoneTexte 64"/>
          <p:cNvSpPr txBox="1"/>
          <p:nvPr/>
        </p:nvSpPr>
        <p:spPr>
          <a:xfrm>
            <a:off x="6055748" y="2245047"/>
            <a:ext cx="37631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CALL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6" name="ZoneTexte 65"/>
          <p:cNvSpPr txBox="1"/>
          <p:nvPr/>
        </p:nvSpPr>
        <p:spPr>
          <a:xfrm>
            <a:off x="4732163" y="2036693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RAINBOW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672707" y="1197608"/>
            <a:ext cx="10385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&lt;INCOMINGCALL </a:t>
            </a:r>
            <a:r>
              <a:rPr lang="fr-FR" sz="600" dirty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fr-FR" sz="600" dirty="0">
                <a:solidFill>
                  <a:schemeClr val="bg1"/>
                </a:solidFill>
                <a:latin typeface="Trebuchet MS" pitchFamily="34" charset="0"/>
              </a:rPr>
            </a:br>
            <a:r>
              <a:rPr lang="fr-FR" sz="600" dirty="0">
                <a:solidFill>
                  <a:schemeClr val="bg1"/>
                </a:solidFill>
                <a:latin typeface="Trebuchet MS" pitchFamily="34" charset="0"/>
              </a:rPr>
              <a:t>REASON=‘</a:t>
            </a:r>
            <a:r>
              <a:rPr lang="fr-FR" sz="600" dirty="0" err="1">
                <a:solidFill>
                  <a:schemeClr val="bg1"/>
                </a:solidFill>
                <a:latin typeface="Trebuchet MS" pitchFamily="34" charset="0"/>
              </a:rPr>
              <a:t>TheReason</a:t>
            </a:r>
            <a:r>
              <a:rPr lang="fr-FR" sz="600" dirty="0">
                <a:solidFill>
                  <a:schemeClr val="bg1"/>
                </a:solidFill>
                <a:latin typeface="Trebuchet MS" pitchFamily="34" charset="0"/>
              </a:rPr>
              <a:t>’ /&gt;</a:t>
            </a:r>
            <a:endParaRPr lang="fr-FR" sz="320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8" name="Freeform 100"/>
          <p:cNvSpPr>
            <a:spLocks noChangeAspect="1"/>
          </p:cNvSpPr>
          <p:nvPr/>
        </p:nvSpPr>
        <p:spPr>
          <a:xfrm>
            <a:off x="6204798" y="2818216"/>
            <a:ext cx="257611" cy="2032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1" y="0"/>
                </a:moveTo>
                <a:cubicBezTo>
                  <a:pt x="3499" y="0"/>
                  <a:pt x="3499" y="0"/>
                  <a:pt x="3499" y="0"/>
                </a:cubicBezTo>
                <a:cubicBezTo>
                  <a:pt x="3346" y="0"/>
                  <a:pt x="3194" y="0"/>
                  <a:pt x="3042" y="34"/>
                </a:cubicBezTo>
                <a:cubicBezTo>
                  <a:pt x="3529" y="470"/>
                  <a:pt x="3833" y="1140"/>
                  <a:pt x="3833" y="1912"/>
                </a:cubicBezTo>
                <a:cubicBezTo>
                  <a:pt x="3833" y="3220"/>
                  <a:pt x="2860" y="4293"/>
                  <a:pt x="1673" y="4293"/>
                </a:cubicBezTo>
                <a:cubicBezTo>
                  <a:pt x="1004" y="4293"/>
                  <a:pt x="426" y="3991"/>
                  <a:pt x="0" y="3455"/>
                </a:cubicBezTo>
                <a:cubicBezTo>
                  <a:pt x="0" y="3589"/>
                  <a:pt x="0" y="3723"/>
                  <a:pt x="0" y="3857"/>
                </a:cubicBezTo>
                <a:cubicBezTo>
                  <a:pt x="0" y="17743"/>
                  <a:pt x="0" y="17743"/>
                  <a:pt x="0" y="17743"/>
                </a:cubicBezTo>
                <a:cubicBezTo>
                  <a:pt x="0" y="19856"/>
                  <a:pt x="1582" y="21600"/>
                  <a:pt x="3499" y="21600"/>
                </a:cubicBezTo>
                <a:cubicBezTo>
                  <a:pt x="18071" y="21600"/>
                  <a:pt x="18071" y="21600"/>
                  <a:pt x="18071" y="21600"/>
                </a:cubicBezTo>
                <a:cubicBezTo>
                  <a:pt x="20018" y="21600"/>
                  <a:pt x="21600" y="19856"/>
                  <a:pt x="21600" y="17743"/>
                </a:cubicBezTo>
                <a:cubicBezTo>
                  <a:pt x="21600" y="3857"/>
                  <a:pt x="21600" y="3857"/>
                  <a:pt x="21600" y="3857"/>
                </a:cubicBezTo>
                <a:cubicBezTo>
                  <a:pt x="21600" y="1744"/>
                  <a:pt x="20018" y="0"/>
                  <a:pt x="18071" y="0"/>
                </a:cubicBezTo>
                <a:close/>
                <a:moveTo>
                  <a:pt x="1673" y="2817"/>
                </a:moveTo>
                <a:cubicBezTo>
                  <a:pt x="2130" y="2817"/>
                  <a:pt x="2495" y="2415"/>
                  <a:pt x="2495" y="1912"/>
                </a:cubicBezTo>
                <a:cubicBezTo>
                  <a:pt x="2495" y="1409"/>
                  <a:pt x="2130" y="973"/>
                  <a:pt x="1673" y="973"/>
                </a:cubicBezTo>
                <a:cubicBezTo>
                  <a:pt x="1217" y="973"/>
                  <a:pt x="821" y="1409"/>
                  <a:pt x="821" y="1912"/>
                </a:cubicBezTo>
                <a:cubicBezTo>
                  <a:pt x="821" y="2415"/>
                  <a:pt x="1217" y="2817"/>
                  <a:pt x="1673" y="2817"/>
                </a:cubicBezTo>
                <a:close/>
                <a:moveTo>
                  <a:pt x="19379" y="10230"/>
                </a:moveTo>
                <a:cubicBezTo>
                  <a:pt x="19379" y="10834"/>
                  <a:pt x="19014" y="11370"/>
                  <a:pt x="18558" y="11370"/>
                </a:cubicBezTo>
                <a:cubicBezTo>
                  <a:pt x="8336" y="11370"/>
                  <a:pt x="8336" y="11370"/>
                  <a:pt x="8336" y="11370"/>
                </a:cubicBezTo>
                <a:cubicBezTo>
                  <a:pt x="7879" y="11370"/>
                  <a:pt x="7514" y="10834"/>
                  <a:pt x="7514" y="10230"/>
                </a:cubicBezTo>
                <a:cubicBezTo>
                  <a:pt x="7514" y="4360"/>
                  <a:pt x="7514" y="4360"/>
                  <a:pt x="7514" y="4360"/>
                </a:cubicBezTo>
                <a:cubicBezTo>
                  <a:pt x="7514" y="3723"/>
                  <a:pt x="7879" y="3220"/>
                  <a:pt x="8336" y="3220"/>
                </a:cubicBezTo>
                <a:cubicBezTo>
                  <a:pt x="18558" y="3220"/>
                  <a:pt x="18558" y="3220"/>
                  <a:pt x="18558" y="3220"/>
                </a:cubicBezTo>
                <a:cubicBezTo>
                  <a:pt x="19014" y="3220"/>
                  <a:pt x="19379" y="3723"/>
                  <a:pt x="19379" y="4360"/>
                </a:cubicBezTo>
                <a:lnTo>
                  <a:pt x="19379" y="10230"/>
                </a:lnTo>
                <a:close/>
                <a:moveTo>
                  <a:pt x="9461" y="15227"/>
                </a:moveTo>
                <a:cubicBezTo>
                  <a:pt x="9461" y="15328"/>
                  <a:pt x="9401" y="15395"/>
                  <a:pt x="9309" y="15395"/>
                </a:cubicBezTo>
                <a:cubicBezTo>
                  <a:pt x="7879" y="15395"/>
                  <a:pt x="7879" y="15395"/>
                  <a:pt x="7879" y="15395"/>
                </a:cubicBezTo>
                <a:cubicBezTo>
                  <a:pt x="7788" y="15395"/>
                  <a:pt x="7727" y="15328"/>
                  <a:pt x="7727" y="15227"/>
                </a:cubicBezTo>
                <a:cubicBezTo>
                  <a:pt x="7727" y="13684"/>
                  <a:pt x="7727" y="13684"/>
                  <a:pt x="7727" y="13684"/>
                </a:cubicBezTo>
                <a:cubicBezTo>
                  <a:pt x="7727" y="13584"/>
                  <a:pt x="7788" y="13517"/>
                  <a:pt x="7879" y="13517"/>
                </a:cubicBezTo>
                <a:cubicBezTo>
                  <a:pt x="9309" y="13517"/>
                  <a:pt x="9309" y="13517"/>
                  <a:pt x="9309" y="13517"/>
                </a:cubicBezTo>
                <a:cubicBezTo>
                  <a:pt x="9401" y="13517"/>
                  <a:pt x="9461" y="13584"/>
                  <a:pt x="9461" y="13684"/>
                </a:cubicBezTo>
                <a:lnTo>
                  <a:pt x="9461" y="15227"/>
                </a:lnTo>
                <a:close/>
                <a:moveTo>
                  <a:pt x="11834" y="15227"/>
                </a:moveTo>
                <a:cubicBezTo>
                  <a:pt x="11834" y="15328"/>
                  <a:pt x="11774" y="15395"/>
                  <a:pt x="11682" y="15395"/>
                </a:cubicBezTo>
                <a:cubicBezTo>
                  <a:pt x="10252" y="15395"/>
                  <a:pt x="10252" y="15395"/>
                  <a:pt x="10252" y="15395"/>
                </a:cubicBezTo>
                <a:cubicBezTo>
                  <a:pt x="10192" y="15395"/>
                  <a:pt x="10100" y="15328"/>
                  <a:pt x="10100" y="15227"/>
                </a:cubicBezTo>
                <a:cubicBezTo>
                  <a:pt x="10100" y="13684"/>
                  <a:pt x="10100" y="13684"/>
                  <a:pt x="10100" y="13684"/>
                </a:cubicBezTo>
                <a:cubicBezTo>
                  <a:pt x="10100" y="13584"/>
                  <a:pt x="10192" y="13517"/>
                  <a:pt x="10252" y="13517"/>
                </a:cubicBezTo>
                <a:cubicBezTo>
                  <a:pt x="11682" y="13517"/>
                  <a:pt x="11682" y="13517"/>
                  <a:pt x="11682" y="13517"/>
                </a:cubicBezTo>
                <a:cubicBezTo>
                  <a:pt x="11774" y="13517"/>
                  <a:pt x="11834" y="13584"/>
                  <a:pt x="11834" y="13684"/>
                </a:cubicBezTo>
                <a:lnTo>
                  <a:pt x="11834" y="15227"/>
                </a:lnTo>
                <a:close/>
                <a:moveTo>
                  <a:pt x="14207" y="15227"/>
                </a:moveTo>
                <a:cubicBezTo>
                  <a:pt x="14207" y="15328"/>
                  <a:pt x="14146" y="15395"/>
                  <a:pt x="14055" y="15395"/>
                </a:cubicBezTo>
                <a:cubicBezTo>
                  <a:pt x="12656" y="15395"/>
                  <a:pt x="12656" y="15395"/>
                  <a:pt x="12656" y="15395"/>
                </a:cubicBezTo>
                <a:cubicBezTo>
                  <a:pt x="12565" y="15395"/>
                  <a:pt x="12504" y="15328"/>
                  <a:pt x="12504" y="15227"/>
                </a:cubicBezTo>
                <a:cubicBezTo>
                  <a:pt x="12504" y="13684"/>
                  <a:pt x="12504" y="13684"/>
                  <a:pt x="12504" y="13684"/>
                </a:cubicBezTo>
                <a:cubicBezTo>
                  <a:pt x="12504" y="13584"/>
                  <a:pt x="12565" y="13517"/>
                  <a:pt x="12656" y="13517"/>
                </a:cubicBezTo>
                <a:cubicBezTo>
                  <a:pt x="14055" y="13517"/>
                  <a:pt x="14055" y="13517"/>
                  <a:pt x="14055" y="13517"/>
                </a:cubicBezTo>
                <a:cubicBezTo>
                  <a:pt x="14146" y="13517"/>
                  <a:pt x="14207" y="13584"/>
                  <a:pt x="14207" y="13684"/>
                </a:cubicBezTo>
                <a:lnTo>
                  <a:pt x="14207" y="15227"/>
                </a:lnTo>
                <a:close/>
                <a:moveTo>
                  <a:pt x="16580" y="15227"/>
                </a:moveTo>
                <a:cubicBezTo>
                  <a:pt x="16580" y="15328"/>
                  <a:pt x="16519" y="15395"/>
                  <a:pt x="16428" y="15395"/>
                </a:cubicBezTo>
                <a:cubicBezTo>
                  <a:pt x="15029" y="15395"/>
                  <a:pt x="15029" y="15395"/>
                  <a:pt x="15029" y="15395"/>
                </a:cubicBezTo>
                <a:cubicBezTo>
                  <a:pt x="14937" y="15395"/>
                  <a:pt x="14877" y="15328"/>
                  <a:pt x="14877" y="15227"/>
                </a:cubicBezTo>
                <a:cubicBezTo>
                  <a:pt x="14877" y="13684"/>
                  <a:pt x="14877" y="13684"/>
                  <a:pt x="14877" y="13684"/>
                </a:cubicBezTo>
                <a:cubicBezTo>
                  <a:pt x="14877" y="13584"/>
                  <a:pt x="14937" y="13517"/>
                  <a:pt x="15029" y="13517"/>
                </a:cubicBezTo>
                <a:cubicBezTo>
                  <a:pt x="16428" y="13517"/>
                  <a:pt x="16428" y="13517"/>
                  <a:pt x="16428" y="13517"/>
                </a:cubicBezTo>
                <a:cubicBezTo>
                  <a:pt x="16519" y="13517"/>
                  <a:pt x="16580" y="13584"/>
                  <a:pt x="16580" y="13684"/>
                </a:cubicBezTo>
                <a:lnTo>
                  <a:pt x="16580" y="15227"/>
                </a:lnTo>
                <a:close/>
                <a:moveTo>
                  <a:pt x="18984" y="15227"/>
                </a:moveTo>
                <a:cubicBezTo>
                  <a:pt x="18984" y="15328"/>
                  <a:pt x="18892" y="15395"/>
                  <a:pt x="18832" y="15395"/>
                </a:cubicBezTo>
                <a:cubicBezTo>
                  <a:pt x="17402" y="15395"/>
                  <a:pt x="17402" y="15395"/>
                  <a:pt x="17402" y="15395"/>
                </a:cubicBezTo>
                <a:cubicBezTo>
                  <a:pt x="17310" y="15395"/>
                  <a:pt x="17250" y="15328"/>
                  <a:pt x="17250" y="15227"/>
                </a:cubicBezTo>
                <a:cubicBezTo>
                  <a:pt x="17250" y="13684"/>
                  <a:pt x="17250" y="13684"/>
                  <a:pt x="17250" y="13684"/>
                </a:cubicBezTo>
                <a:cubicBezTo>
                  <a:pt x="17250" y="13584"/>
                  <a:pt x="17310" y="13517"/>
                  <a:pt x="17402" y="13517"/>
                </a:cubicBezTo>
                <a:cubicBezTo>
                  <a:pt x="18832" y="13517"/>
                  <a:pt x="18832" y="13517"/>
                  <a:pt x="18832" y="13517"/>
                </a:cubicBezTo>
                <a:cubicBezTo>
                  <a:pt x="18892" y="13517"/>
                  <a:pt x="18984" y="13584"/>
                  <a:pt x="18984" y="13684"/>
                </a:cubicBezTo>
                <a:lnTo>
                  <a:pt x="18984" y="15227"/>
                </a:lnTo>
                <a:close/>
                <a:moveTo>
                  <a:pt x="9461" y="17911"/>
                </a:moveTo>
                <a:cubicBezTo>
                  <a:pt x="9461" y="18011"/>
                  <a:pt x="9401" y="18078"/>
                  <a:pt x="9309" y="18078"/>
                </a:cubicBezTo>
                <a:cubicBezTo>
                  <a:pt x="7879" y="18078"/>
                  <a:pt x="7879" y="18078"/>
                  <a:pt x="7879" y="18078"/>
                </a:cubicBezTo>
                <a:cubicBezTo>
                  <a:pt x="7788" y="18078"/>
                  <a:pt x="7727" y="18011"/>
                  <a:pt x="7727" y="17911"/>
                </a:cubicBezTo>
                <a:cubicBezTo>
                  <a:pt x="7727" y="16334"/>
                  <a:pt x="7727" y="16334"/>
                  <a:pt x="7727" y="16334"/>
                </a:cubicBezTo>
                <a:cubicBezTo>
                  <a:pt x="7727" y="16267"/>
                  <a:pt x="7788" y="16166"/>
                  <a:pt x="7879" y="16166"/>
                </a:cubicBezTo>
                <a:cubicBezTo>
                  <a:pt x="9309" y="16166"/>
                  <a:pt x="9309" y="16166"/>
                  <a:pt x="9309" y="16166"/>
                </a:cubicBezTo>
                <a:cubicBezTo>
                  <a:pt x="9401" y="16166"/>
                  <a:pt x="9461" y="16267"/>
                  <a:pt x="9461" y="16334"/>
                </a:cubicBezTo>
                <a:lnTo>
                  <a:pt x="9461" y="17911"/>
                </a:lnTo>
                <a:close/>
                <a:moveTo>
                  <a:pt x="11834" y="17911"/>
                </a:moveTo>
                <a:cubicBezTo>
                  <a:pt x="11834" y="18011"/>
                  <a:pt x="11774" y="18078"/>
                  <a:pt x="11682" y="18078"/>
                </a:cubicBezTo>
                <a:cubicBezTo>
                  <a:pt x="10252" y="18078"/>
                  <a:pt x="10252" y="18078"/>
                  <a:pt x="10252" y="18078"/>
                </a:cubicBezTo>
                <a:cubicBezTo>
                  <a:pt x="10192" y="18078"/>
                  <a:pt x="10100" y="18011"/>
                  <a:pt x="10100" y="17911"/>
                </a:cubicBezTo>
                <a:cubicBezTo>
                  <a:pt x="10100" y="16334"/>
                  <a:pt x="10100" y="16334"/>
                  <a:pt x="10100" y="16334"/>
                </a:cubicBezTo>
                <a:cubicBezTo>
                  <a:pt x="10100" y="16267"/>
                  <a:pt x="10192" y="16166"/>
                  <a:pt x="10252" y="16166"/>
                </a:cubicBezTo>
                <a:cubicBezTo>
                  <a:pt x="11682" y="16166"/>
                  <a:pt x="11682" y="16166"/>
                  <a:pt x="11682" y="16166"/>
                </a:cubicBezTo>
                <a:cubicBezTo>
                  <a:pt x="11774" y="16166"/>
                  <a:pt x="11834" y="16267"/>
                  <a:pt x="11834" y="16334"/>
                </a:cubicBezTo>
                <a:lnTo>
                  <a:pt x="11834" y="17911"/>
                </a:lnTo>
                <a:close/>
                <a:moveTo>
                  <a:pt x="14207" y="17911"/>
                </a:moveTo>
                <a:cubicBezTo>
                  <a:pt x="14207" y="18011"/>
                  <a:pt x="14146" y="18078"/>
                  <a:pt x="14055" y="18078"/>
                </a:cubicBezTo>
                <a:cubicBezTo>
                  <a:pt x="12656" y="18078"/>
                  <a:pt x="12656" y="18078"/>
                  <a:pt x="12656" y="18078"/>
                </a:cubicBezTo>
                <a:cubicBezTo>
                  <a:pt x="12565" y="18078"/>
                  <a:pt x="12504" y="18011"/>
                  <a:pt x="12504" y="17911"/>
                </a:cubicBezTo>
                <a:cubicBezTo>
                  <a:pt x="12504" y="16334"/>
                  <a:pt x="12504" y="16334"/>
                  <a:pt x="12504" y="16334"/>
                </a:cubicBezTo>
                <a:cubicBezTo>
                  <a:pt x="12504" y="16267"/>
                  <a:pt x="12565" y="16166"/>
                  <a:pt x="12656" y="16166"/>
                </a:cubicBezTo>
                <a:cubicBezTo>
                  <a:pt x="14055" y="16166"/>
                  <a:pt x="14055" y="16166"/>
                  <a:pt x="14055" y="16166"/>
                </a:cubicBezTo>
                <a:cubicBezTo>
                  <a:pt x="14146" y="16166"/>
                  <a:pt x="14207" y="16267"/>
                  <a:pt x="14207" y="16334"/>
                </a:cubicBezTo>
                <a:lnTo>
                  <a:pt x="14207" y="17911"/>
                </a:lnTo>
                <a:close/>
                <a:moveTo>
                  <a:pt x="16580" y="17911"/>
                </a:moveTo>
                <a:cubicBezTo>
                  <a:pt x="16580" y="18011"/>
                  <a:pt x="16519" y="18078"/>
                  <a:pt x="16428" y="18078"/>
                </a:cubicBezTo>
                <a:cubicBezTo>
                  <a:pt x="15029" y="18078"/>
                  <a:pt x="15029" y="18078"/>
                  <a:pt x="15029" y="18078"/>
                </a:cubicBezTo>
                <a:cubicBezTo>
                  <a:pt x="14937" y="18078"/>
                  <a:pt x="14877" y="18011"/>
                  <a:pt x="14877" y="17911"/>
                </a:cubicBezTo>
                <a:cubicBezTo>
                  <a:pt x="14877" y="16334"/>
                  <a:pt x="14877" y="16334"/>
                  <a:pt x="14877" y="16334"/>
                </a:cubicBezTo>
                <a:cubicBezTo>
                  <a:pt x="14877" y="16267"/>
                  <a:pt x="14937" y="16166"/>
                  <a:pt x="15029" y="16166"/>
                </a:cubicBezTo>
                <a:cubicBezTo>
                  <a:pt x="16428" y="16166"/>
                  <a:pt x="16428" y="16166"/>
                  <a:pt x="16428" y="16166"/>
                </a:cubicBezTo>
                <a:cubicBezTo>
                  <a:pt x="16519" y="16166"/>
                  <a:pt x="16580" y="16267"/>
                  <a:pt x="16580" y="16334"/>
                </a:cubicBezTo>
                <a:lnTo>
                  <a:pt x="16580" y="17911"/>
                </a:lnTo>
                <a:close/>
                <a:moveTo>
                  <a:pt x="18984" y="17911"/>
                </a:moveTo>
                <a:cubicBezTo>
                  <a:pt x="18984" y="18011"/>
                  <a:pt x="18892" y="18078"/>
                  <a:pt x="18832" y="18078"/>
                </a:cubicBezTo>
                <a:cubicBezTo>
                  <a:pt x="17402" y="18078"/>
                  <a:pt x="17402" y="18078"/>
                  <a:pt x="17402" y="18078"/>
                </a:cubicBezTo>
                <a:cubicBezTo>
                  <a:pt x="17310" y="18078"/>
                  <a:pt x="17250" y="18011"/>
                  <a:pt x="17250" y="17911"/>
                </a:cubicBezTo>
                <a:cubicBezTo>
                  <a:pt x="17250" y="16334"/>
                  <a:pt x="17250" y="16334"/>
                  <a:pt x="17250" y="16334"/>
                </a:cubicBezTo>
                <a:cubicBezTo>
                  <a:pt x="17250" y="16267"/>
                  <a:pt x="17310" y="16166"/>
                  <a:pt x="17402" y="16166"/>
                </a:cubicBezTo>
                <a:cubicBezTo>
                  <a:pt x="18832" y="16166"/>
                  <a:pt x="18832" y="16166"/>
                  <a:pt x="18832" y="16166"/>
                </a:cubicBezTo>
                <a:cubicBezTo>
                  <a:pt x="18892" y="16166"/>
                  <a:pt x="18984" y="16267"/>
                  <a:pt x="18984" y="16334"/>
                </a:cubicBezTo>
                <a:lnTo>
                  <a:pt x="18984" y="17911"/>
                </a:lnTo>
                <a:close/>
                <a:moveTo>
                  <a:pt x="2738" y="20258"/>
                </a:moveTo>
                <a:cubicBezTo>
                  <a:pt x="2221" y="20258"/>
                  <a:pt x="1825" y="19789"/>
                  <a:pt x="1825" y="19252"/>
                </a:cubicBezTo>
                <a:cubicBezTo>
                  <a:pt x="1825" y="19252"/>
                  <a:pt x="1825" y="19252"/>
                  <a:pt x="1825" y="19252"/>
                </a:cubicBezTo>
                <a:cubicBezTo>
                  <a:pt x="1825" y="5769"/>
                  <a:pt x="1825" y="5769"/>
                  <a:pt x="1825" y="5769"/>
                </a:cubicBezTo>
                <a:cubicBezTo>
                  <a:pt x="1825" y="5232"/>
                  <a:pt x="2221" y="4763"/>
                  <a:pt x="2738" y="4763"/>
                </a:cubicBezTo>
                <a:cubicBezTo>
                  <a:pt x="2738" y="4763"/>
                  <a:pt x="2738" y="4763"/>
                  <a:pt x="2738" y="4763"/>
                </a:cubicBezTo>
                <a:cubicBezTo>
                  <a:pt x="5020" y="4763"/>
                  <a:pt x="5020" y="4763"/>
                  <a:pt x="5020" y="4763"/>
                </a:cubicBezTo>
                <a:cubicBezTo>
                  <a:pt x="5537" y="4763"/>
                  <a:pt x="5932" y="5232"/>
                  <a:pt x="5932" y="5769"/>
                </a:cubicBezTo>
                <a:cubicBezTo>
                  <a:pt x="5932" y="5769"/>
                  <a:pt x="5932" y="5769"/>
                  <a:pt x="5932" y="5769"/>
                </a:cubicBezTo>
                <a:cubicBezTo>
                  <a:pt x="5932" y="19252"/>
                  <a:pt x="5932" y="19252"/>
                  <a:pt x="5932" y="19252"/>
                </a:cubicBezTo>
                <a:cubicBezTo>
                  <a:pt x="5932" y="19252"/>
                  <a:pt x="5932" y="19252"/>
                  <a:pt x="5932" y="19252"/>
                </a:cubicBezTo>
                <a:cubicBezTo>
                  <a:pt x="5932" y="19789"/>
                  <a:pt x="5537" y="20258"/>
                  <a:pt x="5020" y="20258"/>
                </a:cubicBezTo>
                <a:cubicBezTo>
                  <a:pt x="5020" y="20258"/>
                  <a:pt x="5020" y="20258"/>
                  <a:pt x="5020" y="20258"/>
                </a:cubicBezTo>
                <a:cubicBezTo>
                  <a:pt x="2738" y="20258"/>
                  <a:pt x="2738" y="20258"/>
                  <a:pt x="2738" y="20258"/>
                </a:cubicBezTo>
                <a:close/>
                <a:moveTo>
                  <a:pt x="2434" y="5769"/>
                </a:moveTo>
                <a:cubicBezTo>
                  <a:pt x="2434" y="19252"/>
                  <a:pt x="2434" y="19252"/>
                  <a:pt x="2434" y="19252"/>
                </a:cubicBezTo>
                <a:cubicBezTo>
                  <a:pt x="2434" y="19420"/>
                  <a:pt x="2555" y="19588"/>
                  <a:pt x="2738" y="19588"/>
                </a:cubicBezTo>
                <a:cubicBezTo>
                  <a:pt x="2738" y="19588"/>
                  <a:pt x="2738" y="19588"/>
                  <a:pt x="2738" y="19588"/>
                </a:cubicBezTo>
                <a:cubicBezTo>
                  <a:pt x="5020" y="19588"/>
                  <a:pt x="5020" y="19588"/>
                  <a:pt x="5020" y="19588"/>
                </a:cubicBezTo>
                <a:cubicBezTo>
                  <a:pt x="5202" y="19588"/>
                  <a:pt x="5324" y="19420"/>
                  <a:pt x="5324" y="19252"/>
                </a:cubicBezTo>
                <a:cubicBezTo>
                  <a:pt x="5324" y="19252"/>
                  <a:pt x="5324" y="19252"/>
                  <a:pt x="5324" y="19252"/>
                </a:cubicBezTo>
                <a:cubicBezTo>
                  <a:pt x="5324" y="19252"/>
                  <a:pt x="5324" y="19252"/>
                  <a:pt x="5324" y="19252"/>
                </a:cubicBezTo>
                <a:cubicBezTo>
                  <a:pt x="5324" y="5769"/>
                  <a:pt x="5324" y="5769"/>
                  <a:pt x="5324" y="5769"/>
                </a:cubicBezTo>
                <a:cubicBezTo>
                  <a:pt x="5324" y="5601"/>
                  <a:pt x="5202" y="5434"/>
                  <a:pt x="5020" y="5434"/>
                </a:cubicBezTo>
                <a:cubicBezTo>
                  <a:pt x="5020" y="5434"/>
                  <a:pt x="5020" y="5434"/>
                  <a:pt x="5020" y="5434"/>
                </a:cubicBezTo>
                <a:cubicBezTo>
                  <a:pt x="2738" y="5434"/>
                  <a:pt x="2738" y="5434"/>
                  <a:pt x="2738" y="5434"/>
                </a:cubicBezTo>
                <a:cubicBezTo>
                  <a:pt x="2555" y="5434"/>
                  <a:pt x="2434" y="5601"/>
                  <a:pt x="2434" y="5769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21919" tIns="121919" rIns="121919" bIns="121919"/>
          <a:lstStyle/>
          <a:p>
            <a:endParaRPr/>
          </a:p>
        </p:txBody>
      </p:sp>
      <p:sp>
        <p:nvSpPr>
          <p:cNvPr id="69" name="Freeform 100"/>
          <p:cNvSpPr>
            <a:spLocks noChangeAspect="1"/>
          </p:cNvSpPr>
          <p:nvPr/>
        </p:nvSpPr>
        <p:spPr>
          <a:xfrm>
            <a:off x="6297671" y="1837958"/>
            <a:ext cx="257611" cy="2032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1" y="0"/>
                </a:moveTo>
                <a:cubicBezTo>
                  <a:pt x="3499" y="0"/>
                  <a:pt x="3499" y="0"/>
                  <a:pt x="3499" y="0"/>
                </a:cubicBezTo>
                <a:cubicBezTo>
                  <a:pt x="3346" y="0"/>
                  <a:pt x="3194" y="0"/>
                  <a:pt x="3042" y="34"/>
                </a:cubicBezTo>
                <a:cubicBezTo>
                  <a:pt x="3529" y="470"/>
                  <a:pt x="3833" y="1140"/>
                  <a:pt x="3833" y="1912"/>
                </a:cubicBezTo>
                <a:cubicBezTo>
                  <a:pt x="3833" y="3220"/>
                  <a:pt x="2860" y="4293"/>
                  <a:pt x="1673" y="4293"/>
                </a:cubicBezTo>
                <a:cubicBezTo>
                  <a:pt x="1004" y="4293"/>
                  <a:pt x="426" y="3991"/>
                  <a:pt x="0" y="3455"/>
                </a:cubicBezTo>
                <a:cubicBezTo>
                  <a:pt x="0" y="3589"/>
                  <a:pt x="0" y="3723"/>
                  <a:pt x="0" y="3857"/>
                </a:cubicBezTo>
                <a:cubicBezTo>
                  <a:pt x="0" y="17743"/>
                  <a:pt x="0" y="17743"/>
                  <a:pt x="0" y="17743"/>
                </a:cubicBezTo>
                <a:cubicBezTo>
                  <a:pt x="0" y="19856"/>
                  <a:pt x="1582" y="21600"/>
                  <a:pt x="3499" y="21600"/>
                </a:cubicBezTo>
                <a:cubicBezTo>
                  <a:pt x="18071" y="21600"/>
                  <a:pt x="18071" y="21600"/>
                  <a:pt x="18071" y="21600"/>
                </a:cubicBezTo>
                <a:cubicBezTo>
                  <a:pt x="20018" y="21600"/>
                  <a:pt x="21600" y="19856"/>
                  <a:pt x="21600" y="17743"/>
                </a:cubicBezTo>
                <a:cubicBezTo>
                  <a:pt x="21600" y="3857"/>
                  <a:pt x="21600" y="3857"/>
                  <a:pt x="21600" y="3857"/>
                </a:cubicBezTo>
                <a:cubicBezTo>
                  <a:pt x="21600" y="1744"/>
                  <a:pt x="20018" y="0"/>
                  <a:pt x="18071" y="0"/>
                </a:cubicBezTo>
                <a:close/>
                <a:moveTo>
                  <a:pt x="1673" y="2817"/>
                </a:moveTo>
                <a:cubicBezTo>
                  <a:pt x="2130" y="2817"/>
                  <a:pt x="2495" y="2415"/>
                  <a:pt x="2495" y="1912"/>
                </a:cubicBezTo>
                <a:cubicBezTo>
                  <a:pt x="2495" y="1409"/>
                  <a:pt x="2130" y="973"/>
                  <a:pt x="1673" y="973"/>
                </a:cubicBezTo>
                <a:cubicBezTo>
                  <a:pt x="1217" y="973"/>
                  <a:pt x="821" y="1409"/>
                  <a:pt x="821" y="1912"/>
                </a:cubicBezTo>
                <a:cubicBezTo>
                  <a:pt x="821" y="2415"/>
                  <a:pt x="1217" y="2817"/>
                  <a:pt x="1673" y="2817"/>
                </a:cubicBezTo>
                <a:close/>
                <a:moveTo>
                  <a:pt x="19379" y="10230"/>
                </a:moveTo>
                <a:cubicBezTo>
                  <a:pt x="19379" y="10834"/>
                  <a:pt x="19014" y="11370"/>
                  <a:pt x="18558" y="11370"/>
                </a:cubicBezTo>
                <a:cubicBezTo>
                  <a:pt x="8336" y="11370"/>
                  <a:pt x="8336" y="11370"/>
                  <a:pt x="8336" y="11370"/>
                </a:cubicBezTo>
                <a:cubicBezTo>
                  <a:pt x="7879" y="11370"/>
                  <a:pt x="7514" y="10834"/>
                  <a:pt x="7514" y="10230"/>
                </a:cubicBezTo>
                <a:cubicBezTo>
                  <a:pt x="7514" y="4360"/>
                  <a:pt x="7514" y="4360"/>
                  <a:pt x="7514" y="4360"/>
                </a:cubicBezTo>
                <a:cubicBezTo>
                  <a:pt x="7514" y="3723"/>
                  <a:pt x="7879" y="3220"/>
                  <a:pt x="8336" y="3220"/>
                </a:cubicBezTo>
                <a:cubicBezTo>
                  <a:pt x="18558" y="3220"/>
                  <a:pt x="18558" y="3220"/>
                  <a:pt x="18558" y="3220"/>
                </a:cubicBezTo>
                <a:cubicBezTo>
                  <a:pt x="19014" y="3220"/>
                  <a:pt x="19379" y="3723"/>
                  <a:pt x="19379" y="4360"/>
                </a:cubicBezTo>
                <a:lnTo>
                  <a:pt x="19379" y="10230"/>
                </a:lnTo>
                <a:close/>
                <a:moveTo>
                  <a:pt x="9461" y="15227"/>
                </a:moveTo>
                <a:cubicBezTo>
                  <a:pt x="9461" y="15328"/>
                  <a:pt x="9401" y="15395"/>
                  <a:pt x="9309" y="15395"/>
                </a:cubicBezTo>
                <a:cubicBezTo>
                  <a:pt x="7879" y="15395"/>
                  <a:pt x="7879" y="15395"/>
                  <a:pt x="7879" y="15395"/>
                </a:cubicBezTo>
                <a:cubicBezTo>
                  <a:pt x="7788" y="15395"/>
                  <a:pt x="7727" y="15328"/>
                  <a:pt x="7727" y="15227"/>
                </a:cubicBezTo>
                <a:cubicBezTo>
                  <a:pt x="7727" y="13684"/>
                  <a:pt x="7727" y="13684"/>
                  <a:pt x="7727" y="13684"/>
                </a:cubicBezTo>
                <a:cubicBezTo>
                  <a:pt x="7727" y="13584"/>
                  <a:pt x="7788" y="13517"/>
                  <a:pt x="7879" y="13517"/>
                </a:cubicBezTo>
                <a:cubicBezTo>
                  <a:pt x="9309" y="13517"/>
                  <a:pt x="9309" y="13517"/>
                  <a:pt x="9309" y="13517"/>
                </a:cubicBezTo>
                <a:cubicBezTo>
                  <a:pt x="9401" y="13517"/>
                  <a:pt x="9461" y="13584"/>
                  <a:pt x="9461" y="13684"/>
                </a:cubicBezTo>
                <a:lnTo>
                  <a:pt x="9461" y="15227"/>
                </a:lnTo>
                <a:close/>
                <a:moveTo>
                  <a:pt x="11834" y="15227"/>
                </a:moveTo>
                <a:cubicBezTo>
                  <a:pt x="11834" y="15328"/>
                  <a:pt x="11774" y="15395"/>
                  <a:pt x="11682" y="15395"/>
                </a:cubicBezTo>
                <a:cubicBezTo>
                  <a:pt x="10252" y="15395"/>
                  <a:pt x="10252" y="15395"/>
                  <a:pt x="10252" y="15395"/>
                </a:cubicBezTo>
                <a:cubicBezTo>
                  <a:pt x="10192" y="15395"/>
                  <a:pt x="10100" y="15328"/>
                  <a:pt x="10100" y="15227"/>
                </a:cubicBezTo>
                <a:cubicBezTo>
                  <a:pt x="10100" y="13684"/>
                  <a:pt x="10100" y="13684"/>
                  <a:pt x="10100" y="13684"/>
                </a:cubicBezTo>
                <a:cubicBezTo>
                  <a:pt x="10100" y="13584"/>
                  <a:pt x="10192" y="13517"/>
                  <a:pt x="10252" y="13517"/>
                </a:cubicBezTo>
                <a:cubicBezTo>
                  <a:pt x="11682" y="13517"/>
                  <a:pt x="11682" y="13517"/>
                  <a:pt x="11682" y="13517"/>
                </a:cubicBezTo>
                <a:cubicBezTo>
                  <a:pt x="11774" y="13517"/>
                  <a:pt x="11834" y="13584"/>
                  <a:pt x="11834" y="13684"/>
                </a:cubicBezTo>
                <a:lnTo>
                  <a:pt x="11834" y="15227"/>
                </a:lnTo>
                <a:close/>
                <a:moveTo>
                  <a:pt x="14207" y="15227"/>
                </a:moveTo>
                <a:cubicBezTo>
                  <a:pt x="14207" y="15328"/>
                  <a:pt x="14146" y="15395"/>
                  <a:pt x="14055" y="15395"/>
                </a:cubicBezTo>
                <a:cubicBezTo>
                  <a:pt x="12656" y="15395"/>
                  <a:pt x="12656" y="15395"/>
                  <a:pt x="12656" y="15395"/>
                </a:cubicBezTo>
                <a:cubicBezTo>
                  <a:pt x="12565" y="15395"/>
                  <a:pt x="12504" y="15328"/>
                  <a:pt x="12504" y="15227"/>
                </a:cubicBezTo>
                <a:cubicBezTo>
                  <a:pt x="12504" y="13684"/>
                  <a:pt x="12504" y="13684"/>
                  <a:pt x="12504" y="13684"/>
                </a:cubicBezTo>
                <a:cubicBezTo>
                  <a:pt x="12504" y="13584"/>
                  <a:pt x="12565" y="13517"/>
                  <a:pt x="12656" y="13517"/>
                </a:cubicBezTo>
                <a:cubicBezTo>
                  <a:pt x="14055" y="13517"/>
                  <a:pt x="14055" y="13517"/>
                  <a:pt x="14055" y="13517"/>
                </a:cubicBezTo>
                <a:cubicBezTo>
                  <a:pt x="14146" y="13517"/>
                  <a:pt x="14207" y="13584"/>
                  <a:pt x="14207" y="13684"/>
                </a:cubicBezTo>
                <a:lnTo>
                  <a:pt x="14207" y="15227"/>
                </a:lnTo>
                <a:close/>
                <a:moveTo>
                  <a:pt x="16580" y="15227"/>
                </a:moveTo>
                <a:cubicBezTo>
                  <a:pt x="16580" y="15328"/>
                  <a:pt x="16519" y="15395"/>
                  <a:pt x="16428" y="15395"/>
                </a:cubicBezTo>
                <a:cubicBezTo>
                  <a:pt x="15029" y="15395"/>
                  <a:pt x="15029" y="15395"/>
                  <a:pt x="15029" y="15395"/>
                </a:cubicBezTo>
                <a:cubicBezTo>
                  <a:pt x="14937" y="15395"/>
                  <a:pt x="14877" y="15328"/>
                  <a:pt x="14877" y="15227"/>
                </a:cubicBezTo>
                <a:cubicBezTo>
                  <a:pt x="14877" y="13684"/>
                  <a:pt x="14877" y="13684"/>
                  <a:pt x="14877" y="13684"/>
                </a:cubicBezTo>
                <a:cubicBezTo>
                  <a:pt x="14877" y="13584"/>
                  <a:pt x="14937" y="13517"/>
                  <a:pt x="15029" y="13517"/>
                </a:cubicBezTo>
                <a:cubicBezTo>
                  <a:pt x="16428" y="13517"/>
                  <a:pt x="16428" y="13517"/>
                  <a:pt x="16428" y="13517"/>
                </a:cubicBezTo>
                <a:cubicBezTo>
                  <a:pt x="16519" y="13517"/>
                  <a:pt x="16580" y="13584"/>
                  <a:pt x="16580" y="13684"/>
                </a:cubicBezTo>
                <a:lnTo>
                  <a:pt x="16580" y="15227"/>
                </a:lnTo>
                <a:close/>
                <a:moveTo>
                  <a:pt x="18984" y="15227"/>
                </a:moveTo>
                <a:cubicBezTo>
                  <a:pt x="18984" y="15328"/>
                  <a:pt x="18892" y="15395"/>
                  <a:pt x="18832" y="15395"/>
                </a:cubicBezTo>
                <a:cubicBezTo>
                  <a:pt x="17402" y="15395"/>
                  <a:pt x="17402" y="15395"/>
                  <a:pt x="17402" y="15395"/>
                </a:cubicBezTo>
                <a:cubicBezTo>
                  <a:pt x="17310" y="15395"/>
                  <a:pt x="17250" y="15328"/>
                  <a:pt x="17250" y="15227"/>
                </a:cubicBezTo>
                <a:cubicBezTo>
                  <a:pt x="17250" y="13684"/>
                  <a:pt x="17250" y="13684"/>
                  <a:pt x="17250" y="13684"/>
                </a:cubicBezTo>
                <a:cubicBezTo>
                  <a:pt x="17250" y="13584"/>
                  <a:pt x="17310" y="13517"/>
                  <a:pt x="17402" y="13517"/>
                </a:cubicBezTo>
                <a:cubicBezTo>
                  <a:pt x="18832" y="13517"/>
                  <a:pt x="18832" y="13517"/>
                  <a:pt x="18832" y="13517"/>
                </a:cubicBezTo>
                <a:cubicBezTo>
                  <a:pt x="18892" y="13517"/>
                  <a:pt x="18984" y="13584"/>
                  <a:pt x="18984" y="13684"/>
                </a:cubicBezTo>
                <a:lnTo>
                  <a:pt x="18984" y="15227"/>
                </a:lnTo>
                <a:close/>
                <a:moveTo>
                  <a:pt x="9461" y="17911"/>
                </a:moveTo>
                <a:cubicBezTo>
                  <a:pt x="9461" y="18011"/>
                  <a:pt x="9401" y="18078"/>
                  <a:pt x="9309" y="18078"/>
                </a:cubicBezTo>
                <a:cubicBezTo>
                  <a:pt x="7879" y="18078"/>
                  <a:pt x="7879" y="18078"/>
                  <a:pt x="7879" y="18078"/>
                </a:cubicBezTo>
                <a:cubicBezTo>
                  <a:pt x="7788" y="18078"/>
                  <a:pt x="7727" y="18011"/>
                  <a:pt x="7727" y="17911"/>
                </a:cubicBezTo>
                <a:cubicBezTo>
                  <a:pt x="7727" y="16334"/>
                  <a:pt x="7727" y="16334"/>
                  <a:pt x="7727" y="16334"/>
                </a:cubicBezTo>
                <a:cubicBezTo>
                  <a:pt x="7727" y="16267"/>
                  <a:pt x="7788" y="16166"/>
                  <a:pt x="7879" y="16166"/>
                </a:cubicBezTo>
                <a:cubicBezTo>
                  <a:pt x="9309" y="16166"/>
                  <a:pt x="9309" y="16166"/>
                  <a:pt x="9309" y="16166"/>
                </a:cubicBezTo>
                <a:cubicBezTo>
                  <a:pt x="9401" y="16166"/>
                  <a:pt x="9461" y="16267"/>
                  <a:pt x="9461" y="16334"/>
                </a:cubicBezTo>
                <a:lnTo>
                  <a:pt x="9461" y="17911"/>
                </a:lnTo>
                <a:close/>
                <a:moveTo>
                  <a:pt x="11834" y="17911"/>
                </a:moveTo>
                <a:cubicBezTo>
                  <a:pt x="11834" y="18011"/>
                  <a:pt x="11774" y="18078"/>
                  <a:pt x="11682" y="18078"/>
                </a:cubicBezTo>
                <a:cubicBezTo>
                  <a:pt x="10252" y="18078"/>
                  <a:pt x="10252" y="18078"/>
                  <a:pt x="10252" y="18078"/>
                </a:cubicBezTo>
                <a:cubicBezTo>
                  <a:pt x="10192" y="18078"/>
                  <a:pt x="10100" y="18011"/>
                  <a:pt x="10100" y="17911"/>
                </a:cubicBezTo>
                <a:cubicBezTo>
                  <a:pt x="10100" y="16334"/>
                  <a:pt x="10100" y="16334"/>
                  <a:pt x="10100" y="16334"/>
                </a:cubicBezTo>
                <a:cubicBezTo>
                  <a:pt x="10100" y="16267"/>
                  <a:pt x="10192" y="16166"/>
                  <a:pt x="10252" y="16166"/>
                </a:cubicBezTo>
                <a:cubicBezTo>
                  <a:pt x="11682" y="16166"/>
                  <a:pt x="11682" y="16166"/>
                  <a:pt x="11682" y="16166"/>
                </a:cubicBezTo>
                <a:cubicBezTo>
                  <a:pt x="11774" y="16166"/>
                  <a:pt x="11834" y="16267"/>
                  <a:pt x="11834" y="16334"/>
                </a:cubicBezTo>
                <a:lnTo>
                  <a:pt x="11834" y="17911"/>
                </a:lnTo>
                <a:close/>
                <a:moveTo>
                  <a:pt x="14207" y="17911"/>
                </a:moveTo>
                <a:cubicBezTo>
                  <a:pt x="14207" y="18011"/>
                  <a:pt x="14146" y="18078"/>
                  <a:pt x="14055" y="18078"/>
                </a:cubicBezTo>
                <a:cubicBezTo>
                  <a:pt x="12656" y="18078"/>
                  <a:pt x="12656" y="18078"/>
                  <a:pt x="12656" y="18078"/>
                </a:cubicBezTo>
                <a:cubicBezTo>
                  <a:pt x="12565" y="18078"/>
                  <a:pt x="12504" y="18011"/>
                  <a:pt x="12504" y="17911"/>
                </a:cubicBezTo>
                <a:cubicBezTo>
                  <a:pt x="12504" y="16334"/>
                  <a:pt x="12504" y="16334"/>
                  <a:pt x="12504" y="16334"/>
                </a:cubicBezTo>
                <a:cubicBezTo>
                  <a:pt x="12504" y="16267"/>
                  <a:pt x="12565" y="16166"/>
                  <a:pt x="12656" y="16166"/>
                </a:cubicBezTo>
                <a:cubicBezTo>
                  <a:pt x="14055" y="16166"/>
                  <a:pt x="14055" y="16166"/>
                  <a:pt x="14055" y="16166"/>
                </a:cubicBezTo>
                <a:cubicBezTo>
                  <a:pt x="14146" y="16166"/>
                  <a:pt x="14207" y="16267"/>
                  <a:pt x="14207" y="16334"/>
                </a:cubicBezTo>
                <a:lnTo>
                  <a:pt x="14207" y="17911"/>
                </a:lnTo>
                <a:close/>
                <a:moveTo>
                  <a:pt x="16580" y="17911"/>
                </a:moveTo>
                <a:cubicBezTo>
                  <a:pt x="16580" y="18011"/>
                  <a:pt x="16519" y="18078"/>
                  <a:pt x="16428" y="18078"/>
                </a:cubicBezTo>
                <a:cubicBezTo>
                  <a:pt x="15029" y="18078"/>
                  <a:pt x="15029" y="18078"/>
                  <a:pt x="15029" y="18078"/>
                </a:cubicBezTo>
                <a:cubicBezTo>
                  <a:pt x="14937" y="18078"/>
                  <a:pt x="14877" y="18011"/>
                  <a:pt x="14877" y="17911"/>
                </a:cubicBezTo>
                <a:cubicBezTo>
                  <a:pt x="14877" y="16334"/>
                  <a:pt x="14877" y="16334"/>
                  <a:pt x="14877" y="16334"/>
                </a:cubicBezTo>
                <a:cubicBezTo>
                  <a:pt x="14877" y="16267"/>
                  <a:pt x="14937" y="16166"/>
                  <a:pt x="15029" y="16166"/>
                </a:cubicBezTo>
                <a:cubicBezTo>
                  <a:pt x="16428" y="16166"/>
                  <a:pt x="16428" y="16166"/>
                  <a:pt x="16428" y="16166"/>
                </a:cubicBezTo>
                <a:cubicBezTo>
                  <a:pt x="16519" y="16166"/>
                  <a:pt x="16580" y="16267"/>
                  <a:pt x="16580" y="16334"/>
                </a:cubicBezTo>
                <a:lnTo>
                  <a:pt x="16580" y="17911"/>
                </a:lnTo>
                <a:close/>
                <a:moveTo>
                  <a:pt x="18984" y="17911"/>
                </a:moveTo>
                <a:cubicBezTo>
                  <a:pt x="18984" y="18011"/>
                  <a:pt x="18892" y="18078"/>
                  <a:pt x="18832" y="18078"/>
                </a:cubicBezTo>
                <a:cubicBezTo>
                  <a:pt x="17402" y="18078"/>
                  <a:pt x="17402" y="18078"/>
                  <a:pt x="17402" y="18078"/>
                </a:cubicBezTo>
                <a:cubicBezTo>
                  <a:pt x="17310" y="18078"/>
                  <a:pt x="17250" y="18011"/>
                  <a:pt x="17250" y="17911"/>
                </a:cubicBezTo>
                <a:cubicBezTo>
                  <a:pt x="17250" y="16334"/>
                  <a:pt x="17250" y="16334"/>
                  <a:pt x="17250" y="16334"/>
                </a:cubicBezTo>
                <a:cubicBezTo>
                  <a:pt x="17250" y="16267"/>
                  <a:pt x="17310" y="16166"/>
                  <a:pt x="17402" y="16166"/>
                </a:cubicBezTo>
                <a:cubicBezTo>
                  <a:pt x="18832" y="16166"/>
                  <a:pt x="18832" y="16166"/>
                  <a:pt x="18832" y="16166"/>
                </a:cubicBezTo>
                <a:cubicBezTo>
                  <a:pt x="18892" y="16166"/>
                  <a:pt x="18984" y="16267"/>
                  <a:pt x="18984" y="16334"/>
                </a:cubicBezTo>
                <a:lnTo>
                  <a:pt x="18984" y="17911"/>
                </a:lnTo>
                <a:close/>
                <a:moveTo>
                  <a:pt x="2738" y="20258"/>
                </a:moveTo>
                <a:cubicBezTo>
                  <a:pt x="2221" y="20258"/>
                  <a:pt x="1825" y="19789"/>
                  <a:pt x="1825" y="19252"/>
                </a:cubicBezTo>
                <a:cubicBezTo>
                  <a:pt x="1825" y="19252"/>
                  <a:pt x="1825" y="19252"/>
                  <a:pt x="1825" y="19252"/>
                </a:cubicBezTo>
                <a:cubicBezTo>
                  <a:pt x="1825" y="5769"/>
                  <a:pt x="1825" y="5769"/>
                  <a:pt x="1825" y="5769"/>
                </a:cubicBezTo>
                <a:cubicBezTo>
                  <a:pt x="1825" y="5232"/>
                  <a:pt x="2221" y="4763"/>
                  <a:pt x="2738" y="4763"/>
                </a:cubicBezTo>
                <a:cubicBezTo>
                  <a:pt x="2738" y="4763"/>
                  <a:pt x="2738" y="4763"/>
                  <a:pt x="2738" y="4763"/>
                </a:cubicBezTo>
                <a:cubicBezTo>
                  <a:pt x="5020" y="4763"/>
                  <a:pt x="5020" y="4763"/>
                  <a:pt x="5020" y="4763"/>
                </a:cubicBezTo>
                <a:cubicBezTo>
                  <a:pt x="5537" y="4763"/>
                  <a:pt x="5932" y="5232"/>
                  <a:pt x="5932" y="5769"/>
                </a:cubicBezTo>
                <a:cubicBezTo>
                  <a:pt x="5932" y="5769"/>
                  <a:pt x="5932" y="5769"/>
                  <a:pt x="5932" y="5769"/>
                </a:cubicBezTo>
                <a:cubicBezTo>
                  <a:pt x="5932" y="19252"/>
                  <a:pt x="5932" y="19252"/>
                  <a:pt x="5932" y="19252"/>
                </a:cubicBezTo>
                <a:cubicBezTo>
                  <a:pt x="5932" y="19252"/>
                  <a:pt x="5932" y="19252"/>
                  <a:pt x="5932" y="19252"/>
                </a:cubicBezTo>
                <a:cubicBezTo>
                  <a:pt x="5932" y="19789"/>
                  <a:pt x="5537" y="20258"/>
                  <a:pt x="5020" y="20258"/>
                </a:cubicBezTo>
                <a:cubicBezTo>
                  <a:pt x="5020" y="20258"/>
                  <a:pt x="5020" y="20258"/>
                  <a:pt x="5020" y="20258"/>
                </a:cubicBezTo>
                <a:cubicBezTo>
                  <a:pt x="2738" y="20258"/>
                  <a:pt x="2738" y="20258"/>
                  <a:pt x="2738" y="20258"/>
                </a:cubicBezTo>
                <a:close/>
                <a:moveTo>
                  <a:pt x="2434" y="5769"/>
                </a:moveTo>
                <a:cubicBezTo>
                  <a:pt x="2434" y="19252"/>
                  <a:pt x="2434" y="19252"/>
                  <a:pt x="2434" y="19252"/>
                </a:cubicBezTo>
                <a:cubicBezTo>
                  <a:pt x="2434" y="19420"/>
                  <a:pt x="2555" y="19588"/>
                  <a:pt x="2738" y="19588"/>
                </a:cubicBezTo>
                <a:cubicBezTo>
                  <a:pt x="2738" y="19588"/>
                  <a:pt x="2738" y="19588"/>
                  <a:pt x="2738" y="19588"/>
                </a:cubicBezTo>
                <a:cubicBezTo>
                  <a:pt x="5020" y="19588"/>
                  <a:pt x="5020" y="19588"/>
                  <a:pt x="5020" y="19588"/>
                </a:cubicBezTo>
                <a:cubicBezTo>
                  <a:pt x="5202" y="19588"/>
                  <a:pt x="5324" y="19420"/>
                  <a:pt x="5324" y="19252"/>
                </a:cubicBezTo>
                <a:cubicBezTo>
                  <a:pt x="5324" y="19252"/>
                  <a:pt x="5324" y="19252"/>
                  <a:pt x="5324" y="19252"/>
                </a:cubicBezTo>
                <a:cubicBezTo>
                  <a:pt x="5324" y="19252"/>
                  <a:pt x="5324" y="19252"/>
                  <a:pt x="5324" y="19252"/>
                </a:cubicBezTo>
                <a:cubicBezTo>
                  <a:pt x="5324" y="5769"/>
                  <a:pt x="5324" y="5769"/>
                  <a:pt x="5324" y="5769"/>
                </a:cubicBezTo>
                <a:cubicBezTo>
                  <a:pt x="5324" y="5601"/>
                  <a:pt x="5202" y="5434"/>
                  <a:pt x="5020" y="5434"/>
                </a:cubicBezTo>
                <a:cubicBezTo>
                  <a:pt x="5020" y="5434"/>
                  <a:pt x="5020" y="5434"/>
                  <a:pt x="5020" y="5434"/>
                </a:cubicBezTo>
                <a:cubicBezTo>
                  <a:pt x="2738" y="5434"/>
                  <a:pt x="2738" y="5434"/>
                  <a:pt x="2738" y="5434"/>
                </a:cubicBezTo>
                <a:cubicBezTo>
                  <a:pt x="2555" y="5434"/>
                  <a:pt x="2434" y="5601"/>
                  <a:pt x="2434" y="5769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21919" tIns="121919" rIns="121919" bIns="121919"/>
          <a:lstStyle/>
          <a:p>
            <a:endParaRPr/>
          </a:p>
        </p:txBody>
      </p:sp>
      <p:cxnSp>
        <p:nvCxnSpPr>
          <p:cNvPr id="70" name="Connecteur en arc 69"/>
          <p:cNvCxnSpPr>
            <a:endCxn id="74" idx="0"/>
          </p:cNvCxnSpPr>
          <p:nvPr/>
        </p:nvCxnSpPr>
        <p:spPr bwMode="auto">
          <a:xfrm rot="10800000">
            <a:off x="5683698" y="2242935"/>
            <a:ext cx="657935" cy="518667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none"/>
          </a:ln>
          <a:effectLst/>
        </p:spPr>
      </p:cxnSp>
      <p:cxnSp>
        <p:nvCxnSpPr>
          <p:cNvPr id="71" name="Connecteur en arc 70"/>
          <p:cNvCxnSpPr>
            <a:endCxn id="74" idx="0"/>
          </p:cNvCxnSpPr>
          <p:nvPr/>
        </p:nvCxnSpPr>
        <p:spPr bwMode="auto">
          <a:xfrm rot="10800000" flipV="1">
            <a:off x="5683697" y="1960630"/>
            <a:ext cx="612972" cy="282303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none"/>
          </a:ln>
          <a:effectLst/>
        </p:spPr>
      </p:cxnSp>
      <p:sp>
        <p:nvSpPr>
          <p:cNvPr id="74" name="Freeform 70"/>
          <p:cNvSpPr>
            <a:spLocks noChangeAspect="1"/>
          </p:cNvSpPr>
          <p:nvPr/>
        </p:nvSpPr>
        <p:spPr>
          <a:xfrm>
            <a:off x="5606000" y="2144117"/>
            <a:ext cx="155394" cy="1976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16" y="0"/>
                </a:moveTo>
                <a:cubicBezTo>
                  <a:pt x="4513" y="0"/>
                  <a:pt x="4513" y="0"/>
                  <a:pt x="4513" y="0"/>
                </a:cubicBezTo>
                <a:cubicBezTo>
                  <a:pt x="4688" y="305"/>
                  <a:pt x="4819" y="643"/>
                  <a:pt x="4819" y="1016"/>
                </a:cubicBezTo>
                <a:cubicBezTo>
                  <a:pt x="4819" y="2336"/>
                  <a:pt x="3417" y="3419"/>
                  <a:pt x="1665" y="3419"/>
                </a:cubicBezTo>
                <a:cubicBezTo>
                  <a:pt x="1052" y="3419"/>
                  <a:pt x="482" y="3284"/>
                  <a:pt x="0" y="3047"/>
                </a:cubicBezTo>
                <a:cubicBezTo>
                  <a:pt x="0" y="19873"/>
                  <a:pt x="0" y="19873"/>
                  <a:pt x="0" y="19873"/>
                </a:cubicBezTo>
                <a:cubicBezTo>
                  <a:pt x="0" y="20821"/>
                  <a:pt x="832" y="21600"/>
                  <a:pt x="1884" y="21600"/>
                </a:cubicBezTo>
                <a:cubicBezTo>
                  <a:pt x="19716" y="21600"/>
                  <a:pt x="19716" y="21600"/>
                  <a:pt x="19716" y="21600"/>
                </a:cubicBezTo>
                <a:cubicBezTo>
                  <a:pt x="20768" y="21600"/>
                  <a:pt x="21600" y="20821"/>
                  <a:pt x="21600" y="19873"/>
                </a:cubicBezTo>
                <a:cubicBezTo>
                  <a:pt x="21600" y="1727"/>
                  <a:pt x="21600" y="1727"/>
                  <a:pt x="21600" y="1727"/>
                </a:cubicBezTo>
                <a:cubicBezTo>
                  <a:pt x="21600" y="745"/>
                  <a:pt x="20768" y="0"/>
                  <a:pt x="19716" y="0"/>
                </a:cubicBezTo>
                <a:close/>
                <a:moveTo>
                  <a:pt x="1577" y="1896"/>
                </a:moveTo>
                <a:cubicBezTo>
                  <a:pt x="2234" y="1896"/>
                  <a:pt x="2804" y="1490"/>
                  <a:pt x="2804" y="982"/>
                </a:cubicBezTo>
                <a:cubicBezTo>
                  <a:pt x="2804" y="440"/>
                  <a:pt x="2234" y="34"/>
                  <a:pt x="1577" y="34"/>
                </a:cubicBezTo>
                <a:cubicBezTo>
                  <a:pt x="920" y="34"/>
                  <a:pt x="394" y="440"/>
                  <a:pt x="394" y="982"/>
                </a:cubicBezTo>
                <a:cubicBezTo>
                  <a:pt x="394" y="1490"/>
                  <a:pt x="920" y="1896"/>
                  <a:pt x="1577" y="1896"/>
                </a:cubicBezTo>
                <a:close/>
                <a:moveTo>
                  <a:pt x="3286" y="15709"/>
                </a:moveTo>
                <a:cubicBezTo>
                  <a:pt x="2410" y="15709"/>
                  <a:pt x="2410" y="15709"/>
                  <a:pt x="2410" y="15709"/>
                </a:cubicBezTo>
                <a:cubicBezTo>
                  <a:pt x="2410" y="4232"/>
                  <a:pt x="2410" y="4232"/>
                  <a:pt x="2410" y="4232"/>
                </a:cubicBezTo>
                <a:cubicBezTo>
                  <a:pt x="3286" y="4232"/>
                  <a:pt x="3286" y="4232"/>
                  <a:pt x="3286" y="4232"/>
                </a:cubicBezTo>
                <a:cubicBezTo>
                  <a:pt x="3286" y="15878"/>
                  <a:pt x="3286" y="15878"/>
                  <a:pt x="3286" y="15878"/>
                </a:cubicBezTo>
                <a:lnTo>
                  <a:pt x="3286" y="15709"/>
                </a:lnTo>
                <a:close/>
                <a:moveTo>
                  <a:pt x="6484" y="15709"/>
                </a:moveTo>
                <a:cubicBezTo>
                  <a:pt x="5608" y="15709"/>
                  <a:pt x="5608" y="15709"/>
                  <a:pt x="5608" y="15709"/>
                </a:cubicBezTo>
                <a:cubicBezTo>
                  <a:pt x="5608" y="4232"/>
                  <a:pt x="5608" y="4232"/>
                  <a:pt x="5608" y="4232"/>
                </a:cubicBezTo>
                <a:cubicBezTo>
                  <a:pt x="6484" y="4232"/>
                  <a:pt x="6484" y="4232"/>
                  <a:pt x="6484" y="4232"/>
                </a:cubicBezTo>
                <a:cubicBezTo>
                  <a:pt x="6484" y="15878"/>
                  <a:pt x="6484" y="15878"/>
                  <a:pt x="6484" y="15878"/>
                </a:cubicBezTo>
                <a:lnTo>
                  <a:pt x="6484" y="15709"/>
                </a:lnTo>
                <a:close/>
                <a:moveTo>
                  <a:pt x="21600" y="4232"/>
                </a:moveTo>
                <a:cubicBezTo>
                  <a:pt x="0" y="4232"/>
                  <a:pt x="0" y="4232"/>
                  <a:pt x="0" y="4232"/>
                </a:cubicBezTo>
                <a:cubicBezTo>
                  <a:pt x="0" y="3555"/>
                  <a:pt x="0" y="3555"/>
                  <a:pt x="0" y="3555"/>
                </a:cubicBezTo>
                <a:cubicBezTo>
                  <a:pt x="21600" y="3555"/>
                  <a:pt x="21600" y="3555"/>
                  <a:pt x="21600" y="3555"/>
                </a:cubicBezTo>
                <a:cubicBezTo>
                  <a:pt x="21600" y="4232"/>
                  <a:pt x="21600" y="4232"/>
                  <a:pt x="21600" y="4232"/>
                </a:cubicBezTo>
                <a:close/>
                <a:moveTo>
                  <a:pt x="21600" y="16386"/>
                </a:moveTo>
                <a:cubicBezTo>
                  <a:pt x="0" y="16386"/>
                  <a:pt x="0" y="16386"/>
                  <a:pt x="0" y="16386"/>
                </a:cubicBezTo>
                <a:cubicBezTo>
                  <a:pt x="0" y="15709"/>
                  <a:pt x="0" y="15709"/>
                  <a:pt x="0" y="15709"/>
                </a:cubicBezTo>
                <a:cubicBezTo>
                  <a:pt x="21600" y="15709"/>
                  <a:pt x="21600" y="15709"/>
                  <a:pt x="21600" y="15709"/>
                </a:cubicBezTo>
                <a:cubicBezTo>
                  <a:pt x="21600" y="16386"/>
                  <a:pt x="21600" y="16386"/>
                  <a:pt x="21600" y="16386"/>
                </a:cubicBezTo>
                <a:close/>
                <a:moveTo>
                  <a:pt x="21600" y="19061"/>
                </a:moveTo>
                <a:cubicBezTo>
                  <a:pt x="0" y="19061"/>
                  <a:pt x="0" y="19061"/>
                  <a:pt x="0" y="19061"/>
                </a:cubicBezTo>
                <a:cubicBezTo>
                  <a:pt x="0" y="18384"/>
                  <a:pt x="0" y="18384"/>
                  <a:pt x="0" y="18384"/>
                </a:cubicBezTo>
                <a:cubicBezTo>
                  <a:pt x="21600" y="18384"/>
                  <a:pt x="21600" y="18384"/>
                  <a:pt x="21600" y="18384"/>
                </a:cubicBezTo>
                <a:cubicBezTo>
                  <a:pt x="21600" y="19061"/>
                  <a:pt x="21600" y="19061"/>
                  <a:pt x="21600" y="19061"/>
                </a:cubicBezTo>
                <a:close/>
                <a:moveTo>
                  <a:pt x="9639" y="15709"/>
                </a:moveTo>
                <a:cubicBezTo>
                  <a:pt x="8763" y="15709"/>
                  <a:pt x="8763" y="15709"/>
                  <a:pt x="8763" y="15709"/>
                </a:cubicBezTo>
                <a:cubicBezTo>
                  <a:pt x="8763" y="4232"/>
                  <a:pt x="8763" y="4232"/>
                  <a:pt x="8763" y="4232"/>
                </a:cubicBezTo>
                <a:cubicBezTo>
                  <a:pt x="9639" y="4232"/>
                  <a:pt x="9639" y="4232"/>
                  <a:pt x="9639" y="4232"/>
                </a:cubicBezTo>
                <a:cubicBezTo>
                  <a:pt x="9639" y="15878"/>
                  <a:pt x="9639" y="15878"/>
                  <a:pt x="9639" y="15878"/>
                </a:cubicBezTo>
                <a:lnTo>
                  <a:pt x="9639" y="15709"/>
                </a:lnTo>
                <a:close/>
                <a:moveTo>
                  <a:pt x="12794" y="15709"/>
                </a:moveTo>
                <a:cubicBezTo>
                  <a:pt x="11917" y="15709"/>
                  <a:pt x="11917" y="15709"/>
                  <a:pt x="11917" y="15709"/>
                </a:cubicBezTo>
                <a:cubicBezTo>
                  <a:pt x="11917" y="4232"/>
                  <a:pt x="11917" y="4232"/>
                  <a:pt x="11917" y="4232"/>
                </a:cubicBezTo>
                <a:cubicBezTo>
                  <a:pt x="12794" y="4232"/>
                  <a:pt x="12794" y="4232"/>
                  <a:pt x="12794" y="4232"/>
                </a:cubicBezTo>
                <a:cubicBezTo>
                  <a:pt x="12794" y="15878"/>
                  <a:pt x="12794" y="15878"/>
                  <a:pt x="12794" y="15878"/>
                </a:cubicBezTo>
                <a:lnTo>
                  <a:pt x="12794" y="15709"/>
                </a:lnTo>
                <a:close/>
                <a:moveTo>
                  <a:pt x="15948" y="15709"/>
                </a:moveTo>
                <a:cubicBezTo>
                  <a:pt x="15072" y="15709"/>
                  <a:pt x="15072" y="15709"/>
                  <a:pt x="15072" y="15709"/>
                </a:cubicBezTo>
                <a:cubicBezTo>
                  <a:pt x="15072" y="4232"/>
                  <a:pt x="15072" y="4232"/>
                  <a:pt x="15072" y="4232"/>
                </a:cubicBezTo>
                <a:cubicBezTo>
                  <a:pt x="15948" y="4232"/>
                  <a:pt x="15948" y="4232"/>
                  <a:pt x="15948" y="4232"/>
                </a:cubicBezTo>
                <a:cubicBezTo>
                  <a:pt x="15948" y="15878"/>
                  <a:pt x="15948" y="15878"/>
                  <a:pt x="15948" y="15878"/>
                </a:cubicBezTo>
                <a:lnTo>
                  <a:pt x="15948" y="15709"/>
                </a:lnTo>
                <a:close/>
                <a:moveTo>
                  <a:pt x="19146" y="15709"/>
                </a:moveTo>
                <a:cubicBezTo>
                  <a:pt x="18270" y="15709"/>
                  <a:pt x="18270" y="15709"/>
                  <a:pt x="18270" y="15709"/>
                </a:cubicBezTo>
                <a:cubicBezTo>
                  <a:pt x="18270" y="4232"/>
                  <a:pt x="18270" y="4232"/>
                  <a:pt x="18270" y="4232"/>
                </a:cubicBezTo>
                <a:cubicBezTo>
                  <a:pt x="19146" y="4232"/>
                  <a:pt x="19146" y="4232"/>
                  <a:pt x="19146" y="4232"/>
                </a:cubicBezTo>
                <a:cubicBezTo>
                  <a:pt x="19146" y="15878"/>
                  <a:pt x="19146" y="15878"/>
                  <a:pt x="19146" y="15878"/>
                </a:cubicBezTo>
                <a:lnTo>
                  <a:pt x="19146" y="15709"/>
                </a:ln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>
              <a:defRPr sz="2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7" name="ZoneTexte 76"/>
          <p:cNvSpPr txBox="1"/>
          <p:nvPr/>
        </p:nvSpPr>
        <p:spPr>
          <a:xfrm>
            <a:off x="5407309" y="2319701"/>
            <a:ext cx="5259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PBX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540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6089556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401033" y="998955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22868" y="1000763"/>
            <a:ext cx="2279821" cy="3462259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3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2000" dirty="0" smtClean="0">
                <a:solidFill>
                  <a:schemeClr val="bg1"/>
                </a:solidFill>
                <a:latin typeface="+mj-lt"/>
              </a:rPr>
              <a:t>#PATTERN: PROXY-BOT + CUSTOM MESSAGE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722868" y="4216525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ADD STUDENT TO HIS CLASS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3401033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GET LIST OF TEACHERS FOR CLASS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6089556" y="4214717"/>
            <a:ext cx="2279822" cy="246221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GET AVAILABILITY OF TEACHERS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722868" y="4463022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smtClean="0">
                <a:solidFill>
                  <a:schemeClr val="bg1"/>
                </a:solidFill>
                <a:latin typeface="Trebuchet MS" pitchFamily="34" charset="0"/>
              </a:rPr>
              <a:t>STEP 1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3395158" y="4466755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2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6092160" y="4470488"/>
            <a:ext cx="22798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 smtClean="0">
                <a:solidFill>
                  <a:schemeClr val="bg1"/>
                </a:solidFill>
                <a:latin typeface="Trebuchet MS" pitchFamily="34" charset="0"/>
              </a:rPr>
              <a:t>STEP 3</a:t>
            </a:r>
            <a:endParaRPr lang="fr-FR" sz="2400" b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5" name="ZoneTexte 74"/>
          <p:cNvSpPr txBox="1"/>
          <p:nvPr/>
        </p:nvSpPr>
        <p:spPr>
          <a:xfrm>
            <a:off x="1134059" y="3623553"/>
            <a:ext cx="1457499" cy="2462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76" name="ZoneTexte 75"/>
          <p:cNvSpPr txBox="1"/>
          <p:nvPr/>
        </p:nvSpPr>
        <p:spPr>
          <a:xfrm>
            <a:off x="1134059" y="3338150"/>
            <a:ext cx="1457499" cy="24622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85" name="Rectangle 84"/>
          <p:cNvSpPr/>
          <p:nvPr/>
        </p:nvSpPr>
        <p:spPr>
          <a:xfrm>
            <a:off x="995515" y="3195185"/>
            <a:ext cx="1734589" cy="807983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86" name="ZoneTexte 85"/>
          <p:cNvSpPr txBox="1"/>
          <p:nvPr/>
        </p:nvSpPr>
        <p:spPr>
          <a:xfrm>
            <a:off x="2326938" y="3032408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8" name="ZoneTexte 27"/>
          <p:cNvSpPr txBox="1"/>
          <p:nvPr/>
        </p:nvSpPr>
        <p:spPr>
          <a:xfrm rot="897807">
            <a:off x="7134851" y="392592"/>
            <a:ext cx="1940325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bg1"/>
                </a:solidFill>
                <a:latin typeface="Trebuchet MS" pitchFamily="34" charset="0"/>
              </a:rPr>
              <a:t>AVAILABLE BEG’18</a:t>
            </a:r>
          </a:p>
        </p:txBody>
      </p:sp>
      <p:sp>
        <p:nvSpPr>
          <p:cNvPr id="165" name="ZoneTexte 164"/>
          <p:cNvSpPr txBox="1"/>
          <p:nvPr/>
        </p:nvSpPr>
        <p:spPr>
          <a:xfrm>
            <a:off x="722867" y="643861"/>
            <a:ext cx="7646509" cy="246221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Example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: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Availability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sharing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between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student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and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teachers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without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being</a:t>
            </a:r>
            <a:r>
              <a:rPr lang="fr-FR" sz="1000" i="1" dirty="0" smtClean="0">
                <a:solidFill>
                  <a:schemeClr val="bg1"/>
                </a:solidFill>
                <a:latin typeface="Trebuchet MS" pitchFamily="34" charset="0"/>
              </a:rPr>
              <a:t> in </a:t>
            </a:r>
            <a:r>
              <a:rPr lang="fr-FR" sz="1000" i="1" dirty="0" err="1" smtClean="0">
                <a:solidFill>
                  <a:schemeClr val="bg1"/>
                </a:solidFill>
                <a:latin typeface="Trebuchet MS" pitchFamily="34" charset="0"/>
              </a:rPr>
              <a:t>touch</a:t>
            </a:r>
            <a:endParaRPr lang="fr-FR" sz="2400" i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0" name="Nuage 69"/>
          <p:cNvSpPr/>
          <p:nvPr/>
        </p:nvSpPr>
        <p:spPr>
          <a:xfrm>
            <a:off x="1170975" y="1881015"/>
            <a:ext cx="410544" cy="310531"/>
          </a:xfrm>
          <a:prstGeom prst="cloud">
            <a:avLst/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88" name="Connecteur en arc 87"/>
          <p:cNvCxnSpPr>
            <a:stCxn id="76" idx="0"/>
            <a:endCxn id="70" idx="1"/>
          </p:cNvCxnSpPr>
          <p:nvPr/>
        </p:nvCxnSpPr>
        <p:spPr bwMode="auto">
          <a:xfrm rot="16200000" flipV="1">
            <a:off x="1046061" y="2521402"/>
            <a:ext cx="1146935" cy="48656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89" name="ZoneTexte 88"/>
          <p:cNvSpPr txBox="1"/>
          <p:nvPr/>
        </p:nvSpPr>
        <p:spPr>
          <a:xfrm>
            <a:off x="1458128" y="2360752"/>
            <a:ext cx="8982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ADD STUDENT TO BUBBLE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90" name="ZoneTexte 89"/>
          <p:cNvSpPr txBox="1"/>
          <p:nvPr/>
        </p:nvSpPr>
        <p:spPr>
          <a:xfrm>
            <a:off x="1734759" y="1990325"/>
            <a:ext cx="8982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LASS: « C12345 »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" name="Terminaison 6"/>
          <p:cNvSpPr/>
          <p:nvPr/>
        </p:nvSpPr>
        <p:spPr>
          <a:xfrm>
            <a:off x="1613469" y="2045256"/>
            <a:ext cx="166685" cy="75553"/>
          </a:xfrm>
          <a:prstGeom prst="flowChartTerminator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91" name="ZoneTexte 90"/>
          <p:cNvSpPr txBox="1"/>
          <p:nvPr/>
        </p:nvSpPr>
        <p:spPr>
          <a:xfrm>
            <a:off x="1535729" y="1884409"/>
            <a:ext cx="8982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>
                    <a:lumMod val="65000"/>
                  </a:schemeClr>
                </a:solidFill>
                <a:latin typeface="Trebuchet MS" pitchFamily="34" charset="0"/>
              </a:rPr>
              <a:t>CUSTOM-DATA</a:t>
            </a:r>
            <a:endParaRPr lang="fr-FR" sz="1400" dirty="0" smtClean="0">
              <a:solidFill>
                <a:schemeClr val="bg1">
                  <a:lumMod val="6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3669077" y="3152787"/>
            <a:ext cx="1734589" cy="8473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93" name="ZoneTexte 92"/>
          <p:cNvSpPr txBox="1"/>
          <p:nvPr/>
        </p:nvSpPr>
        <p:spPr>
          <a:xfrm>
            <a:off x="3806405" y="3627156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94" name="ZoneTexte 93"/>
          <p:cNvSpPr txBox="1"/>
          <p:nvPr/>
        </p:nvSpPr>
        <p:spPr>
          <a:xfrm>
            <a:off x="3806405" y="3273629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95" name="ZoneTexte 94"/>
          <p:cNvSpPr txBox="1"/>
          <p:nvPr/>
        </p:nvSpPr>
        <p:spPr>
          <a:xfrm>
            <a:off x="3580511" y="2250883"/>
            <a:ext cx="811283" cy="18466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98" name="ZoneTexte 97"/>
          <p:cNvSpPr txBox="1"/>
          <p:nvPr/>
        </p:nvSpPr>
        <p:spPr>
          <a:xfrm>
            <a:off x="3583090" y="1993905"/>
            <a:ext cx="813552" cy="184666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99" name="Rectangle 98"/>
          <p:cNvSpPr/>
          <p:nvPr/>
        </p:nvSpPr>
        <p:spPr>
          <a:xfrm>
            <a:off x="3507327" y="1913391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00" name="Connecteur en arc 99"/>
          <p:cNvCxnSpPr>
            <a:stCxn id="94" idx="0"/>
            <a:endCxn id="95" idx="2"/>
          </p:cNvCxnSpPr>
          <p:nvPr/>
        </p:nvCxnSpPr>
        <p:spPr bwMode="auto">
          <a:xfrm rot="16200000" flipV="1">
            <a:off x="3841614" y="2580088"/>
            <a:ext cx="838080" cy="54900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triangle"/>
          </a:ln>
          <a:effectLst/>
        </p:spPr>
      </p:cxnSp>
      <p:sp>
        <p:nvSpPr>
          <p:cNvPr id="101" name="ZoneTexte 100"/>
          <p:cNvSpPr txBox="1"/>
          <p:nvPr/>
        </p:nvSpPr>
        <p:spPr>
          <a:xfrm>
            <a:off x="4090803" y="2588142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&lt;SDK-CUSTOM TYPE=‘TEACHERS_ LIST’ CLASS=C12345 /&gt;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07" name="ZoneTexte 106"/>
          <p:cNvSpPr txBox="1"/>
          <p:nvPr/>
        </p:nvSpPr>
        <p:spPr>
          <a:xfrm>
            <a:off x="4569163" y="970844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 GROUPS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4246238" y="1119527"/>
            <a:ext cx="1349174" cy="59497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09" name="ZoneTexte 108"/>
          <p:cNvSpPr txBox="1"/>
          <p:nvPr/>
        </p:nvSpPr>
        <p:spPr>
          <a:xfrm>
            <a:off x="4328272" y="1197348"/>
            <a:ext cx="1188000" cy="1836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TEACHERS FOR CLASS C12345</a:t>
            </a:r>
          </a:p>
        </p:txBody>
      </p:sp>
      <p:sp>
        <p:nvSpPr>
          <p:cNvPr id="110" name="ZoneTexte 109"/>
          <p:cNvSpPr txBox="1"/>
          <p:nvPr/>
        </p:nvSpPr>
        <p:spPr>
          <a:xfrm>
            <a:off x="4324945" y="1447598"/>
            <a:ext cx="1188000" cy="1836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mr-IN" sz="600" dirty="0" smtClean="0">
                <a:solidFill>
                  <a:schemeClr val="bg1"/>
                </a:solidFill>
                <a:latin typeface="Trebuchet MS" pitchFamily="34" charset="0"/>
              </a:rPr>
              <a:t>…</a:t>
            </a:r>
            <a:endParaRPr lang="fr-FR" sz="6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13" name="Connecteur en arc 112"/>
          <p:cNvCxnSpPr>
            <a:stCxn id="98" idx="0"/>
            <a:endCxn id="109" idx="1"/>
          </p:cNvCxnSpPr>
          <p:nvPr/>
        </p:nvCxnSpPr>
        <p:spPr bwMode="auto">
          <a:xfrm rot="5400000" flipH="1" flipV="1">
            <a:off x="3806691" y="1472324"/>
            <a:ext cx="704757" cy="338406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triangle"/>
          </a:ln>
          <a:effectLst/>
        </p:spPr>
      </p:cxnSp>
      <p:sp>
        <p:nvSpPr>
          <p:cNvPr id="114" name="ZoneTexte 113"/>
          <p:cNvSpPr txBox="1"/>
          <p:nvPr/>
        </p:nvSpPr>
        <p:spPr>
          <a:xfrm>
            <a:off x="4090804" y="1770853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6363473" y="3160711"/>
            <a:ext cx="1734589" cy="847319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18" name="ZoneTexte 117"/>
          <p:cNvSpPr txBox="1"/>
          <p:nvPr/>
        </p:nvSpPr>
        <p:spPr>
          <a:xfrm>
            <a:off x="6500801" y="3635080"/>
            <a:ext cx="1457499" cy="246221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WEB SITE</a:t>
            </a:r>
          </a:p>
        </p:txBody>
      </p:sp>
      <p:sp>
        <p:nvSpPr>
          <p:cNvPr id="119" name="ZoneTexte 118"/>
          <p:cNvSpPr txBox="1"/>
          <p:nvPr/>
        </p:nvSpPr>
        <p:spPr>
          <a:xfrm>
            <a:off x="6500801" y="3281553"/>
            <a:ext cx="1457499" cy="24622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/>
                </a:solidFill>
                <a:latin typeface="Trebuchet MS" pitchFamily="34" charset="0"/>
              </a:rPr>
              <a:t>SDK FOR WEB</a:t>
            </a:r>
          </a:p>
        </p:txBody>
      </p:sp>
      <p:sp>
        <p:nvSpPr>
          <p:cNvPr id="120" name="ZoneTexte 119"/>
          <p:cNvSpPr txBox="1"/>
          <p:nvPr/>
        </p:nvSpPr>
        <p:spPr>
          <a:xfrm>
            <a:off x="6274907" y="2258807"/>
            <a:ext cx="811283" cy="18466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SDK FOR NODE.JS</a:t>
            </a:r>
          </a:p>
        </p:txBody>
      </p:sp>
      <p:sp>
        <p:nvSpPr>
          <p:cNvPr id="121" name="ZoneTexte 120"/>
          <p:cNvSpPr txBox="1"/>
          <p:nvPr/>
        </p:nvSpPr>
        <p:spPr>
          <a:xfrm>
            <a:off x="6277486" y="2001829"/>
            <a:ext cx="813552" cy="184666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NODE.JS APP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6201723" y="1921315"/>
            <a:ext cx="967665" cy="61770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23" name="Connecteur en arc 122"/>
          <p:cNvCxnSpPr>
            <a:stCxn id="119" idx="0"/>
            <a:endCxn id="120" idx="2"/>
          </p:cNvCxnSpPr>
          <p:nvPr/>
        </p:nvCxnSpPr>
        <p:spPr bwMode="auto">
          <a:xfrm rot="16200000" flipV="1">
            <a:off x="6536010" y="2588012"/>
            <a:ext cx="838080" cy="54900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triangle"/>
          </a:ln>
          <a:effectLst/>
        </p:spPr>
      </p:cxnSp>
      <p:sp>
        <p:nvSpPr>
          <p:cNvPr id="124" name="ZoneTexte 123"/>
          <p:cNvSpPr txBox="1"/>
          <p:nvPr/>
        </p:nvSpPr>
        <p:spPr>
          <a:xfrm>
            <a:off x="6785200" y="2591523"/>
            <a:ext cx="1414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&lt;SDK-CUSTOM TYPE=‘AVAILABILITY’ TEACHERID=‘</a:t>
            </a:r>
            <a:r>
              <a:rPr lang="cs-CZ" sz="600" dirty="0" smtClean="0">
                <a:solidFill>
                  <a:schemeClr val="bg1"/>
                </a:solidFill>
                <a:latin typeface="Trebuchet MS" pitchFamily="34" charset="0"/>
              </a:rPr>
              <a:t>570e12832d‘ /&gt;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6940634" y="1127451"/>
            <a:ext cx="1349174" cy="59497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134" name="ZoneTexte 133"/>
          <p:cNvSpPr txBox="1"/>
          <p:nvPr/>
        </p:nvSpPr>
        <p:spPr>
          <a:xfrm>
            <a:off x="7022668" y="1205272"/>
            <a:ext cx="1188000" cy="1836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CONTACT ID=‘</a:t>
            </a:r>
            <a:r>
              <a:rPr lang="cs-CZ" sz="600" dirty="0" smtClean="0">
                <a:solidFill>
                  <a:schemeClr val="bg1"/>
                </a:solidFill>
                <a:latin typeface="Trebuchet MS" pitchFamily="34" charset="0"/>
              </a:rPr>
              <a:t>570e12832d‘</a:t>
            </a:r>
            <a:endParaRPr lang="fr-FR" sz="6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35" name="ZoneTexte 134"/>
          <p:cNvSpPr txBox="1"/>
          <p:nvPr/>
        </p:nvSpPr>
        <p:spPr>
          <a:xfrm>
            <a:off x="7019341" y="1455522"/>
            <a:ext cx="1188000" cy="1836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mr-IN" sz="600" dirty="0" smtClean="0">
                <a:solidFill>
                  <a:schemeClr val="bg1"/>
                </a:solidFill>
                <a:latin typeface="Trebuchet MS" pitchFamily="34" charset="0"/>
              </a:rPr>
              <a:t>…</a:t>
            </a:r>
            <a:endParaRPr lang="fr-FR" sz="6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136" name="Connecteur en arc 135"/>
          <p:cNvCxnSpPr>
            <a:stCxn id="121" idx="0"/>
            <a:endCxn id="134" idx="1"/>
          </p:cNvCxnSpPr>
          <p:nvPr/>
        </p:nvCxnSpPr>
        <p:spPr bwMode="auto">
          <a:xfrm rot="5400000" flipH="1" flipV="1">
            <a:off x="6501087" y="1480248"/>
            <a:ext cx="704757" cy="338406"/>
          </a:xfrm>
          <a:prstGeom prst="curvedConnector2">
            <a:avLst/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none"/>
          </a:ln>
          <a:effectLst/>
        </p:spPr>
      </p:cxnSp>
      <p:sp>
        <p:nvSpPr>
          <p:cNvPr id="140" name="ZoneTexte 139"/>
          <p:cNvSpPr txBox="1"/>
          <p:nvPr/>
        </p:nvSpPr>
        <p:spPr>
          <a:xfrm>
            <a:off x="6785200" y="1778777"/>
            <a:ext cx="46828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49" name="ZoneTexte 148"/>
          <p:cNvSpPr txBox="1"/>
          <p:nvPr/>
        </p:nvSpPr>
        <p:spPr>
          <a:xfrm>
            <a:off x="7251812" y="974988"/>
            <a:ext cx="1117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 smtClean="0">
                <a:solidFill>
                  <a:schemeClr val="bg1"/>
                </a:solidFill>
                <a:latin typeface="Trebuchet MS" pitchFamily="34" charset="0"/>
              </a:rPr>
              <a:t>BOT NETWORK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51" name="ZoneTexte 150"/>
          <p:cNvSpPr txBox="1"/>
          <p:nvPr/>
        </p:nvSpPr>
        <p:spPr>
          <a:xfrm>
            <a:off x="5914197" y="1448125"/>
            <a:ext cx="8982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AVAILABILITY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7" name="Cylindre 16"/>
          <p:cNvSpPr/>
          <p:nvPr/>
        </p:nvSpPr>
        <p:spPr>
          <a:xfrm>
            <a:off x="7757143" y="1950894"/>
            <a:ext cx="340919" cy="326589"/>
          </a:xfrm>
          <a:prstGeom prst="can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cxnSp>
        <p:nvCxnSpPr>
          <p:cNvPr id="152" name="Connecteur en arc 151"/>
          <p:cNvCxnSpPr>
            <a:stCxn id="17" idx="1"/>
            <a:endCxn id="135" idx="2"/>
          </p:cNvCxnSpPr>
          <p:nvPr/>
        </p:nvCxnSpPr>
        <p:spPr bwMode="auto">
          <a:xfrm rot="16200000" flipV="1">
            <a:off x="7614586" y="1637877"/>
            <a:ext cx="311772" cy="314262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triangle"/>
          </a:ln>
          <a:effectLst/>
        </p:spPr>
      </p:cxnSp>
      <p:cxnSp>
        <p:nvCxnSpPr>
          <p:cNvPr id="154" name="Connecteur en arc 153"/>
          <p:cNvCxnSpPr>
            <a:stCxn id="17" idx="1"/>
            <a:endCxn id="134" idx="2"/>
          </p:cNvCxnSpPr>
          <p:nvPr/>
        </p:nvCxnSpPr>
        <p:spPr bwMode="auto">
          <a:xfrm rot="16200000" flipV="1">
            <a:off x="7491125" y="1514415"/>
            <a:ext cx="562022" cy="310935"/>
          </a:xfrm>
          <a:prstGeom prst="curvedConnector3">
            <a:avLst>
              <a:gd name="adj1" fmla="val 50000"/>
            </a:avLst>
          </a:prstGeom>
          <a:noFill/>
          <a:ln w="12700" cap="flat" cmpd="sng" algn="ctr">
            <a:solidFill>
              <a:schemeClr val="bg1">
                <a:lumMod val="95000"/>
              </a:schemeClr>
            </a:solidFill>
            <a:prstDash val="sysDot"/>
            <a:round/>
            <a:headEnd type="triangle" w="med" len="med"/>
            <a:tailEnd type="triangle"/>
          </a:ln>
          <a:effectLst/>
        </p:spPr>
      </p:cxnSp>
      <p:sp>
        <p:nvSpPr>
          <p:cNvPr id="157" name="ZoneTexte 156"/>
          <p:cNvSpPr txBox="1"/>
          <p:nvPr/>
        </p:nvSpPr>
        <p:spPr>
          <a:xfrm>
            <a:off x="7478476" y="2255640"/>
            <a:ext cx="8982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CALENDAR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58" name="ZoneTexte 157"/>
          <p:cNvSpPr txBox="1"/>
          <p:nvPr/>
        </p:nvSpPr>
        <p:spPr>
          <a:xfrm>
            <a:off x="4933498" y="2995591"/>
            <a:ext cx="54876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STUDEN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59" name="ZoneTexte 158"/>
          <p:cNvSpPr txBox="1"/>
          <p:nvPr/>
        </p:nvSpPr>
        <p:spPr>
          <a:xfrm>
            <a:off x="7613341" y="2970158"/>
            <a:ext cx="54876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smtClean="0">
                <a:solidFill>
                  <a:schemeClr val="bg1"/>
                </a:solidFill>
                <a:latin typeface="Trebuchet MS" pitchFamily="34" charset="0"/>
              </a:rPr>
              <a:t>STUDENT</a:t>
            </a:r>
            <a:endParaRPr lang="fr-FR" sz="1400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500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172667" y="170260"/>
            <a:ext cx="7707528" cy="38230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API &amp; SDK ROADMAP (SUBJECT TO CHANGE)</a:t>
            </a:r>
            <a:endParaRPr lang="fr-FR" sz="2400" kern="0" cap="all" baseline="30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6" name="Image 45" descr="logo.ale.bw_H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410809" y="1525318"/>
            <a:ext cx="6422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API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1108035" y="1605734"/>
            <a:ext cx="946150" cy="602386"/>
          </a:xfrm>
          <a:prstGeom prst="rect">
            <a:avLst/>
          </a:prstGeom>
        </p:spPr>
      </p:pic>
      <p:sp>
        <p:nvSpPr>
          <p:cNvPr id="18" name="ZoneTexte 17"/>
          <p:cNvSpPr txBox="1"/>
          <p:nvPr/>
        </p:nvSpPr>
        <p:spPr>
          <a:xfrm>
            <a:off x="1108035" y="1604351"/>
            <a:ext cx="946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err="1" smtClean="0">
                <a:solidFill>
                  <a:schemeClr val="accent3"/>
                </a:solidFill>
                <a:latin typeface="Trebuchet MS" pitchFamily="34" charset="0"/>
              </a:rPr>
              <a:t>AttachedData</a:t>
            </a:r>
            <a:r>
              <a:rPr lang="fr-FR" sz="800" b="1" dirty="0" smtClean="0">
                <a:solidFill>
                  <a:schemeClr val="accent3"/>
                </a:solidFill>
                <a:latin typeface="Trebuchet MS" pitchFamily="34" charset="0"/>
              </a:rPr>
              <a:t/>
            </a:r>
            <a:br>
              <a:rPr lang="fr-FR" sz="800" b="1" dirty="0" smtClean="0">
                <a:solidFill>
                  <a:schemeClr val="accent3"/>
                </a:solidFill>
                <a:latin typeface="Trebuchet MS" pitchFamily="34" charset="0"/>
              </a:rPr>
            </a:br>
            <a:r>
              <a:rPr lang="fr-FR" sz="800" b="1" dirty="0" err="1" smtClean="0">
                <a:solidFill>
                  <a:schemeClr val="accent3"/>
                </a:solidFill>
                <a:latin typeface="Trebuchet MS" pitchFamily="34" charset="0"/>
              </a:rPr>
              <a:t>Guests</a:t>
            </a: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/>
            </a:r>
            <a:b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/>
            </a:r>
            <a:b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</a:br>
            <a:endParaRPr lang="fr-FR" sz="8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158307" y="2481758"/>
            <a:ext cx="949015" cy="602386"/>
          </a:xfrm>
          <a:prstGeom prst="rect">
            <a:avLst/>
          </a:prstGeom>
          <a:solidFill>
            <a:schemeClr val="lt1">
              <a:alpha val="0"/>
            </a:schemeClr>
          </a:solidFill>
          <a:ln w="19050">
            <a:solidFill>
              <a:schemeClr val="accent4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 sz="800" b="1">
              <a:latin typeface="Trebuchet MS"/>
              <a:cs typeface="Trebuchet MS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3161172" y="2491214"/>
            <a:ext cx="9461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SDK Bot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1108036" y="997187"/>
            <a:ext cx="946150" cy="24622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Q3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31" name="Image 30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2133171" y="1605734"/>
            <a:ext cx="946150" cy="602386"/>
          </a:xfrm>
          <a:prstGeom prst="rect">
            <a:avLst/>
          </a:prstGeom>
        </p:spPr>
      </p:pic>
      <p:sp>
        <p:nvSpPr>
          <p:cNvPr id="32" name="ZoneTexte 31"/>
          <p:cNvSpPr txBox="1"/>
          <p:nvPr/>
        </p:nvSpPr>
        <p:spPr>
          <a:xfrm>
            <a:off x="2133171" y="1604351"/>
            <a:ext cx="9461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SFU</a:t>
            </a:r>
          </a:p>
          <a:p>
            <a:pPr>
              <a:spcBef>
                <a:spcPts val="0"/>
              </a:spcBef>
            </a:pPr>
            <a:r>
              <a:rPr lang="fr-FR" sz="800" b="1" i="1" dirty="0" err="1" smtClean="0">
                <a:solidFill>
                  <a:srgbClr val="FFFFFF"/>
                </a:solidFill>
                <a:latin typeface="Trebuchet MS" pitchFamily="34" charset="0"/>
              </a:rPr>
              <a:t>WebHook</a:t>
            </a:r>
            <a:r>
              <a:rPr lang="fr-FR" sz="800" b="1" i="1" dirty="0" smtClean="0">
                <a:solidFill>
                  <a:srgbClr val="FFFFFF"/>
                </a:solidFill>
                <a:latin typeface="Trebuchet MS" pitchFamily="34" charset="0"/>
              </a:rPr>
              <a:t/>
            </a:r>
            <a:br>
              <a:rPr lang="fr-FR" sz="800" b="1" i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Groups</a:t>
            </a:r>
          </a:p>
          <a:p>
            <a:pPr>
              <a:spcBef>
                <a:spcPts val="0"/>
              </a:spcBef>
            </a:pPr>
            <a:r>
              <a:rPr lang="fr-FR" sz="800" b="1" dirty="0">
                <a:solidFill>
                  <a:srgbClr val="FFFFFF"/>
                </a:solidFill>
                <a:latin typeface="Trebuchet MS" pitchFamily="34" charset="0"/>
              </a:rPr>
              <a:t>Pub/</a:t>
            </a:r>
            <a:r>
              <a:rPr lang="fr-FR" sz="800" b="1" dirty="0" err="1">
                <a:solidFill>
                  <a:srgbClr val="FFFFFF"/>
                </a:solidFill>
                <a:latin typeface="Trebuchet MS" pitchFamily="34" charset="0"/>
              </a:rPr>
              <a:t>Sub</a:t>
            </a:r>
            <a:r>
              <a:rPr lang="fr-FR" sz="800" b="1" dirty="0">
                <a:solidFill>
                  <a:srgbClr val="FFFFFF"/>
                </a:solidFill>
                <a:latin typeface="Trebuchet MS" pitchFamily="34" charset="0"/>
              </a:rPr>
              <a:t> Mass</a:t>
            </a:r>
            <a:endParaRPr lang="fr-FR" sz="800" b="1" i="1" dirty="0">
              <a:solidFill>
                <a:srgbClr val="FFFFFF"/>
              </a:solidFill>
              <a:latin typeface="Trebuchet MS" pitchFamily="34" charset="0"/>
            </a:endParaRPr>
          </a:p>
          <a:p>
            <a:pPr>
              <a:spcBef>
                <a:spcPts val="0"/>
              </a:spcBef>
            </a:pPr>
            <a:endParaRPr lang="fr-FR" sz="8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410809" y="2411965"/>
            <a:ext cx="6422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SDK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34" name="Image 33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1108035" y="2481758"/>
            <a:ext cx="946150" cy="602386"/>
          </a:xfrm>
          <a:prstGeom prst="rect">
            <a:avLst/>
          </a:prstGeom>
        </p:spPr>
      </p:pic>
      <p:sp>
        <p:nvSpPr>
          <p:cNvPr id="35" name="ZoneTexte 34"/>
          <p:cNvSpPr txBox="1"/>
          <p:nvPr/>
        </p:nvSpPr>
        <p:spPr>
          <a:xfrm>
            <a:off x="1108035" y="2480375"/>
            <a:ext cx="9461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smtClean="0">
                <a:solidFill>
                  <a:schemeClr val="accent3"/>
                </a:solidFill>
                <a:latin typeface="Trebuchet MS" pitchFamily="34" charset="0"/>
              </a:rPr>
              <a:t>SDK Android</a:t>
            </a: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/>
            </a:r>
            <a:b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800" b="1" dirty="0" smtClean="0">
                <a:solidFill>
                  <a:schemeClr val="accent3"/>
                </a:solidFill>
                <a:latin typeface="Trebuchet MS" pitchFamily="34" charset="0"/>
              </a:rPr>
              <a:t>REST API</a:t>
            </a:r>
            <a:endParaRPr lang="fr-FR" sz="800" b="1" i="1" dirty="0" smtClean="0">
              <a:solidFill>
                <a:schemeClr val="accent3"/>
              </a:solidFill>
              <a:latin typeface="Trebuchet MS" pitchFamily="34" charset="0"/>
            </a:endParaRPr>
          </a:p>
        </p:txBody>
      </p:sp>
      <p:sp>
        <p:nvSpPr>
          <p:cNvPr id="39" name="ZoneTexte 38"/>
          <p:cNvSpPr txBox="1"/>
          <p:nvPr/>
        </p:nvSpPr>
        <p:spPr>
          <a:xfrm>
            <a:off x="2133171" y="997186"/>
            <a:ext cx="946150" cy="24622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Q4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1108035" y="679224"/>
            <a:ext cx="1971286" cy="24622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2017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3158307" y="679223"/>
            <a:ext cx="5334819" cy="24622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1000" b="1" dirty="0" smtClean="0">
                <a:solidFill>
                  <a:srgbClr val="FFFFFF"/>
                </a:solidFill>
                <a:latin typeface="Trebuchet MS" pitchFamily="34" charset="0"/>
              </a:rPr>
              <a:t>2018</a:t>
            </a:r>
            <a:endParaRPr lang="fr-FR" sz="10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42" name="Image 41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2133171" y="2481758"/>
            <a:ext cx="946150" cy="602386"/>
          </a:xfrm>
          <a:prstGeom prst="rect">
            <a:avLst/>
          </a:prstGeom>
        </p:spPr>
      </p:pic>
      <p:sp>
        <p:nvSpPr>
          <p:cNvPr id="43" name="ZoneTexte 42"/>
          <p:cNvSpPr txBox="1"/>
          <p:nvPr/>
        </p:nvSpPr>
        <p:spPr>
          <a:xfrm>
            <a:off x="2133171" y="2480375"/>
            <a:ext cx="94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SDK IOS</a:t>
            </a:r>
          </a:p>
          <a:p>
            <a:pPr>
              <a:spcBef>
                <a:spcPts val="0"/>
              </a:spcBef>
            </a:pPr>
            <a:r>
              <a:rPr lang="fr-FR" sz="800" b="1" i="1" dirty="0" err="1" smtClean="0">
                <a:solidFill>
                  <a:srgbClr val="FFFFFF"/>
                </a:solidFill>
                <a:latin typeface="Trebuchet MS" pitchFamily="34" charset="0"/>
              </a:rPr>
              <a:t>React</a:t>
            </a:r>
            <a:r>
              <a:rPr lang="fr-FR" sz="800" b="1" i="1" dirty="0" smtClean="0">
                <a:solidFill>
                  <a:srgbClr val="FFFFFF"/>
                </a:solidFill>
                <a:latin typeface="Trebuchet MS" pitchFamily="34" charset="0"/>
              </a:rPr>
              <a:t> Native bridge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410809" y="3280066"/>
            <a:ext cx="6422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HUB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45" name="Image 4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1108035" y="3357782"/>
            <a:ext cx="946150" cy="602386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46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path path="circle">
              <a:fillToRect r="100000" b="100000"/>
            </a:path>
            <a:tileRect l="-100000" t="-100000"/>
          </a:gradFill>
        </p:spPr>
      </p:pic>
      <p:sp>
        <p:nvSpPr>
          <p:cNvPr id="48" name="ZoneTexte 47"/>
          <p:cNvSpPr txBox="1"/>
          <p:nvPr/>
        </p:nvSpPr>
        <p:spPr>
          <a:xfrm>
            <a:off x="1108035" y="3356399"/>
            <a:ext cx="946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Beta</a:t>
            </a:r>
          </a:p>
          <a:p>
            <a:pPr>
              <a:spcBef>
                <a:spcPts val="0"/>
              </a:spcBef>
            </a:pPr>
            <a:r>
              <a:rPr lang="fr-FR" sz="400" b="1" dirty="0" smtClean="0">
                <a:solidFill>
                  <a:srgbClr val="FFFFFF"/>
                </a:solidFill>
                <a:latin typeface="Trebuchet MS" pitchFamily="34" charset="0"/>
              </a:rPr>
              <a:t/>
            </a:r>
            <a:br>
              <a:rPr lang="fr-FR" sz="400" b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800" dirty="0" smtClean="0">
                <a:solidFill>
                  <a:srgbClr val="FFFFFF"/>
                </a:solidFill>
                <a:latin typeface="Trebuchet MS" pitchFamily="34" charset="0"/>
              </a:rPr>
              <a:t>Documentation</a:t>
            </a:r>
          </a:p>
          <a:p>
            <a:pPr>
              <a:spcBef>
                <a:spcPts val="0"/>
              </a:spcBef>
            </a:pPr>
            <a:r>
              <a:rPr lang="fr-FR" sz="800" i="1" dirty="0" err="1" smtClean="0">
                <a:solidFill>
                  <a:srgbClr val="FFFFFF"/>
                </a:solidFill>
                <a:latin typeface="Trebuchet MS" pitchFamily="34" charset="0"/>
              </a:rPr>
              <a:t>Sandbox</a:t>
            </a:r>
            <a:endParaRPr lang="fr-FR" sz="800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51" name="Image 50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9BFE98"/>
              </a:clrFrom>
              <a:clrTo>
                <a:srgbClr val="9BFE98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alphaModFix amt="43000"/>
          </a:blip>
          <a:stretch>
            <a:fillRect/>
          </a:stretch>
        </p:blipFill>
        <p:spPr>
          <a:xfrm>
            <a:off x="2133171" y="3357782"/>
            <a:ext cx="946150" cy="602386"/>
          </a:xfrm>
          <a:prstGeom prst="rect">
            <a:avLst/>
          </a:prstGeom>
        </p:spPr>
      </p:pic>
      <p:sp>
        <p:nvSpPr>
          <p:cNvPr id="52" name="ZoneTexte 51"/>
          <p:cNvSpPr txBox="1"/>
          <p:nvPr/>
        </p:nvSpPr>
        <p:spPr>
          <a:xfrm>
            <a:off x="2133171" y="3356399"/>
            <a:ext cx="94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Applications</a:t>
            </a:r>
          </a:p>
          <a:p>
            <a:pPr>
              <a:spcBef>
                <a:spcPts val="0"/>
              </a:spcBef>
            </a:pPr>
            <a:r>
              <a:rPr lang="fr-FR" sz="800" b="1" dirty="0" err="1" smtClean="0">
                <a:solidFill>
                  <a:srgbClr val="FFFFFF"/>
                </a:solidFill>
                <a:latin typeface="Trebuchet MS" pitchFamily="34" charset="0"/>
              </a:rPr>
              <a:t>Deployment</a:t>
            </a:r>
            <a:r>
              <a:rPr lang="fr-FR" sz="800" b="1" i="1" dirty="0" smtClean="0">
                <a:solidFill>
                  <a:srgbClr val="FFFFFF"/>
                </a:solidFill>
                <a:latin typeface="Trebuchet MS" pitchFamily="34" charset="0"/>
              </a:rPr>
              <a:t/>
            </a:r>
            <a:br>
              <a:rPr lang="fr-FR" sz="800" b="1" i="1" dirty="0" smtClean="0">
                <a:solidFill>
                  <a:srgbClr val="FFFFFF"/>
                </a:solidFill>
                <a:latin typeface="Trebuchet MS" pitchFamily="34" charset="0"/>
              </a:rPr>
            </a:br>
            <a:endParaRPr lang="fr-FR" sz="8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158307" y="3358461"/>
            <a:ext cx="949015" cy="602386"/>
          </a:xfrm>
          <a:prstGeom prst="rect">
            <a:avLst/>
          </a:prstGeom>
          <a:solidFill>
            <a:schemeClr val="lt1">
              <a:alpha val="0"/>
            </a:schemeClr>
          </a:solidFill>
          <a:ln w="19050">
            <a:solidFill>
              <a:schemeClr val="accent4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 sz="800" b="1">
              <a:latin typeface="Trebuchet MS"/>
              <a:cs typeface="Trebuchet MS"/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3161172" y="3367917"/>
            <a:ext cx="946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API Usage</a:t>
            </a:r>
            <a:b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800" b="1" dirty="0" err="1" smtClean="0">
                <a:solidFill>
                  <a:srgbClr val="FFFFFF"/>
                </a:solidFill>
                <a:latin typeface="Trebuchet MS" pitchFamily="34" charset="0"/>
              </a:rPr>
              <a:t>Payment</a:t>
            </a: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800" b="1" smtClean="0">
                <a:solidFill>
                  <a:srgbClr val="FFFFFF"/>
                </a:solidFill>
                <a:latin typeface="Trebuchet MS" pitchFamily="34" charset="0"/>
              </a:rPr>
              <a:t>method </a:t>
            </a:r>
            <a:endParaRPr lang="fr-FR" sz="800" b="1" dirty="0" smtClean="0">
              <a:solidFill>
                <a:srgbClr val="FFFFFF"/>
              </a:solidFill>
              <a:latin typeface="Trebuchet MS" pitchFamily="34" charset="0"/>
            </a:endParaRPr>
          </a:p>
          <a:p>
            <a:pPr>
              <a:spcBef>
                <a:spcPts val="0"/>
              </a:spcBef>
            </a:pPr>
            <a:endParaRPr lang="fr-FR" sz="800" b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183443" y="3357782"/>
            <a:ext cx="949015" cy="602386"/>
          </a:xfrm>
          <a:prstGeom prst="rect">
            <a:avLst/>
          </a:prstGeom>
          <a:solidFill>
            <a:schemeClr val="lt1">
              <a:alpha val="0"/>
            </a:schemeClr>
          </a:solidFill>
          <a:ln w="19050">
            <a:solidFill>
              <a:schemeClr val="accent4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 sz="800" b="1">
              <a:latin typeface="Trebuchet MS"/>
              <a:cs typeface="Trebuchet MS"/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4186308" y="3367238"/>
            <a:ext cx="94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err="1" smtClean="0">
                <a:solidFill>
                  <a:srgbClr val="FFFFFF"/>
                </a:solidFill>
                <a:latin typeface="Trebuchet MS" pitchFamily="34" charset="0"/>
              </a:rPr>
              <a:t>Analytics</a:t>
            </a: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/>
            </a:r>
            <a:b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800" b="1" dirty="0" err="1" smtClean="0">
                <a:solidFill>
                  <a:srgbClr val="FFFFFF"/>
                </a:solidFill>
                <a:latin typeface="Trebuchet MS" pitchFamily="34" charset="0"/>
              </a:rPr>
              <a:t>Private</a:t>
            </a: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 applications</a:t>
            </a:r>
          </a:p>
        </p:txBody>
      </p:sp>
      <p:sp>
        <p:nvSpPr>
          <p:cNvPr id="57" name="ZoneTexte 56"/>
          <p:cNvSpPr txBox="1"/>
          <p:nvPr/>
        </p:nvSpPr>
        <p:spPr>
          <a:xfrm>
            <a:off x="1108036" y="4331777"/>
            <a:ext cx="1959152" cy="21544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Newsletters</a:t>
            </a:r>
            <a:endParaRPr lang="fr-FR" sz="8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59" name="ZoneTexte 58"/>
          <p:cNvSpPr txBox="1"/>
          <p:nvPr/>
        </p:nvSpPr>
        <p:spPr>
          <a:xfrm>
            <a:off x="4171309" y="4345262"/>
            <a:ext cx="961149" cy="215444"/>
          </a:xfrm>
          <a:prstGeom prst="rect">
            <a:avLst/>
          </a:prstGeom>
          <a:pattFill prst="ltDnDiag">
            <a:fgClr>
              <a:schemeClr val="bg1"/>
            </a:fgClr>
            <a:bgClr>
              <a:srgbClr val="002060"/>
            </a:bgClr>
          </a:patt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800" b="1" smtClean="0">
                <a:solidFill>
                  <a:srgbClr val="FFFFFF"/>
                </a:solidFill>
                <a:latin typeface="Trebuchet MS" pitchFamily="34" charset="0"/>
              </a:rPr>
              <a:t>Tech blog</a:t>
            </a:r>
            <a:endParaRPr lang="fr-FR" sz="8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0" name="ZoneTexte 59"/>
          <p:cNvSpPr txBox="1"/>
          <p:nvPr/>
        </p:nvSpPr>
        <p:spPr>
          <a:xfrm>
            <a:off x="3138673" y="4331777"/>
            <a:ext cx="961149" cy="215444"/>
          </a:xfrm>
          <a:prstGeom prst="rect">
            <a:avLst/>
          </a:prstGeom>
          <a:pattFill prst="ltDnDiag">
            <a:fgClr>
              <a:schemeClr val="bg1"/>
            </a:fgClr>
            <a:bgClr>
              <a:srgbClr val="002060"/>
            </a:bgClr>
          </a:patt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Tech forum</a:t>
            </a:r>
            <a:endParaRPr lang="fr-FR" sz="8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1" name="ZoneTexte 60"/>
          <p:cNvSpPr txBox="1"/>
          <p:nvPr/>
        </p:nvSpPr>
        <p:spPr>
          <a:xfrm>
            <a:off x="3138673" y="4640458"/>
            <a:ext cx="961149" cy="215444"/>
          </a:xfrm>
          <a:prstGeom prst="rect">
            <a:avLst/>
          </a:prstGeom>
          <a:pattFill prst="ltDnDiag">
            <a:fgClr>
              <a:schemeClr val="bg1"/>
            </a:fgClr>
            <a:bgClr>
              <a:srgbClr val="002060"/>
            </a:bgClr>
          </a:patt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Live Support</a:t>
            </a:r>
            <a:endParaRPr lang="fr-FR" sz="8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2" name="ZoneTexte 61"/>
          <p:cNvSpPr txBox="1"/>
          <p:nvPr/>
        </p:nvSpPr>
        <p:spPr>
          <a:xfrm>
            <a:off x="5203945" y="4331777"/>
            <a:ext cx="961149" cy="215444"/>
          </a:xfrm>
          <a:prstGeom prst="rect">
            <a:avLst/>
          </a:prstGeom>
          <a:pattFill prst="ltDnDiag">
            <a:fgClr>
              <a:schemeClr val="bg1"/>
            </a:fgClr>
            <a:bgClr>
              <a:srgbClr val="002060"/>
            </a:bgClr>
          </a:patt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Dev </a:t>
            </a:r>
            <a:r>
              <a:rPr lang="fr-FR" sz="800" b="1" dirty="0" err="1" smtClean="0">
                <a:solidFill>
                  <a:srgbClr val="FFFFFF"/>
                </a:solidFill>
                <a:latin typeface="Trebuchet MS" pitchFamily="34" charset="0"/>
              </a:rPr>
              <a:t>events</a:t>
            </a:r>
            <a:endParaRPr lang="fr-FR" sz="8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58307" y="1610486"/>
            <a:ext cx="949015" cy="602386"/>
          </a:xfrm>
          <a:prstGeom prst="rect">
            <a:avLst/>
          </a:prstGeom>
          <a:solidFill>
            <a:schemeClr val="lt1">
              <a:alpha val="0"/>
            </a:schemeClr>
          </a:solidFill>
          <a:ln w="19050">
            <a:solidFill>
              <a:schemeClr val="accent4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 sz="800" b="1">
              <a:latin typeface="Trebuchet MS"/>
              <a:cs typeface="Trebuchet MS"/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3161172" y="1619942"/>
            <a:ext cx="946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Custom </a:t>
            </a:r>
            <a:r>
              <a:rPr lang="fr-FR" sz="800" b="1" dirty="0" err="1" smtClean="0">
                <a:solidFill>
                  <a:srgbClr val="FFFFFF"/>
                </a:solidFill>
                <a:latin typeface="Trebuchet MS" pitchFamily="34" charset="0"/>
              </a:rPr>
              <a:t>Msg</a:t>
            </a:r>
            <a:endParaRPr lang="fr-FR" sz="800" b="1" dirty="0" smtClean="0">
              <a:solidFill>
                <a:srgbClr val="FFFFFF"/>
              </a:solidFill>
              <a:latin typeface="Trebuchet MS" pitchFamily="34" charset="0"/>
            </a:endParaRPr>
          </a:p>
          <a:p>
            <a:pPr>
              <a:spcBef>
                <a:spcPts val="0"/>
              </a:spcBef>
            </a:pPr>
            <a:r>
              <a:rPr lang="fr-FR" sz="800" b="1" i="1" dirty="0" smtClean="0">
                <a:solidFill>
                  <a:srgbClr val="FFFFFF"/>
                </a:solidFill>
                <a:latin typeface="Trebuchet MS" pitchFamily="34" charset="0"/>
              </a:rPr>
              <a:t>PGI</a:t>
            </a:r>
            <a:br>
              <a:rPr lang="fr-FR" sz="800" b="1" i="1" dirty="0" smtClean="0">
                <a:solidFill>
                  <a:srgbClr val="FFFFFF"/>
                </a:solidFill>
                <a:latin typeface="Trebuchet MS" pitchFamily="34" charset="0"/>
              </a:rPr>
            </a:br>
            <a:r>
              <a:rPr lang="fr-FR" sz="800" b="1" i="1" dirty="0" smtClean="0">
                <a:solidFill>
                  <a:srgbClr val="FFFFFF"/>
                </a:solidFill>
                <a:latin typeface="Trebuchet MS" pitchFamily="34" charset="0"/>
              </a:rPr>
              <a:t>Online Mode</a:t>
            </a:r>
            <a:endParaRPr lang="fr-FR" sz="800" b="1" i="1" dirty="0">
              <a:solidFill>
                <a:srgbClr val="FFFFFF"/>
              </a:solidFill>
              <a:latin typeface="Trebuchet MS" pitchFamily="34" charset="0"/>
            </a:endParaRPr>
          </a:p>
          <a:p>
            <a:pPr>
              <a:spcBef>
                <a:spcPts val="0"/>
              </a:spcBef>
            </a:pPr>
            <a:endParaRPr lang="fr-FR" sz="800" b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37" name="ZoneTexte 36"/>
          <p:cNvSpPr txBox="1"/>
          <p:nvPr/>
        </p:nvSpPr>
        <p:spPr>
          <a:xfrm>
            <a:off x="-30890" y="4283707"/>
            <a:ext cx="10839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fr-FR" sz="1200" b="1" smtClean="0">
                <a:solidFill>
                  <a:srgbClr val="FFFFFF"/>
                </a:solidFill>
                <a:latin typeface="Trebuchet MS" pitchFamily="34" charset="0"/>
              </a:rPr>
              <a:t>COMMUNITY</a:t>
            </a:r>
            <a:endParaRPr lang="fr-FR" sz="12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1108035" y="4640458"/>
            <a:ext cx="1959153" cy="21544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Bef>
                <a:spcPts val="0"/>
              </a:spcBef>
              <a:defRPr sz="800" b="1">
                <a:solidFill>
                  <a:srgbClr val="FFFFFF"/>
                </a:solidFill>
                <a:latin typeface="Trebuchet MS" pitchFamily="34" charset="0"/>
              </a:defRPr>
            </a:lvl1pPr>
          </a:lstStyle>
          <a:p>
            <a:r>
              <a:rPr lang="fr-FR"/>
              <a:t>Support</a:t>
            </a:r>
            <a:endParaRPr lang="fr-FR" dirty="0"/>
          </a:p>
        </p:txBody>
      </p:sp>
      <p:sp>
        <p:nvSpPr>
          <p:cNvPr id="49" name="ZoneTexte 48"/>
          <p:cNvSpPr txBox="1"/>
          <p:nvPr/>
        </p:nvSpPr>
        <p:spPr>
          <a:xfrm>
            <a:off x="4171307" y="4640458"/>
            <a:ext cx="961149" cy="215444"/>
          </a:xfrm>
          <a:prstGeom prst="rect">
            <a:avLst/>
          </a:prstGeom>
          <a:pattFill prst="ltDnDiag">
            <a:fgClr>
              <a:schemeClr val="bg1"/>
            </a:fgClr>
            <a:bgClr>
              <a:srgbClr val="002060"/>
            </a:bgClr>
          </a:patt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800" b="1" dirty="0" smtClean="0">
                <a:solidFill>
                  <a:srgbClr val="FFFFFF"/>
                </a:solidFill>
                <a:latin typeface="Trebuchet MS" pitchFamily="34" charset="0"/>
              </a:rPr>
              <a:t>Twitter</a:t>
            </a:r>
            <a:endParaRPr lang="fr-FR" sz="800" b="1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40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96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r>
              <a:rPr lang="fr-FR" sz="1800" b="0" dirty="0" smtClean="0">
                <a:solidFill>
                  <a:srgbClr val="FFFFFF"/>
                </a:solidFill>
              </a:rPr>
              <a:t>THANK YOU!</a:t>
            </a:r>
            <a:endParaRPr lang="fr-FR" sz="1800" b="0" dirty="0"/>
          </a:p>
        </p:txBody>
      </p:sp>
      <p:sp>
        <p:nvSpPr>
          <p:cNvPr id="53" name="Rectangle 54"/>
          <p:cNvSpPr/>
          <p:nvPr/>
        </p:nvSpPr>
        <p:spPr>
          <a:xfrm>
            <a:off x="1508513" y="1227349"/>
            <a:ext cx="461665" cy="157276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vert="vert270"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2400" dirty="0" smtClean="0">
                <a:solidFill>
                  <a:srgbClr val="92D050"/>
                </a:solidFill>
              </a:rPr>
              <a:t>SIMPLE</a:t>
            </a:r>
            <a:endParaRPr sz="2400" dirty="0">
              <a:solidFill>
                <a:srgbClr val="92D050"/>
              </a:solidFill>
            </a:endParaRPr>
          </a:p>
        </p:txBody>
      </p:sp>
      <p:sp>
        <p:nvSpPr>
          <p:cNvPr id="54" name="Rectangle 54"/>
          <p:cNvSpPr/>
          <p:nvPr/>
        </p:nvSpPr>
        <p:spPr>
          <a:xfrm rot="5400000">
            <a:off x="2509567" y="1293558"/>
            <a:ext cx="523220" cy="191822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vert="vert270"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2800" dirty="0" smtClean="0">
                <a:solidFill>
                  <a:schemeClr val="accent5"/>
                </a:solidFill>
              </a:rPr>
              <a:t>RELIABLE</a:t>
            </a:r>
            <a:endParaRPr sz="2800" dirty="0">
              <a:solidFill>
                <a:schemeClr val="accent5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76693" y="2274281"/>
            <a:ext cx="719542" cy="33855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600" dirty="0" smtClean="0">
                <a:solidFill>
                  <a:schemeClr val="accent1"/>
                </a:solidFill>
                <a:latin typeface="Courier" charset="0"/>
                <a:ea typeface="Courier" charset="0"/>
                <a:cs typeface="Courier" charset="0"/>
              </a:rPr>
              <a:t>CHEAP</a:t>
            </a:r>
            <a:endParaRPr sz="1600" dirty="0">
              <a:solidFill>
                <a:schemeClr val="accent1"/>
              </a:solidFill>
              <a:latin typeface="Courier" charset="0"/>
              <a:ea typeface="Courier" charset="0"/>
              <a:cs typeface="Courier" charset="0"/>
            </a:endParaRPr>
          </a:p>
        </p:txBody>
      </p:sp>
      <p:sp>
        <p:nvSpPr>
          <p:cNvPr id="56" name="Rectangle 54"/>
          <p:cNvSpPr/>
          <p:nvPr/>
        </p:nvSpPr>
        <p:spPr>
          <a:xfrm>
            <a:off x="5411508" y="2947296"/>
            <a:ext cx="1468323" cy="27699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2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Al Bayan Plain" charset="-78"/>
                <a:ea typeface="Al Bayan Plain" charset="-78"/>
                <a:cs typeface="Al Bayan Plain" charset="-78"/>
              </a:rPr>
              <a:t>EASY TO START</a:t>
            </a:r>
            <a:endParaRPr sz="1200" dirty="0">
              <a:solidFill>
                <a:schemeClr val="accent4">
                  <a:lumMod val="60000"/>
                  <a:lumOff val="40000"/>
                </a:schemeClr>
              </a:solidFill>
              <a:latin typeface="Al Bayan Plain" charset="-78"/>
              <a:ea typeface="Al Bayan Plain" charset="-78"/>
              <a:cs typeface="Al Bayan Plain" charset="-78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70217" y="1859911"/>
            <a:ext cx="13458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 dirty="0" smtClean="0">
                <a:solidFill>
                  <a:schemeClr val="accent5"/>
                </a:solidFill>
                <a:latin typeface="+mj-lt"/>
              </a:rPr>
              <a:t>GREAT SUPPORT</a:t>
            </a:r>
            <a:endParaRPr lang="fr-FR" sz="1200" b="1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579095" y="2893435"/>
            <a:ext cx="18469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2400" b="1" dirty="0" smtClean="0">
                <a:solidFill>
                  <a:srgbClr val="FFFFFF"/>
                </a:solidFill>
              </a:rPr>
              <a:t>COMPLETE</a:t>
            </a:r>
            <a:endParaRPr lang="fr-FR" b="1" dirty="0">
              <a:solidFill>
                <a:srgbClr val="FFFFFF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927796" y="1847445"/>
            <a:ext cx="12863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dirty="0" smtClean="0">
                <a:solidFill>
                  <a:schemeClr val="bg1"/>
                </a:solidFill>
                <a:latin typeface="Abadi MT Condensed Light" charset="0"/>
                <a:ea typeface="Abadi MT Condensed Light" charset="0"/>
                <a:cs typeface="Abadi MT Condensed Light" charset="0"/>
              </a:rPr>
              <a:t>AUTONOMOUS</a:t>
            </a:r>
            <a:endParaRPr lang="fr-FR" b="1" dirty="0">
              <a:solidFill>
                <a:schemeClr val="bg1"/>
              </a:solidFill>
              <a:latin typeface="Abadi MT Condensed Light" charset="0"/>
              <a:ea typeface="Abadi MT Condensed Light" charset="0"/>
              <a:cs typeface="Abadi MT Condensed Light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453182" y="2637095"/>
            <a:ext cx="427873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800" b="1" dirty="0" smtClean="0">
                <a:solidFill>
                  <a:srgbClr val="00B0F0"/>
                </a:solidFill>
                <a:latin typeface="Bangla MN" charset="0"/>
                <a:ea typeface="Bangla MN" charset="0"/>
                <a:cs typeface="Bangla MN" charset="0"/>
              </a:rPr>
              <a:t>DOCUMENTATION</a:t>
            </a:r>
            <a:endParaRPr lang="fr-FR" sz="2800" b="1" dirty="0">
              <a:solidFill>
                <a:srgbClr val="00B0F0"/>
              </a:solidFill>
              <a:latin typeface="Bangla MN" charset="0"/>
              <a:ea typeface="Bangla MN" charset="0"/>
              <a:cs typeface="Bangla MN" charset="0"/>
            </a:endParaRPr>
          </a:p>
        </p:txBody>
      </p:sp>
      <p:sp>
        <p:nvSpPr>
          <p:cNvPr id="61" name="Rectangle 54"/>
          <p:cNvSpPr/>
          <p:nvPr/>
        </p:nvSpPr>
        <p:spPr>
          <a:xfrm rot="5400000">
            <a:off x="3954373" y="2041788"/>
            <a:ext cx="307777" cy="200059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vert="vert270"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400" dirty="0" smtClean="0">
                <a:solidFill>
                  <a:srgbClr val="92D050"/>
                </a:solidFill>
              </a:rPr>
              <a:t>API HEATH CHECK</a:t>
            </a:r>
            <a:endParaRPr sz="1400" dirty="0">
              <a:solidFill>
                <a:srgbClr val="92D050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 rot="16200000">
            <a:off x="-153404" y="2764783"/>
            <a:ext cx="13367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dirty="0" smtClean="0">
                <a:solidFill>
                  <a:schemeClr val="bg2">
                    <a:lumMod val="60000"/>
                    <a:lumOff val="40000"/>
                  </a:schemeClr>
                </a:solidFill>
                <a:latin typeface="Cooper Black" charset="0"/>
                <a:ea typeface="Cooper Black" charset="0"/>
                <a:cs typeface="Cooper Black" charset="0"/>
              </a:rPr>
              <a:t>SAMPLES</a:t>
            </a:r>
            <a:endParaRPr lang="fr-FR" dirty="0">
              <a:solidFill>
                <a:schemeClr val="bg2">
                  <a:lumMod val="60000"/>
                  <a:lumOff val="40000"/>
                </a:schemeClr>
              </a:solidFill>
              <a:latin typeface="Cooper Black" charset="0"/>
              <a:ea typeface="Cooper Black" charset="0"/>
              <a:cs typeface="Cooper Black" charset="0"/>
            </a:endParaRPr>
          </a:p>
        </p:txBody>
      </p:sp>
      <p:sp>
        <p:nvSpPr>
          <p:cNvPr id="63" name="Rectangle 54"/>
          <p:cNvSpPr/>
          <p:nvPr/>
        </p:nvSpPr>
        <p:spPr>
          <a:xfrm>
            <a:off x="6706641" y="2329318"/>
            <a:ext cx="719386" cy="30777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400" dirty="0" smtClean="0">
                <a:solidFill>
                  <a:srgbClr val="FFFF00"/>
                </a:solidFill>
                <a:latin typeface="Impact" charset="0"/>
                <a:ea typeface="Impact" charset="0"/>
                <a:cs typeface="Impact" charset="0"/>
              </a:rPr>
              <a:t>REST API</a:t>
            </a:r>
            <a:endParaRPr sz="1400" dirty="0">
              <a:solidFill>
                <a:srgbClr val="FFFF00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53676" y="1313557"/>
            <a:ext cx="135165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4000" b="1" dirty="0" smtClean="0">
                <a:solidFill>
                  <a:schemeClr val="bg2">
                    <a:lumMod val="60000"/>
                    <a:lumOff val="40000"/>
                  </a:schemeClr>
                </a:solidFill>
                <a:latin typeface="Cooper Black" charset="0"/>
                <a:ea typeface="Cooper Black" charset="0"/>
                <a:cs typeface="Cooper Black" charset="0"/>
              </a:rPr>
              <a:t>SDK</a:t>
            </a:r>
            <a:endParaRPr lang="fr-FR" sz="4400" dirty="0">
              <a:solidFill>
                <a:schemeClr val="bg2">
                  <a:lumMod val="60000"/>
                  <a:lumOff val="40000"/>
                </a:schemeClr>
              </a:solidFill>
              <a:latin typeface="Cooper Black" charset="0"/>
              <a:ea typeface="Cooper Black" charset="0"/>
              <a:cs typeface="Cooper Black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4978580" y="1826653"/>
            <a:ext cx="10887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92D050"/>
                </a:solidFill>
                <a:latin typeface="STHupo" charset="-122"/>
                <a:ea typeface="STHupo" charset="-122"/>
                <a:cs typeface="STHupo" charset="-122"/>
              </a:rPr>
              <a:t>SNIPPETS</a:t>
            </a:r>
            <a:endParaRPr lang="fr-FR" dirty="0">
              <a:latin typeface="STHupo" charset="-122"/>
              <a:ea typeface="STHupo" charset="-122"/>
              <a:cs typeface="STHupo" charset="-122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3897939" y="2971475"/>
            <a:ext cx="224773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36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SANDBOX</a:t>
            </a:r>
            <a:endParaRPr lang="fr-FR" sz="3600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3060538" y="1921059"/>
            <a:ext cx="209544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100" b="1" dirty="0" smtClean="0">
                <a:solidFill>
                  <a:schemeClr val="accent1"/>
                </a:solidFill>
                <a:latin typeface="Bangla MN" charset="0"/>
                <a:ea typeface="Bangla MN" charset="0"/>
                <a:cs typeface="Bangla MN" charset="0"/>
              </a:rPr>
              <a:t>LONG TERM SUPPORT</a:t>
            </a:r>
            <a:endParaRPr lang="fr-FR" sz="1100" b="1" dirty="0">
              <a:latin typeface="Bangla MN" charset="0"/>
              <a:ea typeface="Bangla MN" charset="0"/>
              <a:cs typeface="Bangla MN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3474945" y="2328638"/>
            <a:ext cx="13223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smtClean="0">
                <a:solidFill>
                  <a:schemeClr val="bg2">
                    <a:lumMod val="60000"/>
                    <a:lumOff val="40000"/>
                  </a:schemeClr>
                </a:solidFill>
                <a:latin typeface="Cooper Black" charset="0"/>
                <a:ea typeface="Cooper Black" charset="0"/>
                <a:cs typeface="Cooper Black" charset="0"/>
              </a:rPr>
              <a:t>POSTERS</a:t>
            </a:r>
            <a:endParaRPr lang="fr-FR" dirty="0"/>
          </a:p>
        </p:txBody>
      </p:sp>
      <p:sp>
        <p:nvSpPr>
          <p:cNvPr id="69" name="Rectangle 68"/>
          <p:cNvSpPr/>
          <p:nvPr/>
        </p:nvSpPr>
        <p:spPr>
          <a:xfrm>
            <a:off x="2485016" y="3217288"/>
            <a:ext cx="15452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dirty="0" smtClean="0">
                <a:solidFill>
                  <a:schemeClr val="accent1"/>
                </a:solidFill>
                <a:latin typeface="Cooper Black" charset="0"/>
                <a:ea typeface="Cooper Black" charset="0"/>
                <a:cs typeface="Cooper Black" charset="0"/>
              </a:rPr>
              <a:t>API USAGE</a:t>
            </a:r>
            <a:endParaRPr lang="fr-FR" b="1" dirty="0">
              <a:latin typeface="Cooper Black" charset="0"/>
              <a:ea typeface="Cooper Black" charset="0"/>
              <a:cs typeface="Cooper Black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3567916" y="2028818"/>
            <a:ext cx="193354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VOICE &amp; VIDEO</a:t>
            </a:r>
            <a:endParaRPr lang="fr-FR" sz="2000" dirty="0">
              <a:solidFill>
                <a:schemeClr val="accent5"/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 rot="16200000">
            <a:off x="2796862" y="2649339"/>
            <a:ext cx="62388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800" smtClean="0">
                <a:solidFill>
                  <a:srgbClr val="FFFF00"/>
                </a:solidFill>
                <a:latin typeface="Impact" charset="0"/>
                <a:ea typeface="Impact" charset="0"/>
                <a:cs typeface="Impact" charset="0"/>
              </a:rPr>
              <a:t>CLI</a:t>
            </a:r>
            <a:endParaRPr lang="fr-FR" sz="2800" dirty="0"/>
          </a:p>
        </p:txBody>
      </p:sp>
      <p:sp>
        <p:nvSpPr>
          <p:cNvPr id="72" name="Rectangle 71"/>
          <p:cNvSpPr/>
          <p:nvPr/>
        </p:nvSpPr>
        <p:spPr>
          <a:xfrm>
            <a:off x="301377" y="1981511"/>
            <a:ext cx="14077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b="1" dirty="0" smtClean="0">
                <a:solidFill>
                  <a:srgbClr val="FFFFFF"/>
                </a:solidFill>
              </a:rPr>
              <a:t>GUIDES</a:t>
            </a:r>
            <a:endParaRPr lang="fr-FR" sz="2400" dirty="0"/>
          </a:p>
        </p:txBody>
      </p:sp>
      <p:sp>
        <p:nvSpPr>
          <p:cNvPr id="73" name="Rectangle 72"/>
          <p:cNvSpPr/>
          <p:nvPr/>
        </p:nvSpPr>
        <p:spPr>
          <a:xfrm>
            <a:off x="4609571" y="2220761"/>
            <a:ext cx="220925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800" smtClean="0">
                <a:solidFill>
                  <a:srgbClr val="92D050"/>
                </a:solidFill>
                <a:latin typeface="STHupo" charset="-122"/>
                <a:ea typeface="STHupo" charset="-122"/>
                <a:cs typeface="STHupo" charset="-122"/>
              </a:rPr>
              <a:t>NEWSLETTERS</a:t>
            </a:r>
            <a:endParaRPr lang="fr-FR" sz="2800"/>
          </a:p>
        </p:txBody>
      </p:sp>
      <p:sp>
        <p:nvSpPr>
          <p:cNvPr id="74" name="Rectangle 73"/>
          <p:cNvSpPr/>
          <p:nvPr/>
        </p:nvSpPr>
        <p:spPr>
          <a:xfrm>
            <a:off x="1157870" y="2294568"/>
            <a:ext cx="54745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smtClean="0">
                <a:solidFill>
                  <a:srgbClr val="FFFF00"/>
                </a:solidFill>
                <a:latin typeface="Impact" charset="0"/>
                <a:ea typeface="Impact" charset="0"/>
                <a:cs typeface="Impact" charset="0"/>
              </a:rPr>
              <a:t>BLOG</a:t>
            </a:r>
            <a:endParaRPr lang="fr-FR" sz="1400" dirty="0"/>
          </a:p>
        </p:txBody>
      </p:sp>
      <p:sp>
        <p:nvSpPr>
          <p:cNvPr id="75" name="Rectangle 74"/>
          <p:cNvSpPr/>
          <p:nvPr/>
        </p:nvSpPr>
        <p:spPr>
          <a:xfrm>
            <a:off x="6037569" y="3093490"/>
            <a:ext cx="60625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100" dirty="0" smtClean="0">
                <a:solidFill>
                  <a:srgbClr val="92D050"/>
                </a:solidFill>
                <a:latin typeface="STHupo" charset="-122"/>
                <a:ea typeface="STHupo" charset="-122"/>
                <a:cs typeface="STHupo" charset="-122"/>
              </a:rPr>
              <a:t>EVENTS</a:t>
            </a:r>
            <a:endParaRPr lang="fr-FR" sz="1100" dirty="0"/>
          </a:p>
        </p:txBody>
      </p:sp>
      <p:sp>
        <p:nvSpPr>
          <p:cNvPr id="76" name="Rectangle 75"/>
          <p:cNvSpPr/>
          <p:nvPr/>
        </p:nvSpPr>
        <p:spPr>
          <a:xfrm>
            <a:off x="1799430" y="1655744"/>
            <a:ext cx="75071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Al Bayan Plain" charset="-78"/>
                <a:ea typeface="Al Bayan Plain" charset="-78"/>
                <a:cs typeface="Al Bayan Plain" charset="-78"/>
              </a:rPr>
              <a:t>FORUM</a:t>
            </a:r>
            <a:endParaRPr lang="fr-FR" dirty="0">
              <a:solidFill>
                <a:schemeClr val="accent4">
                  <a:lumMod val="60000"/>
                  <a:lumOff val="40000"/>
                </a:schemeClr>
              </a:solidFill>
              <a:latin typeface="Al Bayan Plain" charset="-78"/>
              <a:ea typeface="Al Bayan Plain" charset="-78"/>
              <a:cs typeface="Al Bayan Plain" charset="-78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4870204" y="2850867"/>
            <a:ext cx="875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FFFF00"/>
                </a:solidFill>
                <a:latin typeface="Impact" charset="0"/>
                <a:ea typeface="Impact" charset="0"/>
                <a:cs typeface="Impact" charset="0"/>
              </a:rPr>
              <a:t>SECURE</a:t>
            </a:r>
            <a:endParaRPr lang="fr-FR" dirty="0"/>
          </a:p>
        </p:txBody>
      </p:sp>
      <p:sp>
        <p:nvSpPr>
          <p:cNvPr id="78" name="Rectangle 77"/>
          <p:cNvSpPr/>
          <p:nvPr/>
        </p:nvSpPr>
        <p:spPr>
          <a:xfrm>
            <a:off x="1802966" y="2322865"/>
            <a:ext cx="63350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Al Bayan Plain" charset="-78"/>
                <a:ea typeface="Al Bayan Plain" charset="-78"/>
                <a:cs typeface="Al Bayan Plain" charset="-78"/>
              </a:rPr>
              <a:t>FUN</a:t>
            </a:r>
            <a:endParaRPr lang="fr-FR" sz="2000" dirty="0"/>
          </a:p>
        </p:txBody>
      </p:sp>
      <p:sp>
        <p:nvSpPr>
          <p:cNvPr id="79" name="Rectangle 78"/>
          <p:cNvSpPr/>
          <p:nvPr/>
        </p:nvSpPr>
        <p:spPr>
          <a:xfrm>
            <a:off x="5321370" y="2044207"/>
            <a:ext cx="2061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chemeClr val="accent5"/>
                </a:solidFill>
              </a:rPr>
              <a:t>DIGITAL ENABLER</a:t>
            </a:r>
            <a:endParaRPr lang="fr-FR" dirty="0"/>
          </a:p>
        </p:txBody>
      </p:sp>
      <p:sp>
        <p:nvSpPr>
          <p:cNvPr id="80" name="Rectangle 79"/>
          <p:cNvSpPr/>
          <p:nvPr/>
        </p:nvSpPr>
        <p:spPr>
          <a:xfrm rot="16200000">
            <a:off x="3106553" y="2507055"/>
            <a:ext cx="687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Al Bayan Plain" charset="-78"/>
                <a:ea typeface="Al Bayan Plain" charset="-78"/>
                <a:cs typeface="Al Bayan Plain" charset="-78"/>
              </a:rPr>
              <a:t>CHAT</a:t>
            </a:r>
            <a:endParaRPr lang="fr-FR" b="1" dirty="0"/>
          </a:p>
        </p:txBody>
      </p:sp>
      <p:sp>
        <p:nvSpPr>
          <p:cNvPr id="81" name="Rectangle 80"/>
          <p:cNvSpPr/>
          <p:nvPr/>
        </p:nvSpPr>
        <p:spPr>
          <a:xfrm>
            <a:off x="1812066" y="1803561"/>
            <a:ext cx="1399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FFFF00"/>
                </a:solidFill>
                <a:latin typeface="Impact" charset="0"/>
                <a:ea typeface="Impact" charset="0"/>
                <a:cs typeface="Impact" charset="0"/>
              </a:rPr>
              <a:t>FILE-SHARING</a:t>
            </a:r>
            <a:endParaRPr lang="fr-FR" dirty="0"/>
          </a:p>
        </p:txBody>
      </p:sp>
      <p:sp>
        <p:nvSpPr>
          <p:cNvPr id="82" name="Rectangle 54"/>
          <p:cNvSpPr/>
          <p:nvPr/>
        </p:nvSpPr>
        <p:spPr>
          <a:xfrm rot="5400000">
            <a:off x="6679776" y="2472341"/>
            <a:ext cx="400110" cy="185922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vert="vert270"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2000" dirty="0">
                <a:solidFill>
                  <a:schemeClr val="accent5"/>
                </a:solidFill>
              </a:rPr>
              <a:t>GROUPCHAT</a:t>
            </a:r>
            <a:endParaRPr sz="2000" dirty="0">
              <a:solidFill>
                <a:schemeClr val="accent5"/>
              </a:solidFill>
            </a:endParaRPr>
          </a:p>
        </p:txBody>
      </p:sp>
      <p:sp>
        <p:nvSpPr>
          <p:cNvPr id="83" name="Rectangle 54"/>
          <p:cNvSpPr/>
          <p:nvPr/>
        </p:nvSpPr>
        <p:spPr>
          <a:xfrm>
            <a:off x="2297382" y="2361031"/>
            <a:ext cx="1112798" cy="33855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600" smtClean="0">
                <a:solidFill>
                  <a:schemeClr val="accent1"/>
                </a:solidFill>
                <a:latin typeface="Courier" charset="0"/>
                <a:ea typeface="Courier" charset="0"/>
                <a:cs typeface="Courier" charset="0"/>
              </a:rPr>
              <a:t>CONTACTS</a:t>
            </a:r>
            <a:endParaRPr sz="1600" dirty="0">
              <a:solidFill>
                <a:schemeClr val="accent1"/>
              </a:solidFill>
              <a:latin typeface="Courier" charset="0"/>
              <a:ea typeface="Courier" charset="0"/>
              <a:cs typeface="Courier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506740" y="2639261"/>
            <a:ext cx="153227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4800" b="1" dirty="0" smtClean="0">
                <a:solidFill>
                  <a:schemeClr val="bg2">
                    <a:lumMod val="60000"/>
                    <a:lumOff val="40000"/>
                  </a:schemeClr>
                </a:solidFill>
                <a:latin typeface="Cooper Black" charset="0"/>
                <a:ea typeface="Cooper Black" charset="0"/>
                <a:cs typeface="Cooper Black" charset="0"/>
              </a:rPr>
              <a:t>BOT</a:t>
            </a:r>
            <a:endParaRPr lang="fr-FR" sz="4800" dirty="0"/>
          </a:p>
        </p:txBody>
      </p:sp>
      <p:sp>
        <p:nvSpPr>
          <p:cNvPr id="85" name="Rectangle 84"/>
          <p:cNvSpPr/>
          <p:nvPr/>
        </p:nvSpPr>
        <p:spPr>
          <a:xfrm>
            <a:off x="1524975" y="2539056"/>
            <a:ext cx="14686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REAL-TIME</a:t>
            </a:r>
            <a:endParaRPr lang="fr-FR" sz="2000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6" name="Rectangle 54"/>
          <p:cNvSpPr/>
          <p:nvPr/>
        </p:nvSpPr>
        <p:spPr>
          <a:xfrm rot="5400000">
            <a:off x="3314419" y="2491628"/>
            <a:ext cx="276999" cy="1463794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vert="vert270"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200" dirty="0" smtClean="0">
                <a:solidFill>
                  <a:schemeClr val="accent5"/>
                </a:solidFill>
              </a:rPr>
              <a:t>CONFERENCE</a:t>
            </a:r>
            <a:endParaRPr sz="1200" dirty="0">
              <a:solidFill>
                <a:schemeClr val="accent5"/>
              </a:solidFill>
            </a:endParaRPr>
          </a:p>
        </p:txBody>
      </p:sp>
      <p:sp>
        <p:nvSpPr>
          <p:cNvPr id="87" name="Rectangle 54"/>
          <p:cNvSpPr/>
          <p:nvPr/>
        </p:nvSpPr>
        <p:spPr>
          <a:xfrm rot="5400000">
            <a:off x="4285244" y="982014"/>
            <a:ext cx="461665" cy="161316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vert="vert270"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2400" dirty="0" smtClean="0">
                <a:solidFill>
                  <a:schemeClr val="accent5"/>
                </a:solidFill>
              </a:rPr>
              <a:t>GOODIES</a:t>
            </a:r>
            <a:endParaRPr sz="2400" dirty="0">
              <a:solidFill>
                <a:schemeClr val="accent5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520063" y="3225248"/>
            <a:ext cx="11047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mtClean="0">
                <a:solidFill>
                  <a:srgbClr val="FFFF00"/>
                </a:solidFill>
                <a:latin typeface="Impact" charset="0"/>
                <a:ea typeface="Impact" charset="0"/>
                <a:cs typeface="Impact" charset="0"/>
              </a:rPr>
              <a:t>SAVE TIME</a:t>
            </a:r>
            <a:endParaRPr lang="fr-FR" dirty="0"/>
          </a:p>
        </p:txBody>
      </p:sp>
      <p:sp>
        <p:nvSpPr>
          <p:cNvPr id="89" name="Rectangle 88"/>
          <p:cNvSpPr/>
          <p:nvPr/>
        </p:nvSpPr>
        <p:spPr>
          <a:xfrm>
            <a:off x="2393803" y="1662330"/>
            <a:ext cx="14702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FFFFFF"/>
                </a:solidFill>
              </a:rPr>
              <a:t>GAME-CHANGER</a:t>
            </a:r>
            <a:endParaRPr lang="fr-FR" sz="1050" b="1" dirty="0">
              <a:solidFill>
                <a:srgbClr val="FFFFFF"/>
              </a:solidFill>
            </a:endParaRPr>
          </a:p>
        </p:txBody>
      </p:sp>
      <p:grpSp>
        <p:nvGrpSpPr>
          <p:cNvPr id="40" name="Groupe 58"/>
          <p:cNvGrpSpPr>
            <a:grpSpLocks noChangeAspect="1"/>
          </p:cNvGrpSpPr>
          <p:nvPr/>
        </p:nvGrpSpPr>
        <p:grpSpPr>
          <a:xfrm>
            <a:off x="619576" y="2553386"/>
            <a:ext cx="978276" cy="977402"/>
            <a:chOff x="3528159" y="796927"/>
            <a:chExt cx="1776413" cy="1774825"/>
          </a:xfrm>
          <a:solidFill>
            <a:schemeClr val="bg1">
              <a:alpha val="15000"/>
            </a:schemeClr>
          </a:solidFill>
        </p:grpSpPr>
        <p:sp>
          <p:nvSpPr>
            <p:cNvPr id="41" name="Freeform 21"/>
            <p:cNvSpPr>
              <a:spLocks/>
            </p:cNvSpPr>
            <p:nvPr/>
          </p:nvSpPr>
          <p:spPr bwMode="auto">
            <a:xfrm>
              <a:off x="3528159" y="796927"/>
              <a:ext cx="1776413" cy="1774825"/>
            </a:xfrm>
            <a:custGeom>
              <a:avLst/>
              <a:gdLst>
                <a:gd name="T0" fmla="*/ 224 w 1119"/>
                <a:gd name="T1" fmla="*/ 0 h 1118"/>
                <a:gd name="T2" fmla="*/ 895 w 1119"/>
                <a:gd name="T3" fmla="*/ 0 h 1118"/>
                <a:gd name="T4" fmla="*/ 931 w 1119"/>
                <a:gd name="T5" fmla="*/ 3 h 1118"/>
                <a:gd name="T6" fmla="*/ 966 w 1119"/>
                <a:gd name="T7" fmla="*/ 11 h 1118"/>
                <a:gd name="T8" fmla="*/ 998 w 1119"/>
                <a:gd name="T9" fmla="*/ 25 h 1118"/>
                <a:gd name="T10" fmla="*/ 1027 w 1119"/>
                <a:gd name="T11" fmla="*/ 42 h 1118"/>
                <a:gd name="T12" fmla="*/ 1053 w 1119"/>
                <a:gd name="T13" fmla="*/ 65 h 1118"/>
                <a:gd name="T14" fmla="*/ 1076 w 1119"/>
                <a:gd name="T15" fmla="*/ 91 h 1118"/>
                <a:gd name="T16" fmla="*/ 1094 w 1119"/>
                <a:gd name="T17" fmla="*/ 120 h 1118"/>
                <a:gd name="T18" fmla="*/ 1107 w 1119"/>
                <a:gd name="T19" fmla="*/ 153 h 1118"/>
                <a:gd name="T20" fmla="*/ 1116 w 1119"/>
                <a:gd name="T21" fmla="*/ 187 h 1118"/>
                <a:gd name="T22" fmla="*/ 1119 w 1119"/>
                <a:gd name="T23" fmla="*/ 224 h 1118"/>
                <a:gd name="T24" fmla="*/ 1119 w 1119"/>
                <a:gd name="T25" fmla="*/ 894 h 1118"/>
                <a:gd name="T26" fmla="*/ 1116 w 1119"/>
                <a:gd name="T27" fmla="*/ 931 h 1118"/>
                <a:gd name="T28" fmla="*/ 1107 w 1119"/>
                <a:gd name="T29" fmla="*/ 965 h 1118"/>
                <a:gd name="T30" fmla="*/ 1094 w 1119"/>
                <a:gd name="T31" fmla="*/ 998 h 1118"/>
                <a:gd name="T32" fmla="*/ 1076 w 1119"/>
                <a:gd name="T33" fmla="*/ 1027 h 1118"/>
                <a:gd name="T34" fmla="*/ 1053 w 1119"/>
                <a:gd name="T35" fmla="*/ 1053 h 1118"/>
                <a:gd name="T36" fmla="*/ 1027 w 1119"/>
                <a:gd name="T37" fmla="*/ 1076 h 1118"/>
                <a:gd name="T38" fmla="*/ 998 w 1119"/>
                <a:gd name="T39" fmla="*/ 1093 h 1118"/>
                <a:gd name="T40" fmla="*/ 966 w 1119"/>
                <a:gd name="T41" fmla="*/ 1107 h 1118"/>
                <a:gd name="T42" fmla="*/ 931 w 1119"/>
                <a:gd name="T43" fmla="*/ 1115 h 1118"/>
                <a:gd name="T44" fmla="*/ 895 w 1119"/>
                <a:gd name="T45" fmla="*/ 1118 h 1118"/>
                <a:gd name="T46" fmla="*/ 224 w 1119"/>
                <a:gd name="T47" fmla="*/ 1118 h 1118"/>
                <a:gd name="T48" fmla="*/ 188 w 1119"/>
                <a:gd name="T49" fmla="*/ 1115 h 1118"/>
                <a:gd name="T50" fmla="*/ 153 w 1119"/>
                <a:gd name="T51" fmla="*/ 1107 h 1118"/>
                <a:gd name="T52" fmla="*/ 121 w 1119"/>
                <a:gd name="T53" fmla="*/ 1093 h 1118"/>
                <a:gd name="T54" fmla="*/ 92 w 1119"/>
                <a:gd name="T55" fmla="*/ 1076 h 1118"/>
                <a:gd name="T56" fmla="*/ 66 w 1119"/>
                <a:gd name="T57" fmla="*/ 1053 h 1118"/>
                <a:gd name="T58" fmla="*/ 43 w 1119"/>
                <a:gd name="T59" fmla="*/ 1027 h 1118"/>
                <a:gd name="T60" fmla="*/ 25 w 1119"/>
                <a:gd name="T61" fmla="*/ 998 h 1118"/>
                <a:gd name="T62" fmla="*/ 11 w 1119"/>
                <a:gd name="T63" fmla="*/ 965 h 1118"/>
                <a:gd name="T64" fmla="*/ 3 w 1119"/>
                <a:gd name="T65" fmla="*/ 931 h 1118"/>
                <a:gd name="T66" fmla="*/ 0 w 1119"/>
                <a:gd name="T67" fmla="*/ 894 h 1118"/>
                <a:gd name="T68" fmla="*/ 0 w 1119"/>
                <a:gd name="T69" fmla="*/ 224 h 1118"/>
                <a:gd name="T70" fmla="*/ 3 w 1119"/>
                <a:gd name="T71" fmla="*/ 187 h 1118"/>
                <a:gd name="T72" fmla="*/ 11 w 1119"/>
                <a:gd name="T73" fmla="*/ 153 h 1118"/>
                <a:gd name="T74" fmla="*/ 25 w 1119"/>
                <a:gd name="T75" fmla="*/ 120 h 1118"/>
                <a:gd name="T76" fmla="*/ 43 w 1119"/>
                <a:gd name="T77" fmla="*/ 91 h 1118"/>
                <a:gd name="T78" fmla="*/ 66 w 1119"/>
                <a:gd name="T79" fmla="*/ 65 h 1118"/>
                <a:gd name="T80" fmla="*/ 92 w 1119"/>
                <a:gd name="T81" fmla="*/ 42 h 1118"/>
                <a:gd name="T82" fmla="*/ 121 w 1119"/>
                <a:gd name="T83" fmla="*/ 25 h 1118"/>
                <a:gd name="T84" fmla="*/ 153 w 1119"/>
                <a:gd name="T85" fmla="*/ 11 h 1118"/>
                <a:gd name="T86" fmla="*/ 188 w 1119"/>
                <a:gd name="T87" fmla="*/ 3 h 1118"/>
                <a:gd name="T88" fmla="*/ 224 w 1119"/>
                <a:gd name="T89" fmla="*/ 0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19" h="1118">
                  <a:moveTo>
                    <a:pt x="224" y="0"/>
                  </a:moveTo>
                  <a:lnTo>
                    <a:pt x="895" y="0"/>
                  </a:lnTo>
                  <a:lnTo>
                    <a:pt x="931" y="3"/>
                  </a:lnTo>
                  <a:lnTo>
                    <a:pt x="966" y="11"/>
                  </a:lnTo>
                  <a:lnTo>
                    <a:pt x="998" y="25"/>
                  </a:lnTo>
                  <a:lnTo>
                    <a:pt x="1027" y="42"/>
                  </a:lnTo>
                  <a:lnTo>
                    <a:pt x="1053" y="65"/>
                  </a:lnTo>
                  <a:lnTo>
                    <a:pt x="1076" y="91"/>
                  </a:lnTo>
                  <a:lnTo>
                    <a:pt x="1094" y="120"/>
                  </a:lnTo>
                  <a:lnTo>
                    <a:pt x="1107" y="153"/>
                  </a:lnTo>
                  <a:lnTo>
                    <a:pt x="1116" y="187"/>
                  </a:lnTo>
                  <a:lnTo>
                    <a:pt x="1119" y="224"/>
                  </a:lnTo>
                  <a:lnTo>
                    <a:pt x="1119" y="894"/>
                  </a:lnTo>
                  <a:lnTo>
                    <a:pt x="1116" y="931"/>
                  </a:lnTo>
                  <a:lnTo>
                    <a:pt x="1107" y="965"/>
                  </a:lnTo>
                  <a:lnTo>
                    <a:pt x="1094" y="998"/>
                  </a:lnTo>
                  <a:lnTo>
                    <a:pt x="1076" y="1027"/>
                  </a:lnTo>
                  <a:lnTo>
                    <a:pt x="1053" y="1053"/>
                  </a:lnTo>
                  <a:lnTo>
                    <a:pt x="1027" y="1076"/>
                  </a:lnTo>
                  <a:lnTo>
                    <a:pt x="998" y="1093"/>
                  </a:lnTo>
                  <a:lnTo>
                    <a:pt x="966" y="1107"/>
                  </a:lnTo>
                  <a:lnTo>
                    <a:pt x="931" y="1115"/>
                  </a:lnTo>
                  <a:lnTo>
                    <a:pt x="895" y="1118"/>
                  </a:lnTo>
                  <a:lnTo>
                    <a:pt x="224" y="1118"/>
                  </a:lnTo>
                  <a:lnTo>
                    <a:pt x="188" y="1115"/>
                  </a:lnTo>
                  <a:lnTo>
                    <a:pt x="153" y="1107"/>
                  </a:lnTo>
                  <a:lnTo>
                    <a:pt x="121" y="1093"/>
                  </a:lnTo>
                  <a:lnTo>
                    <a:pt x="92" y="1076"/>
                  </a:lnTo>
                  <a:lnTo>
                    <a:pt x="66" y="1053"/>
                  </a:lnTo>
                  <a:lnTo>
                    <a:pt x="43" y="1027"/>
                  </a:lnTo>
                  <a:lnTo>
                    <a:pt x="25" y="998"/>
                  </a:lnTo>
                  <a:lnTo>
                    <a:pt x="11" y="965"/>
                  </a:lnTo>
                  <a:lnTo>
                    <a:pt x="3" y="931"/>
                  </a:lnTo>
                  <a:lnTo>
                    <a:pt x="0" y="894"/>
                  </a:lnTo>
                  <a:lnTo>
                    <a:pt x="0" y="224"/>
                  </a:lnTo>
                  <a:lnTo>
                    <a:pt x="3" y="187"/>
                  </a:lnTo>
                  <a:lnTo>
                    <a:pt x="11" y="153"/>
                  </a:lnTo>
                  <a:lnTo>
                    <a:pt x="25" y="120"/>
                  </a:lnTo>
                  <a:lnTo>
                    <a:pt x="43" y="91"/>
                  </a:lnTo>
                  <a:lnTo>
                    <a:pt x="66" y="65"/>
                  </a:lnTo>
                  <a:lnTo>
                    <a:pt x="92" y="42"/>
                  </a:lnTo>
                  <a:lnTo>
                    <a:pt x="121" y="25"/>
                  </a:lnTo>
                  <a:lnTo>
                    <a:pt x="153" y="11"/>
                  </a:lnTo>
                  <a:lnTo>
                    <a:pt x="188" y="3"/>
                  </a:lnTo>
                  <a:lnTo>
                    <a:pt x="2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56" tIns="45728" rIns="91456" bIns="4572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2"/>
            <p:cNvSpPr>
              <a:spLocks/>
            </p:cNvSpPr>
            <p:nvPr/>
          </p:nvSpPr>
          <p:spPr bwMode="auto">
            <a:xfrm>
              <a:off x="4004409" y="1217615"/>
              <a:ext cx="823913" cy="933450"/>
            </a:xfrm>
            <a:custGeom>
              <a:avLst/>
              <a:gdLst>
                <a:gd name="T0" fmla="*/ 368 w 519"/>
                <a:gd name="T1" fmla="*/ 2 h 588"/>
                <a:gd name="T2" fmla="*/ 421 w 519"/>
                <a:gd name="T3" fmla="*/ 18 h 588"/>
                <a:gd name="T4" fmla="*/ 464 w 519"/>
                <a:gd name="T5" fmla="*/ 45 h 588"/>
                <a:gd name="T6" fmla="*/ 494 w 519"/>
                <a:gd name="T7" fmla="*/ 81 h 588"/>
                <a:gd name="T8" fmla="*/ 513 w 519"/>
                <a:gd name="T9" fmla="*/ 124 h 588"/>
                <a:gd name="T10" fmla="*/ 519 w 519"/>
                <a:gd name="T11" fmla="*/ 169 h 588"/>
                <a:gd name="T12" fmla="*/ 511 w 519"/>
                <a:gd name="T13" fmla="*/ 221 h 588"/>
                <a:gd name="T14" fmla="*/ 488 w 519"/>
                <a:gd name="T15" fmla="*/ 268 h 588"/>
                <a:gd name="T16" fmla="*/ 458 w 519"/>
                <a:gd name="T17" fmla="*/ 299 h 588"/>
                <a:gd name="T18" fmla="*/ 423 w 519"/>
                <a:gd name="T19" fmla="*/ 322 h 588"/>
                <a:gd name="T20" fmla="*/ 374 w 519"/>
                <a:gd name="T21" fmla="*/ 338 h 588"/>
                <a:gd name="T22" fmla="*/ 504 w 519"/>
                <a:gd name="T23" fmla="*/ 500 h 588"/>
                <a:gd name="T24" fmla="*/ 516 w 519"/>
                <a:gd name="T25" fmla="*/ 526 h 588"/>
                <a:gd name="T26" fmla="*/ 512 w 519"/>
                <a:gd name="T27" fmla="*/ 553 h 588"/>
                <a:gd name="T28" fmla="*/ 495 w 519"/>
                <a:gd name="T29" fmla="*/ 576 h 588"/>
                <a:gd name="T30" fmla="*/ 474 w 519"/>
                <a:gd name="T31" fmla="*/ 586 h 588"/>
                <a:gd name="T32" fmla="*/ 446 w 519"/>
                <a:gd name="T33" fmla="*/ 585 h 588"/>
                <a:gd name="T34" fmla="*/ 420 w 519"/>
                <a:gd name="T35" fmla="*/ 567 h 588"/>
                <a:gd name="T36" fmla="*/ 184 w 519"/>
                <a:gd name="T37" fmla="*/ 308 h 588"/>
                <a:gd name="T38" fmla="*/ 181 w 519"/>
                <a:gd name="T39" fmla="*/ 276 h 588"/>
                <a:gd name="T40" fmla="*/ 195 w 519"/>
                <a:gd name="T41" fmla="*/ 250 h 588"/>
                <a:gd name="T42" fmla="*/ 219 w 519"/>
                <a:gd name="T43" fmla="*/ 236 h 588"/>
                <a:gd name="T44" fmla="*/ 337 w 519"/>
                <a:gd name="T45" fmla="*/ 234 h 588"/>
                <a:gd name="T46" fmla="*/ 371 w 519"/>
                <a:gd name="T47" fmla="*/ 227 h 588"/>
                <a:gd name="T48" fmla="*/ 395 w 519"/>
                <a:gd name="T49" fmla="*/ 213 h 588"/>
                <a:gd name="T50" fmla="*/ 407 w 519"/>
                <a:gd name="T51" fmla="*/ 192 h 588"/>
                <a:gd name="T52" fmla="*/ 412 w 519"/>
                <a:gd name="T53" fmla="*/ 169 h 588"/>
                <a:gd name="T54" fmla="*/ 406 w 519"/>
                <a:gd name="T55" fmla="*/ 144 h 588"/>
                <a:gd name="T56" fmla="*/ 389 w 519"/>
                <a:gd name="T57" fmla="*/ 123 h 588"/>
                <a:gd name="T58" fmla="*/ 358 w 519"/>
                <a:gd name="T59" fmla="*/ 110 h 588"/>
                <a:gd name="T60" fmla="*/ 108 w 519"/>
                <a:gd name="T61" fmla="*/ 109 h 588"/>
                <a:gd name="T62" fmla="*/ 105 w 519"/>
                <a:gd name="T63" fmla="*/ 549 h 588"/>
                <a:gd name="T64" fmla="*/ 86 w 519"/>
                <a:gd name="T65" fmla="*/ 576 h 588"/>
                <a:gd name="T66" fmla="*/ 55 w 519"/>
                <a:gd name="T67" fmla="*/ 588 h 588"/>
                <a:gd name="T68" fmla="*/ 23 w 519"/>
                <a:gd name="T69" fmla="*/ 577 h 588"/>
                <a:gd name="T70" fmla="*/ 3 w 519"/>
                <a:gd name="T71" fmla="*/ 551 h 588"/>
                <a:gd name="T72" fmla="*/ 0 w 519"/>
                <a:gd name="T73" fmla="*/ 54 h 588"/>
                <a:gd name="T74" fmla="*/ 10 w 519"/>
                <a:gd name="T75" fmla="*/ 23 h 588"/>
                <a:gd name="T76" fmla="*/ 38 w 519"/>
                <a:gd name="T77" fmla="*/ 3 h 588"/>
                <a:gd name="T78" fmla="*/ 337 w 519"/>
                <a:gd name="T79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9" h="588">
                  <a:moveTo>
                    <a:pt x="337" y="0"/>
                  </a:moveTo>
                  <a:lnTo>
                    <a:pt x="368" y="2"/>
                  </a:lnTo>
                  <a:lnTo>
                    <a:pt x="396" y="9"/>
                  </a:lnTo>
                  <a:lnTo>
                    <a:pt x="421" y="18"/>
                  </a:lnTo>
                  <a:lnTo>
                    <a:pt x="444" y="30"/>
                  </a:lnTo>
                  <a:lnTo>
                    <a:pt x="464" y="45"/>
                  </a:lnTo>
                  <a:lnTo>
                    <a:pt x="480" y="63"/>
                  </a:lnTo>
                  <a:lnTo>
                    <a:pt x="494" y="81"/>
                  </a:lnTo>
                  <a:lnTo>
                    <a:pt x="504" y="102"/>
                  </a:lnTo>
                  <a:lnTo>
                    <a:pt x="513" y="124"/>
                  </a:lnTo>
                  <a:lnTo>
                    <a:pt x="517" y="146"/>
                  </a:lnTo>
                  <a:lnTo>
                    <a:pt x="519" y="169"/>
                  </a:lnTo>
                  <a:lnTo>
                    <a:pt x="517" y="196"/>
                  </a:lnTo>
                  <a:lnTo>
                    <a:pt x="511" y="221"/>
                  </a:lnTo>
                  <a:lnTo>
                    <a:pt x="501" y="245"/>
                  </a:lnTo>
                  <a:lnTo>
                    <a:pt x="488" y="268"/>
                  </a:lnTo>
                  <a:lnTo>
                    <a:pt x="471" y="288"/>
                  </a:lnTo>
                  <a:lnTo>
                    <a:pt x="458" y="299"/>
                  </a:lnTo>
                  <a:lnTo>
                    <a:pt x="443" y="312"/>
                  </a:lnTo>
                  <a:lnTo>
                    <a:pt x="423" y="322"/>
                  </a:lnTo>
                  <a:lnTo>
                    <a:pt x="400" y="332"/>
                  </a:lnTo>
                  <a:lnTo>
                    <a:pt x="374" y="338"/>
                  </a:lnTo>
                  <a:lnTo>
                    <a:pt x="344" y="341"/>
                  </a:lnTo>
                  <a:lnTo>
                    <a:pt x="504" y="500"/>
                  </a:lnTo>
                  <a:lnTo>
                    <a:pt x="512" y="513"/>
                  </a:lnTo>
                  <a:lnTo>
                    <a:pt x="516" y="526"/>
                  </a:lnTo>
                  <a:lnTo>
                    <a:pt x="516" y="540"/>
                  </a:lnTo>
                  <a:lnTo>
                    <a:pt x="512" y="553"/>
                  </a:lnTo>
                  <a:lnTo>
                    <a:pt x="505" y="566"/>
                  </a:lnTo>
                  <a:lnTo>
                    <a:pt x="495" y="576"/>
                  </a:lnTo>
                  <a:lnTo>
                    <a:pt x="484" y="583"/>
                  </a:lnTo>
                  <a:lnTo>
                    <a:pt x="474" y="586"/>
                  </a:lnTo>
                  <a:lnTo>
                    <a:pt x="463" y="588"/>
                  </a:lnTo>
                  <a:lnTo>
                    <a:pt x="446" y="585"/>
                  </a:lnTo>
                  <a:lnTo>
                    <a:pt x="432" y="578"/>
                  </a:lnTo>
                  <a:lnTo>
                    <a:pt x="420" y="567"/>
                  </a:lnTo>
                  <a:lnTo>
                    <a:pt x="192" y="322"/>
                  </a:lnTo>
                  <a:lnTo>
                    <a:pt x="184" y="308"/>
                  </a:lnTo>
                  <a:lnTo>
                    <a:pt x="180" y="292"/>
                  </a:lnTo>
                  <a:lnTo>
                    <a:pt x="181" y="276"/>
                  </a:lnTo>
                  <a:lnTo>
                    <a:pt x="187" y="262"/>
                  </a:lnTo>
                  <a:lnTo>
                    <a:pt x="195" y="250"/>
                  </a:lnTo>
                  <a:lnTo>
                    <a:pt x="205" y="241"/>
                  </a:lnTo>
                  <a:lnTo>
                    <a:pt x="219" y="236"/>
                  </a:lnTo>
                  <a:lnTo>
                    <a:pt x="233" y="234"/>
                  </a:lnTo>
                  <a:lnTo>
                    <a:pt x="337" y="234"/>
                  </a:lnTo>
                  <a:lnTo>
                    <a:pt x="355" y="231"/>
                  </a:lnTo>
                  <a:lnTo>
                    <a:pt x="371" y="227"/>
                  </a:lnTo>
                  <a:lnTo>
                    <a:pt x="384" y="221"/>
                  </a:lnTo>
                  <a:lnTo>
                    <a:pt x="395" y="213"/>
                  </a:lnTo>
                  <a:lnTo>
                    <a:pt x="402" y="202"/>
                  </a:lnTo>
                  <a:lnTo>
                    <a:pt x="407" y="192"/>
                  </a:lnTo>
                  <a:lnTo>
                    <a:pt x="410" y="180"/>
                  </a:lnTo>
                  <a:lnTo>
                    <a:pt x="412" y="169"/>
                  </a:lnTo>
                  <a:lnTo>
                    <a:pt x="409" y="156"/>
                  </a:lnTo>
                  <a:lnTo>
                    <a:pt x="406" y="144"/>
                  </a:lnTo>
                  <a:lnTo>
                    <a:pt x="399" y="133"/>
                  </a:lnTo>
                  <a:lnTo>
                    <a:pt x="389" y="123"/>
                  </a:lnTo>
                  <a:lnTo>
                    <a:pt x="375" y="115"/>
                  </a:lnTo>
                  <a:lnTo>
                    <a:pt x="358" y="110"/>
                  </a:lnTo>
                  <a:lnTo>
                    <a:pt x="337" y="108"/>
                  </a:lnTo>
                  <a:lnTo>
                    <a:pt x="108" y="109"/>
                  </a:lnTo>
                  <a:lnTo>
                    <a:pt x="108" y="532"/>
                  </a:lnTo>
                  <a:lnTo>
                    <a:pt x="105" y="549"/>
                  </a:lnTo>
                  <a:lnTo>
                    <a:pt x="98" y="564"/>
                  </a:lnTo>
                  <a:lnTo>
                    <a:pt x="86" y="576"/>
                  </a:lnTo>
                  <a:lnTo>
                    <a:pt x="72" y="585"/>
                  </a:lnTo>
                  <a:lnTo>
                    <a:pt x="55" y="588"/>
                  </a:lnTo>
                  <a:lnTo>
                    <a:pt x="39" y="585"/>
                  </a:lnTo>
                  <a:lnTo>
                    <a:pt x="23" y="577"/>
                  </a:lnTo>
                  <a:lnTo>
                    <a:pt x="11" y="566"/>
                  </a:lnTo>
                  <a:lnTo>
                    <a:pt x="3" y="551"/>
                  </a:lnTo>
                  <a:lnTo>
                    <a:pt x="0" y="534"/>
                  </a:lnTo>
                  <a:lnTo>
                    <a:pt x="0" y="54"/>
                  </a:lnTo>
                  <a:lnTo>
                    <a:pt x="3" y="38"/>
                  </a:lnTo>
                  <a:lnTo>
                    <a:pt x="10" y="23"/>
                  </a:lnTo>
                  <a:lnTo>
                    <a:pt x="22" y="11"/>
                  </a:lnTo>
                  <a:lnTo>
                    <a:pt x="38" y="3"/>
                  </a:lnTo>
                  <a:lnTo>
                    <a:pt x="54" y="0"/>
                  </a:lnTo>
                  <a:lnTo>
                    <a:pt x="3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56" tIns="45728" rIns="91456" bIns="4572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"/>
            <p:cNvSpPr>
              <a:spLocks/>
            </p:cNvSpPr>
            <p:nvPr/>
          </p:nvSpPr>
          <p:spPr bwMode="auto">
            <a:xfrm>
              <a:off x="4228247" y="925515"/>
              <a:ext cx="947738" cy="523875"/>
            </a:xfrm>
            <a:custGeom>
              <a:avLst/>
              <a:gdLst>
                <a:gd name="T0" fmla="*/ 453 w 597"/>
                <a:gd name="T1" fmla="*/ 0 h 330"/>
                <a:gd name="T2" fmla="*/ 453 w 597"/>
                <a:gd name="T3" fmla="*/ 0 h 330"/>
                <a:gd name="T4" fmla="*/ 481 w 597"/>
                <a:gd name="T5" fmla="*/ 2 h 330"/>
                <a:gd name="T6" fmla="*/ 508 w 597"/>
                <a:gd name="T7" fmla="*/ 10 h 330"/>
                <a:gd name="T8" fmla="*/ 532 w 597"/>
                <a:gd name="T9" fmla="*/ 24 h 330"/>
                <a:gd name="T10" fmla="*/ 555 w 597"/>
                <a:gd name="T11" fmla="*/ 42 h 330"/>
                <a:gd name="T12" fmla="*/ 573 w 597"/>
                <a:gd name="T13" fmla="*/ 63 h 330"/>
                <a:gd name="T14" fmla="*/ 586 w 597"/>
                <a:gd name="T15" fmla="*/ 88 h 330"/>
                <a:gd name="T16" fmla="*/ 594 w 597"/>
                <a:gd name="T17" fmla="*/ 115 h 330"/>
                <a:gd name="T18" fmla="*/ 597 w 597"/>
                <a:gd name="T19" fmla="*/ 144 h 330"/>
                <a:gd name="T20" fmla="*/ 597 w 597"/>
                <a:gd name="T21" fmla="*/ 330 h 330"/>
                <a:gd name="T22" fmla="*/ 582 w 597"/>
                <a:gd name="T23" fmla="*/ 327 h 330"/>
                <a:gd name="T24" fmla="*/ 552 w 597"/>
                <a:gd name="T25" fmla="*/ 321 h 330"/>
                <a:gd name="T26" fmla="*/ 505 w 597"/>
                <a:gd name="T27" fmla="*/ 313 h 330"/>
                <a:gd name="T28" fmla="*/ 505 w 597"/>
                <a:gd name="T29" fmla="*/ 144 h 330"/>
                <a:gd name="T30" fmla="*/ 503 w 597"/>
                <a:gd name="T31" fmla="*/ 130 h 330"/>
                <a:gd name="T32" fmla="*/ 498 w 597"/>
                <a:gd name="T33" fmla="*/ 118 h 330"/>
                <a:gd name="T34" fmla="*/ 489 w 597"/>
                <a:gd name="T35" fmla="*/ 107 h 330"/>
                <a:gd name="T36" fmla="*/ 479 w 597"/>
                <a:gd name="T37" fmla="*/ 99 h 330"/>
                <a:gd name="T38" fmla="*/ 466 w 597"/>
                <a:gd name="T39" fmla="*/ 94 h 330"/>
                <a:gd name="T40" fmla="*/ 453 w 597"/>
                <a:gd name="T41" fmla="*/ 92 h 330"/>
                <a:gd name="T42" fmla="*/ 453 w 597"/>
                <a:gd name="T43" fmla="*/ 92 h 330"/>
                <a:gd name="T44" fmla="*/ 0 w 597"/>
                <a:gd name="T45" fmla="*/ 92 h 330"/>
                <a:gd name="T46" fmla="*/ 14 w 597"/>
                <a:gd name="T47" fmla="*/ 59 h 330"/>
                <a:gd name="T48" fmla="*/ 32 w 597"/>
                <a:gd name="T49" fmla="*/ 29 h 330"/>
                <a:gd name="T50" fmla="*/ 52 w 597"/>
                <a:gd name="T51" fmla="*/ 0 h 330"/>
                <a:gd name="T52" fmla="*/ 453 w 597"/>
                <a:gd name="T53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7" h="330">
                  <a:moveTo>
                    <a:pt x="453" y="0"/>
                  </a:moveTo>
                  <a:lnTo>
                    <a:pt x="453" y="0"/>
                  </a:lnTo>
                  <a:lnTo>
                    <a:pt x="481" y="2"/>
                  </a:lnTo>
                  <a:lnTo>
                    <a:pt x="508" y="10"/>
                  </a:lnTo>
                  <a:lnTo>
                    <a:pt x="532" y="24"/>
                  </a:lnTo>
                  <a:lnTo>
                    <a:pt x="555" y="42"/>
                  </a:lnTo>
                  <a:lnTo>
                    <a:pt x="573" y="63"/>
                  </a:lnTo>
                  <a:lnTo>
                    <a:pt x="586" y="88"/>
                  </a:lnTo>
                  <a:lnTo>
                    <a:pt x="594" y="115"/>
                  </a:lnTo>
                  <a:lnTo>
                    <a:pt x="597" y="144"/>
                  </a:lnTo>
                  <a:lnTo>
                    <a:pt x="597" y="330"/>
                  </a:lnTo>
                  <a:lnTo>
                    <a:pt x="582" y="327"/>
                  </a:lnTo>
                  <a:lnTo>
                    <a:pt x="552" y="321"/>
                  </a:lnTo>
                  <a:lnTo>
                    <a:pt x="505" y="313"/>
                  </a:lnTo>
                  <a:lnTo>
                    <a:pt x="505" y="144"/>
                  </a:lnTo>
                  <a:lnTo>
                    <a:pt x="503" y="130"/>
                  </a:lnTo>
                  <a:lnTo>
                    <a:pt x="498" y="118"/>
                  </a:lnTo>
                  <a:lnTo>
                    <a:pt x="489" y="107"/>
                  </a:lnTo>
                  <a:lnTo>
                    <a:pt x="479" y="99"/>
                  </a:lnTo>
                  <a:lnTo>
                    <a:pt x="466" y="94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0" y="92"/>
                  </a:lnTo>
                  <a:lnTo>
                    <a:pt x="14" y="59"/>
                  </a:lnTo>
                  <a:lnTo>
                    <a:pt x="32" y="29"/>
                  </a:lnTo>
                  <a:lnTo>
                    <a:pt x="52" y="0"/>
                  </a:lnTo>
                  <a:lnTo>
                    <a:pt x="4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56" tIns="45728" rIns="91456" bIns="4572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4"/>
            <p:cNvSpPr>
              <a:spLocks/>
            </p:cNvSpPr>
            <p:nvPr/>
          </p:nvSpPr>
          <p:spPr bwMode="auto">
            <a:xfrm>
              <a:off x="3656747" y="925515"/>
              <a:ext cx="654050" cy="954088"/>
            </a:xfrm>
            <a:custGeom>
              <a:avLst/>
              <a:gdLst>
                <a:gd name="T0" fmla="*/ 412 w 412"/>
                <a:gd name="T1" fmla="*/ 0 h 601"/>
                <a:gd name="T2" fmla="*/ 392 w 412"/>
                <a:gd name="T3" fmla="*/ 29 h 601"/>
                <a:gd name="T4" fmla="*/ 374 w 412"/>
                <a:gd name="T5" fmla="*/ 59 h 601"/>
                <a:gd name="T6" fmla="*/ 360 w 412"/>
                <a:gd name="T7" fmla="*/ 92 h 601"/>
                <a:gd name="T8" fmla="*/ 144 w 412"/>
                <a:gd name="T9" fmla="*/ 92 h 601"/>
                <a:gd name="T10" fmla="*/ 130 w 412"/>
                <a:gd name="T11" fmla="*/ 94 h 601"/>
                <a:gd name="T12" fmla="*/ 118 w 412"/>
                <a:gd name="T13" fmla="*/ 99 h 601"/>
                <a:gd name="T14" fmla="*/ 108 w 412"/>
                <a:gd name="T15" fmla="*/ 107 h 601"/>
                <a:gd name="T16" fmla="*/ 99 w 412"/>
                <a:gd name="T17" fmla="*/ 118 h 601"/>
                <a:gd name="T18" fmla="*/ 94 w 412"/>
                <a:gd name="T19" fmla="*/ 130 h 601"/>
                <a:gd name="T20" fmla="*/ 92 w 412"/>
                <a:gd name="T21" fmla="*/ 144 h 601"/>
                <a:gd name="T22" fmla="*/ 92 w 412"/>
                <a:gd name="T23" fmla="*/ 518 h 601"/>
                <a:gd name="T24" fmla="*/ 87 w 412"/>
                <a:gd name="T25" fmla="*/ 522 h 601"/>
                <a:gd name="T26" fmla="*/ 42 w 412"/>
                <a:gd name="T27" fmla="*/ 560 h 601"/>
                <a:gd name="T28" fmla="*/ 0 w 412"/>
                <a:gd name="T29" fmla="*/ 601 h 601"/>
                <a:gd name="T30" fmla="*/ 0 w 412"/>
                <a:gd name="T31" fmla="*/ 144 h 601"/>
                <a:gd name="T32" fmla="*/ 2 w 412"/>
                <a:gd name="T33" fmla="*/ 115 h 601"/>
                <a:gd name="T34" fmla="*/ 11 w 412"/>
                <a:gd name="T35" fmla="*/ 88 h 601"/>
                <a:gd name="T36" fmla="*/ 24 w 412"/>
                <a:gd name="T37" fmla="*/ 64 h 601"/>
                <a:gd name="T38" fmla="*/ 42 w 412"/>
                <a:gd name="T39" fmla="*/ 43 h 601"/>
                <a:gd name="T40" fmla="*/ 64 w 412"/>
                <a:gd name="T41" fmla="*/ 24 h 601"/>
                <a:gd name="T42" fmla="*/ 89 w 412"/>
                <a:gd name="T43" fmla="*/ 10 h 601"/>
                <a:gd name="T44" fmla="*/ 116 w 412"/>
                <a:gd name="T45" fmla="*/ 3 h 601"/>
                <a:gd name="T46" fmla="*/ 144 w 412"/>
                <a:gd name="T47" fmla="*/ 0 h 601"/>
                <a:gd name="T48" fmla="*/ 412 w 412"/>
                <a:gd name="T49" fmla="*/ 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2" h="601">
                  <a:moveTo>
                    <a:pt x="412" y="0"/>
                  </a:moveTo>
                  <a:lnTo>
                    <a:pt x="392" y="29"/>
                  </a:lnTo>
                  <a:lnTo>
                    <a:pt x="374" y="59"/>
                  </a:lnTo>
                  <a:lnTo>
                    <a:pt x="360" y="92"/>
                  </a:lnTo>
                  <a:lnTo>
                    <a:pt x="144" y="92"/>
                  </a:lnTo>
                  <a:lnTo>
                    <a:pt x="130" y="94"/>
                  </a:lnTo>
                  <a:lnTo>
                    <a:pt x="118" y="99"/>
                  </a:lnTo>
                  <a:lnTo>
                    <a:pt x="108" y="107"/>
                  </a:lnTo>
                  <a:lnTo>
                    <a:pt x="99" y="118"/>
                  </a:lnTo>
                  <a:lnTo>
                    <a:pt x="94" y="130"/>
                  </a:lnTo>
                  <a:lnTo>
                    <a:pt x="92" y="144"/>
                  </a:lnTo>
                  <a:lnTo>
                    <a:pt x="92" y="518"/>
                  </a:lnTo>
                  <a:lnTo>
                    <a:pt x="87" y="522"/>
                  </a:lnTo>
                  <a:lnTo>
                    <a:pt x="42" y="560"/>
                  </a:lnTo>
                  <a:lnTo>
                    <a:pt x="0" y="601"/>
                  </a:lnTo>
                  <a:lnTo>
                    <a:pt x="0" y="144"/>
                  </a:lnTo>
                  <a:lnTo>
                    <a:pt x="2" y="115"/>
                  </a:lnTo>
                  <a:lnTo>
                    <a:pt x="11" y="88"/>
                  </a:lnTo>
                  <a:lnTo>
                    <a:pt x="24" y="64"/>
                  </a:lnTo>
                  <a:lnTo>
                    <a:pt x="42" y="43"/>
                  </a:lnTo>
                  <a:lnTo>
                    <a:pt x="64" y="24"/>
                  </a:lnTo>
                  <a:lnTo>
                    <a:pt x="89" y="10"/>
                  </a:lnTo>
                  <a:lnTo>
                    <a:pt x="116" y="3"/>
                  </a:lnTo>
                  <a:lnTo>
                    <a:pt x="144" y="0"/>
                  </a:lnTo>
                  <a:lnTo>
                    <a:pt x="4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56" tIns="45728" rIns="91456" bIns="4572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5"/>
            <p:cNvSpPr>
              <a:spLocks/>
            </p:cNvSpPr>
            <p:nvPr/>
          </p:nvSpPr>
          <p:spPr bwMode="auto">
            <a:xfrm>
              <a:off x="4475897" y="1489077"/>
              <a:ext cx="700088" cy="954088"/>
            </a:xfrm>
            <a:custGeom>
              <a:avLst/>
              <a:gdLst>
                <a:gd name="T0" fmla="*/ 349 w 441"/>
                <a:gd name="T1" fmla="*/ 0 h 601"/>
                <a:gd name="T2" fmla="*/ 395 w 441"/>
                <a:gd name="T3" fmla="*/ 7 h 601"/>
                <a:gd name="T4" fmla="*/ 441 w 441"/>
                <a:gd name="T5" fmla="*/ 17 h 601"/>
                <a:gd name="T6" fmla="*/ 441 w 441"/>
                <a:gd name="T7" fmla="*/ 457 h 601"/>
                <a:gd name="T8" fmla="*/ 439 w 441"/>
                <a:gd name="T9" fmla="*/ 487 h 601"/>
                <a:gd name="T10" fmla="*/ 429 w 441"/>
                <a:gd name="T11" fmla="*/ 514 h 601"/>
                <a:gd name="T12" fmla="*/ 417 w 441"/>
                <a:gd name="T13" fmla="*/ 538 h 601"/>
                <a:gd name="T14" fmla="*/ 399 w 441"/>
                <a:gd name="T15" fmla="*/ 559 h 601"/>
                <a:gd name="T16" fmla="*/ 377 w 441"/>
                <a:gd name="T17" fmla="*/ 576 h 601"/>
                <a:gd name="T18" fmla="*/ 353 w 441"/>
                <a:gd name="T19" fmla="*/ 590 h 601"/>
                <a:gd name="T20" fmla="*/ 326 w 441"/>
                <a:gd name="T21" fmla="*/ 598 h 601"/>
                <a:gd name="T22" fmla="*/ 297 w 441"/>
                <a:gd name="T23" fmla="*/ 601 h 601"/>
                <a:gd name="T24" fmla="*/ 56 w 441"/>
                <a:gd name="T25" fmla="*/ 601 h 601"/>
                <a:gd name="T26" fmla="*/ 34 w 441"/>
                <a:gd name="T27" fmla="*/ 573 h 601"/>
                <a:gd name="T28" fmla="*/ 16 w 441"/>
                <a:gd name="T29" fmla="*/ 542 h 601"/>
                <a:gd name="T30" fmla="*/ 0 w 441"/>
                <a:gd name="T31" fmla="*/ 509 h 601"/>
                <a:gd name="T32" fmla="*/ 297 w 441"/>
                <a:gd name="T33" fmla="*/ 509 h 601"/>
                <a:gd name="T34" fmla="*/ 314 w 441"/>
                <a:gd name="T35" fmla="*/ 506 h 601"/>
                <a:gd name="T36" fmla="*/ 327 w 441"/>
                <a:gd name="T37" fmla="*/ 499 h 601"/>
                <a:gd name="T38" fmla="*/ 339 w 441"/>
                <a:gd name="T39" fmla="*/ 488 h 601"/>
                <a:gd name="T40" fmla="*/ 346 w 441"/>
                <a:gd name="T41" fmla="*/ 474 h 601"/>
                <a:gd name="T42" fmla="*/ 349 w 441"/>
                <a:gd name="T43" fmla="*/ 457 h 601"/>
                <a:gd name="T44" fmla="*/ 349 w 441"/>
                <a:gd name="T45" fmla="*/ 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1" h="601">
                  <a:moveTo>
                    <a:pt x="349" y="0"/>
                  </a:moveTo>
                  <a:lnTo>
                    <a:pt x="395" y="7"/>
                  </a:lnTo>
                  <a:lnTo>
                    <a:pt x="441" y="17"/>
                  </a:lnTo>
                  <a:lnTo>
                    <a:pt x="441" y="457"/>
                  </a:lnTo>
                  <a:lnTo>
                    <a:pt x="439" y="487"/>
                  </a:lnTo>
                  <a:lnTo>
                    <a:pt x="429" y="514"/>
                  </a:lnTo>
                  <a:lnTo>
                    <a:pt x="417" y="538"/>
                  </a:lnTo>
                  <a:lnTo>
                    <a:pt x="399" y="559"/>
                  </a:lnTo>
                  <a:lnTo>
                    <a:pt x="377" y="576"/>
                  </a:lnTo>
                  <a:lnTo>
                    <a:pt x="353" y="590"/>
                  </a:lnTo>
                  <a:lnTo>
                    <a:pt x="326" y="598"/>
                  </a:lnTo>
                  <a:lnTo>
                    <a:pt x="297" y="601"/>
                  </a:lnTo>
                  <a:lnTo>
                    <a:pt x="56" y="601"/>
                  </a:lnTo>
                  <a:lnTo>
                    <a:pt x="34" y="573"/>
                  </a:lnTo>
                  <a:lnTo>
                    <a:pt x="16" y="542"/>
                  </a:lnTo>
                  <a:lnTo>
                    <a:pt x="0" y="509"/>
                  </a:lnTo>
                  <a:lnTo>
                    <a:pt x="297" y="509"/>
                  </a:lnTo>
                  <a:lnTo>
                    <a:pt x="314" y="506"/>
                  </a:lnTo>
                  <a:lnTo>
                    <a:pt x="327" y="499"/>
                  </a:lnTo>
                  <a:lnTo>
                    <a:pt x="339" y="488"/>
                  </a:lnTo>
                  <a:lnTo>
                    <a:pt x="346" y="474"/>
                  </a:lnTo>
                  <a:lnTo>
                    <a:pt x="349" y="457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56" tIns="45728" rIns="91456" bIns="4572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"/>
            <p:cNvSpPr>
              <a:spLocks noEditPoints="1"/>
            </p:cNvSpPr>
            <p:nvPr/>
          </p:nvSpPr>
          <p:spPr bwMode="auto">
            <a:xfrm>
              <a:off x="3656747" y="1920877"/>
              <a:ext cx="1031875" cy="522288"/>
            </a:xfrm>
            <a:custGeom>
              <a:avLst/>
              <a:gdLst>
                <a:gd name="T0" fmla="*/ 650 w 650"/>
                <a:gd name="T1" fmla="*/ 237 h 329"/>
                <a:gd name="T2" fmla="*/ 516 w 650"/>
                <a:gd name="T3" fmla="*/ 237 h 329"/>
                <a:gd name="T4" fmla="*/ 516 w 650"/>
                <a:gd name="T5" fmla="*/ 237 h 329"/>
                <a:gd name="T6" fmla="*/ 650 w 650"/>
                <a:gd name="T7" fmla="*/ 237 h 329"/>
                <a:gd name="T8" fmla="*/ 92 w 650"/>
                <a:gd name="T9" fmla="*/ 0 h 329"/>
                <a:gd name="T10" fmla="*/ 92 w 650"/>
                <a:gd name="T11" fmla="*/ 185 h 329"/>
                <a:gd name="T12" fmla="*/ 95 w 650"/>
                <a:gd name="T13" fmla="*/ 202 h 329"/>
                <a:gd name="T14" fmla="*/ 102 w 650"/>
                <a:gd name="T15" fmla="*/ 216 h 329"/>
                <a:gd name="T16" fmla="*/ 114 w 650"/>
                <a:gd name="T17" fmla="*/ 227 h 329"/>
                <a:gd name="T18" fmla="*/ 127 w 650"/>
                <a:gd name="T19" fmla="*/ 234 h 329"/>
                <a:gd name="T20" fmla="*/ 144 w 650"/>
                <a:gd name="T21" fmla="*/ 237 h 329"/>
                <a:gd name="T22" fmla="*/ 516 w 650"/>
                <a:gd name="T23" fmla="*/ 237 h 329"/>
                <a:gd name="T24" fmla="*/ 532 w 650"/>
                <a:gd name="T25" fmla="*/ 270 h 329"/>
                <a:gd name="T26" fmla="*/ 550 w 650"/>
                <a:gd name="T27" fmla="*/ 301 h 329"/>
                <a:gd name="T28" fmla="*/ 572 w 650"/>
                <a:gd name="T29" fmla="*/ 329 h 329"/>
                <a:gd name="T30" fmla="*/ 144 w 650"/>
                <a:gd name="T31" fmla="*/ 329 h 329"/>
                <a:gd name="T32" fmla="*/ 144 w 650"/>
                <a:gd name="T33" fmla="*/ 329 h 329"/>
                <a:gd name="T34" fmla="*/ 115 w 650"/>
                <a:gd name="T35" fmla="*/ 326 h 329"/>
                <a:gd name="T36" fmla="*/ 88 w 650"/>
                <a:gd name="T37" fmla="*/ 318 h 329"/>
                <a:gd name="T38" fmla="*/ 64 w 650"/>
                <a:gd name="T39" fmla="*/ 305 h 329"/>
                <a:gd name="T40" fmla="*/ 43 w 650"/>
                <a:gd name="T41" fmla="*/ 287 h 329"/>
                <a:gd name="T42" fmla="*/ 25 w 650"/>
                <a:gd name="T43" fmla="*/ 266 h 329"/>
                <a:gd name="T44" fmla="*/ 12 w 650"/>
                <a:gd name="T45" fmla="*/ 242 h 329"/>
                <a:gd name="T46" fmla="*/ 3 w 650"/>
                <a:gd name="T47" fmla="*/ 215 h 329"/>
                <a:gd name="T48" fmla="*/ 0 w 650"/>
                <a:gd name="T49" fmla="*/ 185 h 329"/>
                <a:gd name="T50" fmla="*/ 0 w 650"/>
                <a:gd name="T51" fmla="*/ 105 h 329"/>
                <a:gd name="T52" fmla="*/ 44 w 650"/>
                <a:gd name="T53" fmla="*/ 51 h 329"/>
                <a:gd name="T54" fmla="*/ 92 w 650"/>
                <a:gd name="T55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0" h="329">
                  <a:moveTo>
                    <a:pt x="650" y="237"/>
                  </a:moveTo>
                  <a:lnTo>
                    <a:pt x="516" y="237"/>
                  </a:lnTo>
                  <a:lnTo>
                    <a:pt x="516" y="237"/>
                  </a:lnTo>
                  <a:lnTo>
                    <a:pt x="650" y="237"/>
                  </a:lnTo>
                  <a:close/>
                  <a:moveTo>
                    <a:pt x="92" y="0"/>
                  </a:moveTo>
                  <a:lnTo>
                    <a:pt x="92" y="185"/>
                  </a:lnTo>
                  <a:lnTo>
                    <a:pt x="95" y="202"/>
                  </a:lnTo>
                  <a:lnTo>
                    <a:pt x="102" y="216"/>
                  </a:lnTo>
                  <a:lnTo>
                    <a:pt x="114" y="227"/>
                  </a:lnTo>
                  <a:lnTo>
                    <a:pt x="127" y="234"/>
                  </a:lnTo>
                  <a:lnTo>
                    <a:pt x="144" y="237"/>
                  </a:lnTo>
                  <a:lnTo>
                    <a:pt x="516" y="237"/>
                  </a:lnTo>
                  <a:lnTo>
                    <a:pt x="532" y="270"/>
                  </a:lnTo>
                  <a:lnTo>
                    <a:pt x="550" y="301"/>
                  </a:lnTo>
                  <a:lnTo>
                    <a:pt x="572" y="329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15" y="326"/>
                  </a:lnTo>
                  <a:lnTo>
                    <a:pt x="88" y="318"/>
                  </a:lnTo>
                  <a:lnTo>
                    <a:pt x="64" y="305"/>
                  </a:lnTo>
                  <a:lnTo>
                    <a:pt x="43" y="287"/>
                  </a:lnTo>
                  <a:lnTo>
                    <a:pt x="25" y="266"/>
                  </a:lnTo>
                  <a:lnTo>
                    <a:pt x="12" y="242"/>
                  </a:lnTo>
                  <a:lnTo>
                    <a:pt x="3" y="215"/>
                  </a:lnTo>
                  <a:lnTo>
                    <a:pt x="0" y="185"/>
                  </a:lnTo>
                  <a:lnTo>
                    <a:pt x="0" y="105"/>
                  </a:lnTo>
                  <a:lnTo>
                    <a:pt x="44" y="51"/>
                  </a:lnTo>
                  <a:lnTo>
                    <a:pt x="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56" tIns="45728" rIns="91456" bIns="4572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" name="Rectangle 47"/>
          <p:cNvSpPr/>
          <p:nvPr/>
        </p:nvSpPr>
        <p:spPr>
          <a:xfrm>
            <a:off x="5174666" y="1385617"/>
            <a:ext cx="10406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4400" b="1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Al Bayan Plain" charset="-78"/>
                <a:ea typeface="Al Bayan Plain" charset="-78"/>
                <a:cs typeface="Al Bayan Plain" charset="-78"/>
              </a:rPr>
              <a:t>ALE</a:t>
            </a:r>
            <a:endParaRPr lang="fr-FR" sz="8000" b="1" dirty="0">
              <a:solidFill>
                <a:schemeClr val="accent4">
                  <a:lumMod val="60000"/>
                  <a:lumOff val="40000"/>
                </a:schemeClr>
              </a:solidFill>
              <a:latin typeface="Al Bayan Plain" charset="-78"/>
              <a:ea typeface="Al Bayan Plain" charset="-78"/>
              <a:cs typeface="Al Bayan Plain" charset="-78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799430" y="1280341"/>
            <a:ext cx="154561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800" dirty="0" smtClean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rPr>
              <a:t>RAINBOW</a:t>
            </a:r>
            <a:endParaRPr lang="fr-FR" sz="2800" dirty="0">
              <a:solidFill>
                <a:schemeClr val="accent5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490940" y="2398644"/>
            <a:ext cx="118814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4000" b="1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  <a:ea typeface="Al Bayan Plain" charset="-78"/>
                <a:cs typeface="Al Bayan Plain" charset="-78"/>
              </a:rPr>
              <a:t>HUB</a:t>
            </a:r>
            <a:endParaRPr lang="fr-FR" sz="8000" b="1" dirty="0">
              <a:solidFill>
                <a:schemeClr val="accent4">
                  <a:lumMod val="60000"/>
                  <a:lumOff val="40000"/>
                </a:schemeClr>
              </a:solidFill>
              <a:latin typeface="+mj-lt"/>
              <a:ea typeface="Al Bayan Plain" charset="-78"/>
              <a:cs typeface="Al Bayan Plain" charset="-78"/>
            </a:endParaRPr>
          </a:p>
        </p:txBody>
      </p:sp>
      <p:sp>
        <p:nvSpPr>
          <p:cNvPr id="51" name="Rectangle 50"/>
          <p:cNvSpPr/>
          <p:nvPr/>
        </p:nvSpPr>
        <p:spPr>
          <a:xfrm rot="16200000">
            <a:off x="8062509" y="2756248"/>
            <a:ext cx="12955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2000" b="1" smtClean="0">
                <a:solidFill>
                  <a:srgbClr val="FFFFFF"/>
                </a:solidFill>
              </a:rPr>
              <a:t>WEBRTC</a:t>
            </a:r>
            <a:endParaRPr lang="fr-FR" sz="1600" b="1" dirty="0">
              <a:solidFill>
                <a:srgbClr val="FFFFFF"/>
              </a:solidFill>
            </a:endParaRPr>
          </a:p>
        </p:txBody>
      </p:sp>
      <p:sp>
        <p:nvSpPr>
          <p:cNvPr id="52" name="Rectangle 54"/>
          <p:cNvSpPr/>
          <p:nvPr/>
        </p:nvSpPr>
        <p:spPr>
          <a:xfrm>
            <a:off x="7628768" y="3218033"/>
            <a:ext cx="719386" cy="36933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45720" tIns="45720" rIns="45720" bIns="45720" numCol="1" anchor="t">
            <a:spAutoFit/>
          </a:bodyPr>
          <a:lstStyle>
            <a:lvl1pPr algn="ctr">
              <a:spcBef>
                <a:spcPts val="2200"/>
              </a:spcBef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fr-FR" sz="1800" dirty="0" smtClean="0">
                <a:solidFill>
                  <a:srgbClr val="FFFF00"/>
                </a:solidFill>
                <a:latin typeface="Impact" charset="0"/>
                <a:ea typeface="Impact" charset="0"/>
                <a:cs typeface="Impact" charset="0"/>
              </a:rPr>
              <a:t>TURN</a:t>
            </a:r>
            <a:endParaRPr sz="1800" dirty="0">
              <a:solidFill>
                <a:srgbClr val="FFFF00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90" name="Rectangle 89"/>
          <p:cNvSpPr/>
          <p:nvPr/>
        </p:nvSpPr>
        <p:spPr>
          <a:xfrm rot="16200000">
            <a:off x="8103358" y="3048329"/>
            <a:ext cx="7296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smtClean="0">
                <a:solidFill>
                  <a:schemeClr val="bg2">
                    <a:lumMod val="60000"/>
                    <a:lumOff val="40000"/>
                  </a:schemeClr>
                </a:solidFill>
                <a:latin typeface="Cooper Black" charset="0"/>
                <a:ea typeface="Cooper Black" charset="0"/>
                <a:cs typeface="Cooper Black" charset="0"/>
              </a:rPr>
              <a:t>SFU</a:t>
            </a:r>
            <a:endParaRPr lang="fr-FR" sz="2000" dirty="0">
              <a:solidFill>
                <a:schemeClr val="bg2">
                  <a:lumMod val="60000"/>
                  <a:lumOff val="40000"/>
                </a:schemeClr>
              </a:solidFill>
              <a:latin typeface="Cooper Black" charset="0"/>
              <a:ea typeface="Cooper Black" charset="0"/>
              <a:cs typeface="Cooper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2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tabLst>
                <a:tab pos="1257300" algn="l"/>
              </a:tabLst>
            </a:pPr>
            <a:r>
              <a:rPr lang="fr-FR" sz="1800" b="0" dirty="0" smtClean="0">
                <a:solidFill>
                  <a:schemeClr val="bg1"/>
                </a:solidFill>
                <a:latin typeface="+mj-lt"/>
              </a:rPr>
              <a:t>BY USING GAME-CHANGING TECHNOLOGY AT THE CORE OF BUSINESS PROCESSES</a:t>
            </a:r>
            <a:endParaRPr lang="en-US" sz="1800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8" name="Titre 15"/>
          <p:cNvSpPr txBox="1">
            <a:spLocks/>
          </p:cNvSpPr>
          <p:nvPr/>
        </p:nvSpPr>
        <p:spPr>
          <a:xfrm>
            <a:off x="-208234" y="1050187"/>
            <a:ext cx="3200816" cy="46355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algn="r"/>
            <a:r>
              <a:rPr lang="fr-FR" sz="1800" b="0" i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1) RE-IMAGINE </a:t>
            </a:r>
            <a:r>
              <a:rPr lang="fr-FR" sz="1800" b="0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YOUR TOOLS</a:t>
            </a:r>
            <a:endParaRPr lang="fr-FR" sz="1800" b="0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90" name="Group 4"/>
          <p:cNvGrpSpPr>
            <a:grpSpLocks noChangeAspect="1"/>
          </p:cNvGrpSpPr>
          <p:nvPr/>
        </p:nvGrpSpPr>
        <p:grpSpPr bwMode="auto">
          <a:xfrm flipV="1">
            <a:off x="2673351" y="1188904"/>
            <a:ext cx="3497588" cy="3498668"/>
            <a:chOff x="1260" y="1"/>
            <a:chExt cx="3238" cy="3239"/>
          </a:xfrm>
        </p:grpSpPr>
        <p:sp>
          <p:nvSpPr>
            <p:cNvPr id="91" name="Freeform 6"/>
            <p:cNvSpPr>
              <a:spLocks/>
            </p:cNvSpPr>
            <p:nvPr/>
          </p:nvSpPr>
          <p:spPr bwMode="auto">
            <a:xfrm>
              <a:off x="1260" y="456"/>
              <a:ext cx="1619" cy="2721"/>
            </a:xfrm>
            <a:custGeom>
              <a:avLst/>
              <a:gdLst>
                <a:gd name="T0" fmla="*/ 990 w 3238"/>
                <a:gd name="T1" fmla="*/ 0 h 5443"/>
                <a:gd name="T2" fmla="*/ 3238 w 3238"/>
                <a:gd name="T3" fmla="*/ 3894 h 5443"/>
                <a:gd name="T4" fmla="*/ 2345 w 3238"/>
                <a:gd name="T5" fmla="*/ 5443 h 5443"/>
                <a:gd name="T6" fmla="*/ 2180 w 3238"/>
                <a:gd name="T7" fmla="*/ 5390 h 5443"/>
                <a:gd name="T8" fmla="*/ 2017 w 3238"/>
                <a:gd name="T9" fmla="*/ 5329 h 5443"/>
                <a:gd name="T10" fmla="*/ 1858 w 3238"/>
                <a:gd name="T11" fmla="*/ 5261 h 5443"/>
                <a:gd name="T12" fmla="*/ 1702 w 3238"/>
                <a:gd name="T13" fmla="*/ 5182 h 5443"/>
                <a:gd name="T14" fmla="*/ 1551 w 3238"/>
                <a:gd name="T15" fmla="*/ 5096 h 5443"/>
                <a:gd name="T16" fmla="*/ 1404 w 3238"/>
                <a:gd name="T17" fmla="*/ 5000 h 5443"/>
                <a:gd name="T18" fmla="*/ 1263 w 3238"/>
                <a:gd name="T19" fmla="*/ 4895 h 5443"/>
                <a:gd name="T20" fmla="*/ 1125 w 3238"/>
                <a:gd name="T21" fmla="*/ 4786 h 5443"/>
                <a:gd name="T22" fmla="*/ 994 w 3238"/>
                <a:gd name="T23" fmla="*/ 4666 h 5443"/>
                <a:gd name="T24" fmla="*/ 868 w 3238"/>
                <a:gd name="T25" fmla="*/ 4538 h 5443"/>
                <a:gd name="T26" fmla="*/ 748 w 3238"/>
                <a:gd name="T27" fmla="*/ 4403 h 5443"/>
                <a:gd name="T28" fmla="*/ 636 w 3238"/>
                <a:gd name="T29" fmla="*/ 4259 h 5443"/>
                <a:gd name="T30" fmla="*/ 532 w 3238"/>
                <a:gd name="T31" fmla="*/ 4108 h 5443"/>
                <a:gd name="T32" fmla="*/ 434 w 3238"/>
                <a:gd name="T33" fmla="*/ 3949 h 5443"/>
                <a:gd name="T34" fmla="*/ 346 w 3238"/>
                <a:gd name="T35" fmla="*/ 3784 h 5443"/>
                <a:gd name="T36" fmla="*/ 265 w 3238"/>
                <a:gd name="T37" fmla="*/ 3615 h 5443"/>
                <a:gd name="T38" fmla="*/ 196 w 3238"/>
                <a:gd name="T39" fmla="*/ 3444 h 5443"/>
                <a:gd name="T40" fmla="*/ 139 w 3238"/>
                <a:gd name="T41" fmla="*/ 3270 h 5443"/>
                <a:gd name="T42" fmla="*/ 90 w 3238"/>
                <a:gd name="T43" fmla="*/ 3095 h 5443"/>
                <a:gd name="T44" fmla="*/ 53 w 3238"/>
                <a:gd name="T45" fmla="*/ 2920 h 5443"/>
                <a:gd name="T46" fmla="*/ 26 w 3238"/>
                <a:gd name="T47" fmla="*/ 2743 h 5443"/>
                <a:gd name="T48" fmla="*/ 8 w 3238"/>
                <a:gd name="T49" fmla="*/ 2565 h 5443"/>
                <a:gd name="T50" fmla="*/ 0 w 3238"/>
                <a:gd name="T51" fmla="*/ 2388 h 5443"/>
                <a:gd name="T52" fmla="*/ 2 w 3238"/>
                <a:gd name="T53" fmla="*/ 2211 h 5443"/>
                <a:gd name="T54" fmla="*/ 14 w 3238"/>
                <a:gd name="T55" fmla="*/ 2034 h 5443"/>
                <a:gd name="T56" fmla="*/ 35 w 3238"/>
                <a:gd name="T57" fmla="*/ 1860 h 5443"/>
                <a:gd name="T58" fmla="*/ 65 w 3238"/>
                <a:gd name="T59" fmla="*/ 1687 h 5443"/>
                <a:gd name="T60" fmla="*/ 104 w 3238"/>
                <a:gd name="T61" fmla="*/ 1514 h 5443"/>
                <a:gd name="T62" fmla="*/ 153 w 3238"/>
                <a:gd name="T63" fmla="*/ 1345 h 5443"/>
                <a:gd name="T64" fmla="*/ 212 w 3238"/>
                <a:gd name="T65" fmla="*/ 1180 h 5443"/>
                <a:gd name="T66" fmla="*/ 279 w 3238"/>
                <a:gd name="T67" fmla="*/ 1017 h 5443"/>
                <a:gd name="T68" fmla="*/ 355 w 3238"/>
                <a:gd name="T69" fmla="*/ 856 h 5443"/>
                <a:gd name="T70" fmla="*/ 440 w 3238"/>
                <a:gd name="T71" fmla="*/ 701 h 5443"/>
                <a:gd name="T72" fmla="*/ 532 w 3238"/>
                <a:gd name="T73" fmla="*/ 550 h 5443"/>
                <a:gd name="T74" fmla="*/ 634 w 3238"/>
                <a:gd name="T75" fmla="*/ 405 h 5443"/>
                <a:gd name="T76" fmla="*/ 744 w 3238"/>
                <a:gd name="T77" fmla="*/ 263 h 5443"/>
                <a:gd name="T78" fmla="*/ 864 w 3238"/>
                <a:gd name="T79" fmla="*/ 128 h 5443"/>
                <a:gd name="T80" fmla="*/ 990 w 3238"/>
                <a:gd name="T81" fmla="*/ 0 h 5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38" h="5443">
                  <a:moveTo>
                    <a:pt x="990" y="0"/>
                  </a:moveTo>
                  <a:lnTo>
                    <a:pt x="3238" y="3894"/>
                  </a:lnTo>
                  <a:lnTo>
                    <a:pt x="2345" y="5443"/>
                  </a:lnTo>
                  <a:lnTo>
                    <a:pt x="2180" y="5390"/>
                  </a:lnTo>
                  <a:lnTo>
                    <a:pt x="2017" y="5329"/>
                  </a:lnTo>
                  <a:lnTo>
                    <a:pt x="1858" y="5261"/>
                  </a:lnTo>
                  <a:lnTo>
                    <a:pt x="1702" y="5182"/>
                  </a:lnTo>
                  <a:lnTo>
                    <a:pt x="1551" y="5096"/>
                  </a:lnTo>
                  <a:lnTo>
                    <a:pt x="1404" y="5000"/>
                  </a:lnTo>
                  <a:lnTo>
                    <a:pt x="1263" y="4895"/>
                  </a:lnTo>
                  <a:lnTo>
                    <a:pt x="1125" y="4786"/>
                  </a:lnTo>
                  <a:lnTo>
                    <a:pt x="994" y="4666"/>
                  </a:lnTo>
                  <a:lnTo>
                    <a:pt x="868" y="4538"/>
                  </a:lnTo>
                  <a:lnTo>
                    <a:pt x="748" y="4403"/>
                  </a:lnTo>
                  <a:lnTo>
                    <a:pt x="636" y="4259"/>
                  </a:lnTo>
                  <a:lnTo>
                    <a:pt x="532" y="4108"/>
                  </a:lnTo>
                  <a:lnTo>
                    <a:pt x="434" y="3949"/>
                  </a:lnTo>
                  <a:lnTo>
                    <a:pt x="346" y="3784"/>
                  </a:lnTo>
                  <a:lnTo>
                    <a:pt x="265" y="3615"/>
                  </a:lnTo>
                  <a:lnTo>
                    <a:pt x="196" y="3444"/>
                  </a:lnTo>
                  <a:lnTo>
                    <a:pt x="139" y="3270"/>
                  </a:lnTo>
                  <a:lnTo>
                    <a:pt x="90" y="3095"/>
                  </a:lnTo>
                  <a:lnTo>
                    <a:pt x="53" y="2920"/>
                  </a:lnTo>
                  <a:lnTo>
                    <a:pt x="26" y="2743"/>
                  </a:lnTo>
                  <a:lnTo>
                    <a:pt x="8" y="2565"/>
                  </a:lnTo>
                  <a:lnTo>
                    <a:pt x="0" y="2388"/>
                  </a:lnTo>
                  <a:lnTo>
                    <a:pt x="2" y="2211"/>
                  </a:lnTo>
                  <a:lnTo>
                    <a:pt x="14" y="2034"/>
                  </a:lnTo>
                  <a:lnTo>
                    <a:pt x="35" y="1860"/>
                  </a:lnTo>
                  <a:lnTo>
                    <a:pt x="65" y="1687"/>
                  </a:lnTo>
                  <a:lnTo>
                    <a:pt x="104" y="1514"/>
                  </a:lnTo>
                  <a:lnTo>
                    <a:pt x="153" y="1345"/>
                  </a:lnTo>
                  <a:lnTo>
                    <a:pt x="212" y="1180"/>
                  </a:lnTo>
                  <a:lnTo>
                    <a:pt x="279" y="1017"/>
                  </a:lnTo>
                  <a:lnTo>
                    <a:pt x="355" y="856"/>
                  </a:lnTo>
                  <a:lnTo>
                    <a:pt x="440" y="701"/>
                  </a:lnTo>
                  <a:lnTo>
                    <a:pt x="532" y="550"/>
                  </a:lnTo>
                  <a:lnTo>
                    <a:pt x="634" y="405"/>
                  </a:lnTo>
                  <a:lnTo>
                    <a:pt x="744" y="263"/>
                  </a:lnTo>
                  <a:lnTo>
                    <a:pt x="864" y="128"/>
                  </a:lnTo>
                  <a:lnTo>
                    <a:pt x="990" y="0"/>
                  </a:lnTo>
                  <a:close/>
                </a:path>
              </a:pathLst>
            </a:custGeom>
            <a:blipFill dpi="0" rotWithShape="0">
              <a:blip r:embed="rId3" cstate="print"/>
              <a:srcRect/>
              <a:stretch>
                <a:fillRect l="-112105" t="-2" r="-23547" b="1201"/>
              </a:stretch>
            </a:blipFill>
            <a:ln w="28575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92" name="Freeform 7"/>
            <p:cNvSpPr>
              <a:spLocks/>
            </p:cNvSpPr>
            <p:nvPr/>
          </p:nvSpPr>
          <p:spPr bwMode="auto">
            <a:xfrm>
              <a:off x="2432" y="1229"/>
              <a:ext cx="2066" cy="2011"/>
            </a:xfrm>
            <a:custGeom>
              <a:avLst/>
              <a:gdLst>
                <a:gd name="T0" fmla="*/ 2248 w 4131"/>
                <a:gd name="T1" fmla="*/ 0 h 4022"/>
                <a:gd name="T2" fmla="*/ 4037 w 4131"/>
                <a:gd name="T3" fmla="*/ 0 h 4022"/>
                <a:gd name="T4" fmla="*/ 4074 w 4131"/>
                <a:gd name="T5" fmla="*/ 171 h 4022"/>
                <a:gd name="T6" fmla="*/ 4102 w 4131"/>
                <a:gd name="T7" fmla="*/ 342 h 4022"/>
                <a:gd name="T8" fmla="*/ 4121 w 4131"/>
                <a:gd name="T9" fmla="*/ 515 h 4022"/>
                <a:gd name="T10" fmla="*/ 4131 w 4131"/>
                <a:gd name="T11" fmla="*/ 688 h 4022"/>
                <a:gd name="T12" fmla="*/ 4131 w 4131"/>
                <a:gd name="T13" fmla="*/ 863 h 4022"/>
                <a:gd name="T14" fmla="*/ 4123 w 4131"/>
                <a:gd name="T15" fmla="*/ 1037 h 4022"/>
                <a:gd name="T16" fmla="*/ 4106 w 4131"/>
                <a:gd name="T17" fmla="*/ 1212 h 4022"/>
                <a:gd name="T18" fmla="*/ 4076 w 4131"/>
                <a:gd name="T19" fmla="*/ 1387 h 4022"/>
                <a:gd name="T20" fmla="*/ 4039 w 4131"/>
                <a:gd name="T21" fmla="*/ 1560 h 4022"/>
                <a:gd name="T22" fmla="*/ 3992 w 4131"/>
                <a:gd name="T23" fmla="*/ 1732 h 4022"/>
                <a:gd name="T24" fmla="*/ 3933 w 4131"/>
                <a:gd name="T25" fmla="*/ 1903 h 4022"/>
                <a:gd name="T26" fmla="*/ 3864 w 4131"/>
                <a:gd name="T27" fmla="*/ 2072 h 4022"/>
                <a:gd name="T28" fmla="*/ 3787 w 4131"/>
                <a:gd name="T29" fmla="*/ 2239 h 4022"/>
                <a:gd name="T30" fmla="*/ 3699 w 4131"/>
                <a:gd name="T31" fmla="*/ 2402 h 4022"/>
                <a:gd name="T32" fmla="*/ 3603 w 4131"/>
                <a:gd name="T33" fmla="*/ 2557 h 4022"/>
                <a:gd name="T34" fmla="*/ 3501 w 4131"/>
                <a:gd name="T35" fmla="*/ 2704 h 4022"/>
                <a:gd name="T36" fmla="*/ 3393 w 4131"/>
                <a:gd name="T37" fmla="*/ 2844 h 4022"/>
                <a:gd name="T38" fmla="*/ 3277 w 4131"/>
                <a:gd name="T39" fmla="*/ 2975 h 4022"/>
                <a:gd name="T40" fmla="*/ 3157 w 4131"/>
                <a:gd name="T41" fmla="*/ 3101 h 4022"/>
                <a:gd name="T42" fmla="*/ 3029 w 4131"/>
                <a:gd name="T43" fmla="*/ 3219 h 4022"/>
                <a:gd name="T44" fmla="*/ 2896 w 4131"/>
                <a:gd name="T45" fmla="*/ 3329 h 4022"/>
                <a:gd name="T46" fmla="*/ 2758 w 4131"/>
                <a:gd name="T47" fmla="*/ 3431 h 4022"/>
                <a:gd name="T48" fmla="*/ 2617 w 4131"/>
                <a:gd name="T49" fmla="*/ 3525 h 4022"/>
                <a:gd name="T50" fmla="*/ 2470 w 4131"/>
                <a:gd name="T51" fmla="*/ 3612 h 4022"/>
                <a:gd name="T52" fmla="*/ 2321 w 4131"/>
                <a:gd name="T53" fmla="*/ 3690 h 4022"/>
                <a:gd name="T54" fmla="*/ 2165 w 4131"/>
                <a:gd name="T55" fmla="*/ 3761 h 4022"/>
                <a:gd name="T56" fmla="*/ 2008 w 4131"/>
                <a:gd name="T57" fmla="*/ 3824 h 4022"/>
                <a:gd name="T58" fmla="*/ 1849 w 4131"/>
                <a:gd name="T59" fmla="*/ 3877 h 4022"/>
                <a:gd name="T60" fmla="*/ 1686 w 4131"/>
                <a:gd name="T61" fmla="*/ 3924 h 4022"/>
                <a:gd name="T62" fmla="*/ 1521 w 4131"/>
                <a:gd name="T63" fmla="*/ 3959 h 4022"/>
                <a:gd name="T64" fmla="*/ 1354 w 4131"/>
                <a:gd name="T65" fmla="*/ 3989 h 4022"/>
                <a:gd name="T66" fmla="*/ 1188 w 4131"/>
                <a:gd name="T67" fmla="*/ 4008 h 4022"/>
                <a:gd name="T68" fmla="*/ 1017 w 4131"/>
                <a:gd name="T69" fmla="*/ 4020 h 4022"/>
                <a:gd name="T70" fmla="*/ 848 w 4131"/>
                <a:gd name="T71" fmla="*/ 4022 h 4022"/>
                <a:gd name="T72" fmla="*/ 677 w 4131"/>
                <a:gd name="T73" fmla="*/ 4014 h 4022"/>
                <a:gd name="T74" fmla="*/ 506 w 4131"/>
                <a:gd name="T75" fmla="*/ 3998 h 4022"/>
                <a:gd name="T76" fmla="*/ 337 w 4131"/>
                <a:gd name="T77" fmla="*/ 3975 h 4022"/>
                <a:gd name="T78" fmla="*/ 168 w 4131"/>
                <a:gd name="T79" fmla="*/ 3940 h 4022"/>
                <a:gd name="T80" fmla="*/ 0 w 4131"/>
                <a:gd name="T81" fmla="*/ 3896 h 4022"/>
                <a:gd name="T82" fmla="*/ 2248 w 4131"/>
                <a:gd name="T83" fmla="*/ 0 h 4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31" h="4022">
                  <a:moveTo>
                    <a:pt x="2248" y="0"/>
                  </a:moveTo>
                  <a:lnTo>
                    <a:pt x="4037" y="0"/>
                  </a:lnTo>
                  <a:lnTo>
                    <a:pt x="4074" y="171"/>
                  </a:lnTo>
                  <a:lnTo>
                    <a:pt x="4102" y="342"/>
                  </a:lnTo>
                  <a:lnTo>
                    <a:pt x="4121" y="515"/>
                  </a:lnTo>
                  <a:lnTo>
                    <a:pt x="4131" y="688"/>
                  </a:lnTo>
                  <a:lnTo>
                    <a:pt x="4131" y="863"/>
                  </a:lnTo>
                  <a:lnTo>
                    <a:pt x="4123" y="1037"/>
                  </a:lnTo>
                  <a:lnTo>
                    <a:pt x="4106" y="1212"/>
                  </a:lnTo>
                  <a:lnTo>
                    <a:pt x="4076" y="1387"/>
                  </a:lnTo>
                  <a:lnTo>
                    <a:pt x="4039" y="1560"/>
                  </a:lnTo>
                  <a:lnTo>
                    <a:pt x="3992" y="1732"/>
                  </a:lnTo>
                  <a:lnTo>
                    <a:pt x="3933" y="1903"/>
                  </a:lnTo>
                  <a:lnTo>
                    <a:pt x="3864" y="2072"/>
                  </a:lnTo>
                  <a:lnTo>
                    <a:pt x="3787" y="2239"/>
                  </a:lnTo>
                  <a:lnTo>
                    <a:pt x="3699" y="2402"/>
                  </a:lnTo>
                  <a:lnTo>
                    <a:pt x="3603" y="2557"/>
                  </a:lnTo>
                  <a:lnTo>
                    <a:pt x="3501" y="2704"/>
                  </a:lnTo>
                  <a:lnTo>
                    <a:pt x="3393" y="2844"/>
                  </a:lnTo>
                  <a:lnTo>
                    <a:pt x="3277" y="2975"/>
                  </a:lnTo>
                  <a:lnTo>
                    <a:pt x="3157" y="3101"/>
                  </a:lnTo>
                  <a:lnTo>
                    <a:pt x="3029" y="3219"/>
                  </a:lnTo>
                  <a:lnTo>
                    <a:pt x="2896" y="3329"/>
                  </a:lnTo>
                  <a:lnTo>
                    <a:pt x="2758" y="3431"/>
                  </a:lnTo>
                  <a:lnTo>
                    <a:pt x="2617" y="3525"/>
                  </a:lnTo>
                  <a:lnTo>
                    <a:pt x="2470" y="3612"/>
                  </a:lnTo>
                  <a:lnTo>
                    <a:pt x="2321" y="3690"/>
                  </a:lnTo>
                  <a:lnTo>
                    <a:pt x="2165" y="3761"/>
                  </a:lnTo>
                  <a:lnTo>
                    <a:pt x="2008" y="3824"/>
                  </a:lnTo>
                  <a:lnTo>
                    <a:pt x="1849" y="3877"/>
                  </a:lnTo>
                  <a:lnTo>
                    <a:pt x="1686" y="3924"/>
                  </a:lnTo>
                  <a:lnTo>
                    <a:pt x="1521" y="3959"/>
                  </a:lnTo>
                  <a:lnTo>
                    <a:pt x="1354" y="3989"/>
                  </a:lnTo>
                  <a:lnTo>
                    <a:pt x="1188" y="4008"/>
                  </a:lnTo>
                  <a:lnTo>
                    <a:pt x="1017" y="4020"/>
                  </a:lnTo>
                  <a:lnTo>
                    <a:pt x="848" y="4022"/>
                  </a:lnTo>
                  <a:lnTo>
                    <a:pt x="677" y="4014"/>
                  </a:lnTo>
                  <a:lnTo>
                    <a:pt x="506" y="3998"/>
                  </a:lnTo>
                  <a:lnTo>
                    <a:pt x="337" y="3975"/>
                  </a:lnTo>
                  <a:lnTo>
                    <a:pt x="168" y="3940"/>
                  </a:lnTo>
                  <a:lnTo>
                    <a:pt x="0" y="3896"/>
                  </a:lnTo>
                  <a:lnTo>
                    <a:pt x="2248" y="0"/>
                  </a:lnTo>
                  <a:close/>
                </a:path>
              </a:pathLst>
            </a:custGeom>
            <a:blipFill dpi="0" rotWithShape="0">
              <a:blip r:embed="rId4" cstate="print"/>
              <a:srcRect/>
              <a:stretch>
                <a:fillRect l="-23004" r="-23004"/>
              </a:stretch>
            </a:blipFill>
            <a:ln w="28575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93" name="Freeform 8"/>
            <p:cNvSpPr>
              <a:spLocks/>
            </p:cNvSpPr>
            <p:nvPr/>
          </p:nvSpPr>
          <p:spPr bwMode="auto">
            <a:xfrm>
              <a:off x="1755" y="1"/>
              <a:ext cx="2696" cy="1228"/>
            </a:xfrm>
            <a:custGeom>
              <a:avLst/>
              <a:gdLst>
                <a:gd name="T0" fmla="*/ 2248 w 5392"/>
                <a:gd name="T1" fmla="*/ 0 h 2456"/>
                <a:gd name="T2" fmla="*/ 2446 w 5392"/>
                <a:gd name="T3" fmla="*/ 6 h 2456"/>
                <a:gd name="T4" fmla="*/ 2639 w 5392"/>
                <a:gd name="T5" fmla="*/ 24 h 2456"/>
                <a:gd name="T6" fmla="*/ 2829 w 5392"/>
                <a:gd name="T7" fmla="*/ 53 h 2456"/>
                <a:gd name="T8" fmla="*/ 3016 w 5392"/>
                <a:gd name="T9" fmla="*/ 92 h 2456"/>
                <a:gd name="T10" fmla="*/ 3198 w 5392"/>
                <a:gd name="T11" fmla="*/ 141 h 2456"/>
                <a:gd name="T12" fmla="*/ 3375 w 5392"/>
                <a:gd name="T13" fmla="*/ 202 h 2456"/>
                <a:gd name="T14" fmla="*/ 3548 w 5392"/>
                <a:gd name="T15" fmla="*/ 273 h 2456"/>
                <a:gd name="T16" fmla="*/ 3717 w 5392"/>
                <a:gd name="T17" fmla="*/ 351 h 2456"/>
                <a:gd name="T18" fmla="*/ 3880 w 5392"/>
                <a:gd name="T19" fmla="*/ 440 h 2456"/>
                <a:gd name="T20" fmla="*/ 4035 w 5392"/>
                <a:gd name="T21" fmla="*/ 538 h 2456"/>
                <a:gd name="T22" fmla="*/ 4186 w 5392"/>
                <a:gd name="T23" fmla="*/ 644 h 2456"/>
                <a:gd name="T24" fmla="*/ 4329 w 5392"/>
                <a:gd name="T25" fmla="*/ 758 h 2456"/>
                <a:gd name="T26" fmla="*/ 4467 w 5392"/>
                <a:gd name="T27" fmla="*/ 880 h 2456"/>
                <a:gd name="T28" fmla="*/ 4599 w 5392"/>
                <a:gd name="T29" fmla="*/ 1009 h 2456"/>
                <a:gd name="T30" fmla="*/ 4720 w 5392"/>
                <a:gd name="T31" fmla="*/ 1147 h 2456"/>
                <a:gd name="T32" fmla="*/ 4836 w 5392"/>
                <a:gd name="T33" fmla="*/ 1290 h 2456"/>
                <a:gd name="T34" fmla="*/ 4942 w 5392"/>
                <a:gd name="T35" fmla="*/ 1439 h 2456"/>
                <a:gd name="T36" fmla="*/ 5040 w 5392"/>
                <a:gd name="T37" fmla="*/ 1596 h 2456"/>
                <a:gd name="T38" fmla="*/ 5129 w 5392"/>
                <a:gd name="T39" fmla="*/ 1757 h 2456"/>
                <a:gd name="T40" fmla="*/ 5209 w 5392"/>
                <a:gd name="T41" fmla="*/ 1924 h 2456"/>
                <a:gd name="T42" fmla="*/ 5280 w 5392"/>
                <a:gd name="T43" fmla="*/ 2097 h 2456"/>
                <a:gd name="T44" fmla="*/ 5341 w 5392"/>
                <a:gd name="T45" fmla="*/ 2276 h 2456"/>
                <a:gd name="T46" fmla="*/ 5392 w 5392"/>
                <a:gd name="T47" fmla="*/ 2456 h 2456"/>
                <a:gd name="T48" fmla="*/ 895 w 5392"/>
                <a:gd name="T49" fmla="*/ 2456 h 2456"/>
                <a:gd name="T50" fmla="*/ 0 w 5392"/>
                <a:gd name="T51" fmla="*/ 909 h 2456"/>
                <a:gd name="T52" fmla="*/ 139 w 5392"/>
                <a:gd name="T53" fmla="*/ 783 h 2456"/>
                <a:gd name="T54" fmla="*/ 284 w 5392"/>
                <a:gd name="T55" fmla="*/ 666 h 2456"/>
                <a:gd name="T56" fmla="*/ 436 w 5392"/>
                <a:gd name="T57" fmla="*/ 556 h 2456"/>
                <a:gd name="T58" fmla="*/ 595 w 5392"/>
                <a:gd name="T59" fmla="*/ 456 h 2456"/>
                <a:gd name="T60" fmla="*/ 758 w 5392"/>
                <a:gd name="T61" fmla="*/ 363 h 2456"/>
                <a:gd name="T62" fmla="*/ 928 w 5392"/>
                <a:gd name="T63" fmla="*/ 281 h 2456"/>
                <a:gd name="T64" fmla="*/ 1103 w 5392"/>
                <a:gd name="T65" fmla="*/ 208 h 2456"/>
                <a:gd name="T66" fmla="*/ 1284 w 5392"/>
                <a:gd name="T67" fmla="*/ 147 h 2456"/>
                <a:gd name="T68" fmla="*/ 1470 w 5392"/>
                <a:gd name="T69" fmla="*/ 94 h 2456"/>
                <a:gd name="T70" fmla="*/ 1659 w 5392"/>
                <a:gd name="T71" fmla="*/ 55 h 2456"/>
                <a:gd name="T72" fmla="*/ 1851 w 5392"/>
                <a:gd name="T73" fmla="*/ 25 h 2456"/>
                <a:gd name="T74" fmla="*/ 2050 w 5392"/>
                <a:gd name="T75" fmla="*/ 6 h 2456"/>
                <a:gd name="T76" fmla="*/ 2248 w 5392"/>
                <a:gd name="T77" fmla="*/ 0 h 2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92" h="2456">
                  <a:moveTo>
                    <a:pt x="2248" y="0"/>
                  </a:moveTo>
                  <a:lnTo>
                    <a:pt x="2446" y="6"/>
                  </a:lnTo>
                  <a:lnTo>
                    <a:pt x="2639" y="24"/>
                  </a:lnTo>
                  <a:lnTo>
                    <a:pt x="2829" y="53"/>
                  </a:lnTo>
                  <a:lnTo>
                    <a:pt x="3016" y="92"/>
                  </a:lnTo>
                  <a:lnTo>
                    <a:pt x="3198" y="141"/>
                  </a:lnTo>
                  <a:lnTo>
                    <a:pt x="3375" y="202"/>
                  </a:lnTo>
                  <a:lnTo>
                    <a:pt x="3548" y="273"/>
                  </a:lnTo>
                  <a:lnTo>
                    <a:pt x="3717" y="351"/>
                  </a:lnTo>
                  <a:lnTo>
                    <a:pt x="3880" y="440"/>
                  </a:lnTo>
                  <a:lnTo>
                    <a:pt x="4035" y="538"/>
                  </a:lnTo>
                  <a:lnTo>
                    <a:pt x="4186" y="644"/>
                  </a:lnTo>
                  <a:lnTo>
                    <a:pt x="4329" y="758"/>
                  </a:lnTo>
                  <a:lnTo>
                    <a:pt x="4467" y="880"/>
                  </a:lnTo>
                  <a:lnTo>
                    <a:pt x="4599" y="1009"/>
                  </a:lnTo>
                  <a:lnTo>
                    <a:pt x="4720" y="1147"/>
                  </a:lnTo>
                  <a:lnTo>
                    <a:pt x="4836" y="1290"/>
                  </a:lnTo>
                  <a:lnTo>
                    <a:pt x="4942" y="1439"/>
                  </a:lnTo>
                  <a:lnTo>
                    <a:pt x="5040" y="1596"/>
                  </a:lnTo>
                  <a:lnTo>
                    <a:pt x="5129" y="1757"/>
                  </a:lnTo>
                  <a:lnTo>
                    <a:pt x="5209" y="1924"/>
                  </a:lnTo>
                  <a:lnTo>
                    <a:pt x="5280" y="2097"/>
                  </a:lnTo>
                  <a:lnTo>
                    <a:pt x="5341" y="2276"/>
                  </a:lnTo>
                  <a:lnTo>
                    <a:pt x="5392" y="2456"/>
                  </a:lnTo>
                  <a:lnTo>
                    <a:pt x="895" y="2456"/>
                  </a:lnTo>
                  <a:lnTo>
                    <a:pt x="0" y="909"/>
                  </a:lnTo>
                  <a:lnTo>
                    <a:pt x="139" y="783"/>
                  </a:lnTo>
                  <a:lnTo>
                    <a:pt x="284" y="666"/>
                  </a:lnTo>
                  <a:lnTo>
                    <a:pt x="436" y="556"/>
                  </a:lnTo>
                  <a:lnTo>
                    <a:pt x="595" y="456"/>
                  </a:lnTo>
                  <a:lnTo>
                    <a:pt x="758" y="363"/>
                  </a:lnTo>
                  <a:lnTo>
                    <a:pt x="928" y="281"/>
                  </a:lnTo>
                  <a:lnTo>
                    <a:pt x="1103" y="208"/>
                  </a:lnTo>
                  <a:lnTo>
                    <a:pt x="1284" y="147"/>
                  </a:lnTo>
                  <a:lnTo>
                    <a:pt x="1470" y="94"/>
                  </a:lnTo>
                  <a:lnTo>
                    <a:pt x="1659" y="55"/>
                  </a:lnTo>
                  <a:lnTo>
                    <a:pt x="1851" y="25"/>
                  </a:lnTo>
                  <a:lnTo>
                    <a:pt x="2050" y="6"/>
                  </a:lnTo>
                  <a:lnTo>
                    <a:pt x="2248" y="0"/>
                  </a:lnTo>
                  <a:close/>
                </a:path>
              </a:pathLst>
            </a:custGeom>
            <a:blipFill dpi="0" rotWithShape="0">
              <a:blip r:embed="rId5" cstate="print"/>
              <a:srcRect/>
              <a:stretch>
                <a:fillRect t="-4886" b="-4886"/>
              </a:stretch>
            </a:blipFill>
            <a:ln w="3810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</p:grpSp>
      <p:grpSp>
        <p:nvGrpSpPr>
          <p:cNvPr id="94" name="Groupe 58"/>
          <p:cNvGrpSpPr/>
          <p:nvPr/>
        </p:nvGrpSpPr>
        <p:grpSpPr>
          <a:xfrm>
            <a:off x="4188495" y="2649159"/>
            <a:ext cx="491540" cy="491102"/>
            <a:chOff x="3528159" y="796927"/>
            <a:chExt cx="1776413" cy="1774825"/>
          </a:xfrm>
        </p:grpSpPr>
        <p:sp>
          <p:nvSpPr>
            <p:cNvPr id="95" name="Freeform 21"/>
            <p:cNvSpPr>
              <a:spLocks/>
            </p:cNvSpPr>
            <p:nvPr/>
          </p:nvSpPr>
          <p:spPr bwMode="auto">
            <a:xfrm>
              <a:off x="3528159" y="796927"/>
              <a:ext cx="1776413" cy="1774825"/>
            </a:xfrm>
            <a:custGeom>
              <a:avLst/>
              <a:gdLst>
                <a:gd name="T0" fmla="*/ 224 w 1119"/>
                <a:gd name="T1" fmla="*/ 0 h 1118"/>
                <a:gd name="T2" fmla="*/ 895 w 1119"/>
                <a:gd name="T3" fmla="*/ 0 h 1118"/>
                <a:gd name="T4" fmla="*/ 931 w 1119"/>
                <a:gd name="T5" fmla="*/ 3 h 1118"/>
                <a:gd name="T6" fmla="*/ 966 w 1119"/>
                <a:gd name="T7" fmla="*/ 11 h 1118"/>
                <a:gd name="T8" fmla="*/ 998 w 1119"/>
                <a:gd name="T9" fmla="*/ 25 h 1118"/>
                <a:gd name="T10" fmla="*/ 1027 w 1119"/>
                <a:gd name="T11" fmla="*/ 42 h 1118"/>
                <a:gd name="T12" fmla="*/ 1053 w 1119"/>
                <a:gd name="T13" fmla="*/ 65 h 1118"/>
                <a:gd name="T14" fmla="*/ 1076 w 1119"/>
                <a:gd name="T15" fmla="*/ 91 h 1118"/>
                <a:gd name="T16" fmla="*/ 1094 w 1119"/>
                <a:gd name="T17" fmla="*/ 120 h 1118"/>
                <a:gd name="T18" fmla="*/ 1107 w 1119"/>
                <a:gd name="T19" fmla="*/ 153 h 1118"/>
                <a:gd name="T20" fmla="*/ 1116 w 1119"/>
                <a:gd name="T21" fmla="*/ 187 h 1118"/>
                <a:gd name="T22" fmla="*/ 1119 w 1119"/>
                <a:gd name="T23" fmla="*/ 224 h 1118"/>
                <a:gd name="T24" fmla="*/ 1119 w 1119"/>
                <a:gd name="T25" fmla="*/ 894 h 1118"/>
                <a:gd name="T26" fmla="*/ 1116 w 1119"/>
                <a:gd name="T27" fmla="*/ 931 h 1118"/>
                <a:gd name="T28" fmla="*/ 1107 w 1119"/>
                <a:gd name="T29" fmla="*/ 965 h 1118"/>
                <a:gd name="T30" fmla="*/ 1094 w 1119"/>
                <a:gd name="T31" fmla="*/ 998 h 1118"/>
                <a:gd name="T32" fmla="*/ 1076 w 1119"/>
                <a:gd name="T33" fmla="*/ 1027 h 1118"/>
                <a:gd name="T34" fmla="*/ 1053 w 1119"/>
                <a:gd name="T35" fmla="*/ 1053 h 1118"/>
                <a:gd name="T36" fmla="*/ 1027 w 1119"/>
                <a:gd name="T37" fmla="*/ 1076 h 1118"/>
                <a:gd name="T38" fmla="*/ 998 w 1119"/>
                <a:gd name="T39" fmla="*/ 1093 h 1118"/>
                <a:gd name="T40" fmla="*/ 966 w 1119"/>
                <a:gd name="T41" fmla="*/ 1107 h 1118"/>
                <a:gd name="T42" fmla="*/ 931 w 1119"/>
                <a:gd name="T43" fmla="*/ 1115 h 1118"/>
                <a:gd name="T44" fmla="*/ 895 w 1119"/>
                <a:gd name="T45" fmla="*/ 1118 h 1118"/>
                <a:gd name="T46" fmla="*/ 224 w 1119"/>
                <a:gd name="T47" fmla="*/ 1118 h 1118"/>
                <a:gd name="T48" fmla="*/ 188 w 1119"/>
                <a:gd name="T49" fmla="*/ 1115 h 1118"/>
                <a:gd name="T50" fmla="*/ 153 w 1119"/>
                <a:gd name="T51" fmla="*/ 1107 h 1118"/>
                <a:gd name="T52" fmla="*/ 121 w 1119"/>
                <a:gd name="T53" fmla="*/ 1093 h 1118"/>
                <a:gd name="T54" fmla="*/ 92 w 1119"/>
                <a:gd name="T55" fmla="*/ 1076 h 1118"/>
                <a:gd name="T56" fmla="*/ 66 w 1119"/>
                <a:gd name="T57" fmla="*/ 1053 h 1118"/>
                <a:gd name="T58" fmla="*/ 43 w 1119"/>
                <a:gd name="T59" fmla="*/ 1027 h 1118"/>
                <a:gd name="T60" fmla="*/ 25 w 1119"/>
                <a:gd name="T61" fmla="*/ 998 h 1118"/>
                <a:gd name="T62" fmla="*/ 11 w 1119"/>
                <a:gd name="T63" fmla="*/ 965 h 1118"/>
                <a:gd name="T64" fmla="*/ 3 w 1119"/>
                <a:gd name="T65" fmla="*/ 931 h 1118"/>
                <a:gd name="T66" fmla="*/ 0 w 1119"/>
                <a:gd name="T67" fmla="*/ 894 h 1118"/>
                <a:gd name="T68" fmla="*/ 0 w 1119"/>
                <a:gd name="T69" fmla="*/ 224 h 1118"/>
                <a:gd name="T70" fmla="*/ 3 w 1119"/>
                <a:gd name="T71" fmla="*/ 187 h 1118"/>
                <a:gd name="T72" fmla="*/ 11 w 1119"/>
                <a:gd name="T73" fmla="*/ 153 h 1118"/>
                <a:gd name="T74" fmla="*/ 25 w 1119"/>
                <a:gd name="T75" fmla="*/ 120 h 1118"/>
                <a:gd name="T76" fmla="*/ 43 w 1119"/>
                <a:gd name="T77" fmla="*/ 91 h 1118"/>
                <a:gd name="T78" fmla="*/ 66 w 1119"/>
                <a:gd name="T79" fmla="*/ 65 h 1118"/>
                <a:gd name="T80" fmla="*/ 92 w 1119"/>
                <a:gd name="T81" fmla="*/ 42 h 1118"/>
                <a:gd name="T82" fmla="*/ 121 w 1119"/>
                <a:gd name="T83" fmla="*/ 25 h 1118"/>
                <a:gd name="T84" fmla="*/ 153 w 1119"/>
                <a:gd name="T85" fmla="*/ 11 h 1118"/>
                <a:gd name="T86" fmla="*/ 188 w 1119"/>
                <a:gd name="T87" fmla="*/ 3 h 1118"/>
                <a:gd name="T88" fmla="*/ 224 w 1119"/>
                <a:gd name="T89" fmla="*/ 0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19" h="1118">
                  <a:moveTo>
                    <a:pt x="224" y="0"/>
                  </a:moveTo>
                  <a:lnTo>
                    <a:pt x="895" y="0"/>
                  </a:lnTo>
                  <a:lnTo>
                    <a:pt x="931" y="3"/>
                  </a:lnTo>
                  <a:lnTo>
                    <a:pt x="966" y="11"/>
                  </a:lnTo>
                  <a:lnTo>
                    <a:pt x="998" y="25"/>
                  </a:lnTo>
                  <a:lnTo>
                    <a:pt x="1027" y="42"/>
                  </a:lnTo>
                  <a:lnTo>
                    <a:pt x="1053" y="65"/>
                  </a:lnTo>
                  <a:lnTo>
                    <a:pt x="1076" y="91"/>
                  </a:lnTo>
                  <a:lnTo>
                    <a:pt x="1094" y="120"/>
                  </a:lnTo>
                  <a:lnTo>
                    <a:pt x="1107" y="153"/>
                  </a:lnTo>
                  <a:lnTo>
                    <a:pt x="1116" y="187"/>
                  </a:lnTo>
                  <a:lnTo>
                    <a:pt x="1119" y="224"/>
                  </a:lnTo>
                  <a:lnTo>
                    <a:pt x="1119" y="894"/>
                  </a:lnTo>
                  <a:lnTo>
                    <a:pt x="1116" y="931"/>
                  </a:lnTo>
                  <a:lnTo>
                    <a:pt x="1107" y="965"/>
                  </a:lnTo>
                  <a:lnTo>
                    <a:pt x="1094" y="998"/>
                  </a:lnTo>
                  <a:lnTo>
                    <a:pt x="1076" y="1027"/>
                  </a:lnTo>
                  <a:lnTo>
                    <a:pt x="1053" y="1053"/>
                  </a:lnTo>
                  <a:lnTo>
                    <a:pt x="1027" y="1076"/>
                  </a:lnTo>
                  <a:lnTo>
                    <a:pt x="998" y="1093"/>
                  </a:lnTo>
                  <a:lnTo>
                    <a:pt x="966" y="1107"/>
                  </a:lnTo>
                  <a:lnTo>
                    <a:pt x="931" y="1115"/>
                  </a:lnTo>
                  <a:lnTo>
                    <a:pt x="895" y="1118"/>
                  </a:lnTo>
                  <a:lnTo>
                    <a:pt x="224" y="1118"/>
                  </a:lnTo>
                  <a:lnTo>
                    <a:pt x="188" y="1115"/>
                  </a:lnTo>
                  <a:lnTo>
                    <a:pt x="153" y="1107"/>
                  </a:lnTo>
                  <a:lnTo>
                    <a:pt x="121" y="1093"/>
                  </a:lnTo>
                  <a:lnTo>
                    <a:pt x="92" y="1076"/>
                  </a:lnTo>
                  <a:lnTo>
                    <a:pt x="66" y="1053"/>
                  </a:lnTo>
                  <a:lnTo>
                    <a:pt x="43" y="1027"/>
                  </a:lnTo>
                  <a:lnTo>
                    <a:pt x="25" y="998"/>
                  </a:lnTo>
                  <a:lnTo>
                    <a:pt x="11" y="965"/>
                  </a:lnTo>
                  <a:lnTo>
                    <a:pt x="3" y="931"/>
                  </a:lnTo>
                  <a:lnTo>
                    <a:pt x="0" y="894"/>
                  </a:lnTo>
                  <a:lnTo>
                    <a:pt x="0" y="224"/>
                  </a:lnTo>
                  <a:lnTo>
                    <a:pt x="3" y="187"/>
                  </a:lnTo>
                  <a:lnTo>
                    <a:pt x="11" y="153"/>
                  </a:lnTo>
                  <a:lnTo>
                    <a:pt x="25" y="120"/>
                  </a:lnTo>
                  <a:lnTo>
                    <a:pt x="43" y="91"/>
                  </a:lnTo>
                  <a:lnTo>
                    <a:pt x="66" y="65"/>
                  </a:lnTo>
                  <a:lnTo>
                    <a:pt x="92" y="42"/>
                  </a:lnTo>
                  <a:lnTo>
                    <a:pt x="121" y="25"/>
                  </a:lnTo>
                  <a:lnTo>
                    <a:pt x="153" y="11"/>
                  </a:lnTo>
                  <a:lnTo>
                    <a:pt x="188" y="3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96" name="Freeform 22"/>
            <p:cNvSpPr>
              <a:spLocks/>
            </p:cNvSpPr>
            <p:nvPr/>
          </p:nvSpPr>
          <p:spPr bwMode="auto">
            <a:xfrm>
              <a:off x="4004409" y="1217615"/>
              <a:ext cx="823913" cy="933450"/>
            </a:xfrm>
            <a:custGeom>
              <a:avLst/>
              <a:gdLst>
                <a:gd name="T0" fmla="*/ 368 w 519"/>
                <a:gd name="T1" fmla="*/ 2 h 588"/>
                <a:gd name="T2" fmla="*/ 421 w 519"/>
                <a:gd name="T3" fmla="*/ 18 h 588"/>
                <a:gd name="T4" fmla="*/ 464 w 519"/>
                <a:gd name="T5" fmla="*/ 45 h 588"/>
                <a:gd name="T6" fmla="*/ 494 w 519"/>
                <a:gd name="T7" fmla="*/ 81 h 588"/>
                <a:gd name="T8" fmla="*/ 513 w 519"/>
                <a:gd name="T9" fmla="*/ 124 h 588"/>
                <a:gd name="T10" fmla="*/ 519 w 519"/>
                <a:gd name="T11" fmla="*/ 169 h 588"/>
                <a:gd name="T12" fmla="*/ 511 w 519"/>
                <a:gd name="T13" fmla="*/ 221 h 588"/>
                <a:gd name="T14" fmla="*/ 488 w 519"/>
                <a:gd name="T15" fmla="*/ 268 h 588"/>
                <a:gd name="T16" fmla="*/ 458 w 519"/>
                <a:gd name="T17" fmla="*/ 299 h 588"/>
                <a:gd name="T18" fmla="*/ 423 w 519"/>
                <a:gd name="T19" fmla="*/ 322 h 588"/>
                <a:gd name="T20" fmla="*/ 374 w 519"/>
                <a:gd name="T21" fmla="*/ 338 h 588"/>
                <a:gd name="T22" fmla="*/ 504 w 519"/>
                <a:gd name="T23" fmla="*/ 500 h 588"/>
                <a:gd name="T24" fmla="*/ 516 w 519"/>
                <a:gd name="T25" fmla="*/ 526 h 588"/>
                <a:gd name="T26" fmla="*/ 512 w 519"/>
                <a:gd name="T27" fmla="*/ 553 h 588"/>
                <a:gd name="T28" fmla="*/ 495 w 519"/>
                <a:gd name="T29" fmla="*/ 576 h 588"/>
                <a:gd name="T30" fmla="*/ 474 w 519"/>
                <a:gd name="T31" fmla="*/ 586 h 588"/>
                <a:gd name="T32" fmla="*/ 446 w 519"/>
                <a:gd name="T33" fmla="*/ 585 h 588"/>
                <a:gd name="T34" fmla="*/ 420 w 519"/>
                <a:gd name="T35" fmla="*/ 567 h 588"/>
                <a:gd name="T36" fmla="*/ 184 w 519"/>
                <a:gd name="T37" fmla="*/ 308 h 588"/>
                <a:gd name="T38" fmla="*/ 181 w 519"/>
                <a:gd name="T39" fmla="*/ 276 h 588"/>
                <a:gd name="T40" fmla="*/ 195 w 519"/>
                <a:gd name="T41" fmla="*/ 250 h 588"/>
                <a:gd name="T42" fmla="*/ 219 w 519"/>
                <a:gd name="T43" fmla="*/ 236 h 588"/>
                <a:gd name="T44" fmla="*/ 337 w 519"/>
                <a:gd name="T45" fmla="*/ 234 h 588"/>
                <a:gd name="T46" fmla="*/ 371 w 519"/>
                <a:gd name="T47" fmla="*/ 227 h 588"/>
                <a:gd name="T48" fmla="*/ 395 w 519"/>
                <a:gd name="T49" fmla="*/ 213 h 588"/>
                <a:gd name="T50" fmla="*/ 407 w 519"/>
                <a:gd name="T51" fmla="*/ 192 h 588"/>
                <a:gd name="T52" fmla="*/ 412 w 519"/>
                <a:gd name="T53" fmla="*/ 169 h 588"/>
                <a:gd name="T54" fmla="*/ 406 w 519"/>
                <a:gd name="T55" fmla="*/ 144 h 588"/>
                <a:gd name="T56" fmla="*/ 389 w 519"/>
                <a:gd name="T57" fmla="*/ 123 h 588"/>
                <a:gd name="T58" fmla="*/ 358 w 519"/>
                <a:gd name="T59" fmla="*/ 110 h 588"/>
                <a:gd name="T60" fmla="*/ 108 w 519"/>
                <a:gd name="T61" fmla="*/ 109 h 588"/>
                <a:gd name="T62" fmla="*/ 105 w 519"/>
                <a:gd name="T63" fmla="*/ 549 h 588"/>
                <a:gd name="T64" fmla="*/ 86 w 519"/>
                <a:gd name="T65" fmla="*/ 576 h 588"/>
                <a:gd name="T66" fmla="*/ 55 w 519"/>
                <a:gd name="T67" fmla="*/ 588 h 588"/>
                <a:gd name="T68" fmla="*/ 23 w 519"/>
                <a:gd name="T69" fmla="*/ 577 h 588"/>
                <a:gd name="T70" fmla="*/ 3 w 519"/>
                <a:gd name="T71" fmla="*/ 551 h 588"/>
                <a:gd name="T72" fmla="*/ 0 w 519"/>
                <a:gd name="T73" fmla="*/ 54 h 588"/>
                <a:gd name="T74" fmla="*/ 10 w 519"/>
                <a:gd name="T75" fmla="*/ 23 h 588"/>
                <a:gd name="T76" fmla="*/ 38 w 519"/>
                <a:gd name="T77" fmla="*/ 3 h 588"/>
                <a:gd name="T78" fmla="*/ 337 w 519"/>
                <a:gd name="T79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9" h="588">
                  <a:moveTo>
                    <a:pt x="337" y="0"/>
                  </a:moveTo>
                  <a:lnTo>
                    <a:pt x="368" y="2"/>
                  </a:lnTo>
                  <a:lnTo>
                    <a:pt x="396" y="9"/>
                  </a:lnTo>
                  <a:lnTo>
                    <a:pt x="421" y="18"/>
                  </a:lnTo>
                  <a:lnTo>
                    <a:pt x="444" y="30"/>
                  </a:lnTo>
                  <a:lnTo>
                    <a:pt x="464" y="45"/>
                  </a:lnTo>
                  <a:lnTo>
                    <a:pt x="480" y="63"/>
                  </a:lnTo>
                  <a:lnTo>
                    <a:pt x="494" y="81"/>
                  </a:lnTo>
                  <a:lnTo>
                    <a:pt x="504" y="102"/>
                  </a:lnTo>
                  <a:lnTo>
                    <a:pt x="513" y="124"/>
                  </a:lnTo>
                  <a:lnTo>
                    <a:pt x="517" y="146"/>
                  </a:lnTo>
                  <a:lnTo>
                    <a:pt x="519" y="169"/>
                  </a:lnTo>
                  <a:lnTo>
                    <a:pt x="517" y="196"/>
                  </a:lnTo>
                  <a:lnTo>
                    <a:pt x="511" y="221"/>
                  </a:lnTo>
                  <a:lnTo>
                    <a:pt x="501" y="245"/>
                  </a:lnTo>
                  <a:lnTo>
                    <a:pt x="488" y="268"/>
                  </a:lnTo>
                  <a:lnTo>
                    <a:pt x="471" y="288"/>
                  </a:lnTo>
                  <a:lnTo>
                    <a:pt x="458" y="299"/>
                  </a:lnTo>
                  <a:lnTo>
                    <a:pt x="443" y="312"/>
                  </a:lnTo>
                  <a:lnTo>
                    <a:pt x="423" y="322"/>
                  </a:lnTo>
                  <a:lnTo>
                    <a:pt x="400" y="332"/>
                  </a:lnTo>
                  <a:lnTo>
                    <a:pt x="374" y="338"/>
                  </a:lnTo>
                  <a:lnTo>
                    <a:pt x="344" y="341"/>
                  </a:lnTo>
                  <a:lnTo>
                    <a:pt x="504" y="500"/>
                  </a:lnTo>
                  <a:lnTo>
                    <a:pt x="512" y="513"/>
                  </a:lnTo>
                  <a:lnTo>
                    <a:pt x="516" y="526"/>
                  </a:lnTo>
                  <a:lnTo>
                    <a:pt x="516" y="540"/>
                  </a:lnTo>
                  <a:lnTo>
                    <a:pt x="512" y="553"/>
                  </a:lnTo>
                  <a:lnTo>
                    <a:pt x="505" y="566"/>
                  </a:lnTo>
                  <a:lnTo>
                    <a:pt x="495" y="576"/>
                  </a:lnTo>
                  <a:lnTo>
                    <a:pt x="484" y="583"/>
                  </a:lnTo>
                  <a:lnTo>
                    <a:pt x="474" y="586"/>
                  </a:lnTo>
                  <a:lnTo>
                    <a:pt x="463" y="588"/>
                  </a:lnTo>
                  <a:lnTo>
                    <a:pt x="446" y="585"/>
                  </a:lnTo>
                  <a:lnTo>
                    <a:pt x="432" y="578"/>
                  </a:lnTo>
                  <a:lnTo>
                    <a:pt x="420" y="567"/>
                  </a:lnTo>
                  <a:lnTo>
                    <a:pt x="192" y="322"/>
                  </a:lnTo>
                  <a:lnTo>
                    <a:pt x="184" y="308"/>
                  </a:lnTo>
                  <a:lnTo>
                    <a:pt x="180" y="292"/>
                  </a:lnTo>
                  <a:lnTo>
                    <a:pt x="181" y="276"/>
                  </a:lnTo>
                  <a:lnTo>
                    <a:pt x="187" y="262"/>
                  </a:lnTo>
                  <a:lnTo>
                    <a:pt x="195" y="250"/>
                  </a:lnTo>
                  <a:lnTo>
                    <a:pt x="205" y="241"/>
                  </a:lnTo>
                  <a:lnTo>
                    <a:pt x="219" y="236"/>
                  </a:lnTo>
                  <a:lnTo>
                    <a:pt x="233" y="234"/>
                  </a:lnTo>
                  <a:lnTo>
                    <a:pt x="337" y="234"/>
                  </a:lnTo>
                  <a:lnTo>
                    <a:pt x="355" y="231"/>
                  </a:lnTo>
                  <a:lnTo>
                    <a:pt x="371" y="227"/>
                  </a:lnTo>
                  <a:lnTo>
                    <a:pt x="384" y="221"/>
                  </a:lnTo>
                  <a:lnTo>
                    <a:pt x="395" y="213"/>
                  </a:lnTo>
                  <a:lnTo>
                    <a:pt x="402" y="202"/>
                  </a:lnTo>
                  <a:lnTo>
                    <a:pt x="407" y="192"/>
                  </a:lnTo>
                  <a:lnTo>
                    <a:pt x="410" y="180"/>
                  </a:lnTo>
                  <a:lnTo>
                    <a:pt x="412" y="169"/>
                  </a:lnTo>
                  <a:lnTo>
                    <a:pt x="409" y="156"/>
                  </a:lnTo>
                  <a:lnTo>
                    <a:pt x="406" y="144"/>
                  </a:lnTo>
                  <a:lnTo>
                    <a:pt x="399" y="133"/>
                  </a:lnTo>
                  <a:lnTo>
                    <a:pt x="389" y="123"/>
                  </a:lnTo>
                  <a:lnTo>
                    <a:pt x="375" y="115"/>
                  </a:lnTo>
                  <a:lnTo>
                    <a:pt x="358" y="110"/>
                  </a:lnTo>
                  <a:lnTo>
                    <a:pt x="337" y="108"/>
                  </a:lnTo>
                  <a:lnTo>
                    <a:pt x="108" y="109"/>
                  </a:lnTo>
                  <a:lnTo>
                    <a:pt x="108" y="532"/>
                  </a:lnTo>
                  <a:lnTo>
                    <a:pt x="105" y="549"/>
                  </a:lnTo>
                  <a:lnTo>
                    <a:pt x="98" y="564"/>
                  </a:lnTo>
                  <a:lnTo>
                    <a:pt x="86" y="576"/>
                  </a:lnTo>
                  <a:lnTo>
                    <a:pt x="72" y="585"/>
                  </a:lnTo>
                  <a:lnTo>
                    <a:pt x="55" y="588"/>
                  </a:lnTo>
                  <a:lnTo>
                    <a:pt x="39" y="585"/>
                  </a:lnTo>
                  <a:lnTo>
                    <a:pt x="23" y="577"/>
                  </a:lnTo>
                  <a:lnTo>
                    <a:pt x="11" y="566"/>
                  </a:lnTo>
                  <a:lnTo>
                    <a:pt x="3" y="551"/>
                  </a:lnTo>
                  <a:lnTo>
                    <a:pt x="0" y="534"/>
                  </a:lnTo>
                  <a:lnTo>
                    <a:pt x="0" y="54"/>
                  </a:lnTo>
                  <a:lnTo>
                    <a:pt x="3" y="38"/>
                  </a:lnTo>
                  <a:lnTo>
                    <a:pt x="10" y="23"/>
                  </a:lnTo>
                  <a:lnTo>
                    <a:pt x="22" y="11"/>
                  </a:lnTo>
                  <a:lnTo>
                    <a:pt x="38" y="3"/>
                  </a:lnTo>
                  <a:lnTo>
                    <a:pt x="54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6639B7"/>
            </a:solidFill>
            <a:ln w="0">
              <a:solidFill>
                <a:srgbClr val="6639B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97" name="Freeform 23"/>
            <p:cNvSpPr>
              <a:spLocks/>
            </p:cNvSpPr>
            <p:nvPr/>
          </p:nvSpPr>
          <p:spPr bwMode="auto">
            <a:xfrm>
              <a:off x="4228247" y="925515"/>
              <a:ext cx="947738" cy="523875"/>
            </a:xfrm>
            <a:custGeom>
              <a:avLst/>
              <a:gdLst>
                <a:gd name="T0" fmla="*/ 453 w 597"/>
                <a:gd name="T1" fmla="*/ 0 h 330"/>
                <a:gd name="T2" fmla="*/ 453 w 597"/>
                <a:gd name="T3" fmla="*/ 0 h 330"/>
                <a:gd name="T4" fmla="*/ 481 w 597"/>
                <a:gd name="T5" fmla="*/ 2 h 330"/>
                <a:gd name="T6" fmla="*/ 508 w 597"/>
                <a:gd name="T7" fmla="*/ 10 h 330"/>
                <a:gd name="T8" fmla="*/ 532 w 597"/>
                <a:gd name="T9" fmla="*/ 24 h 330"/>
                <a:gd name="T10" fmla="*/ 555 w 597"/>
                <a:gd name="T11" fmla="*/ 42 h 330"/>
                <a:gd name="T12" fmla="*/ 573 w 597"/>
                <a:gd name="T13" fmla="*/ 63 h 330"/>
                <a:gd name="T14" fmla="*/ 586 w 597"/>
                <a:gd name="T15" fmla="*/ 88 h 330"/>
                <a:gd name="T16" fmla="*/ 594 w 597"/>
                <a:gd name="T17" fmla="*/ 115 h 330"/>
                <a:gd name="T18" fmla="*/ 597 w 597"/>
                <a:gd name="T19" fmla="*/ 144 h 330"/>
                <a:gd name="T20" fmla="*/ 597 w 597"/>
                <a:gd name="T21" fmla="*/ 330 h 330"/>
                <a:gd name="T22" fmla="*/ 582 w 597"/>
                <a:gd name="T23" fmla="*/ 327 h 330"/>
                <a:gd name="T24" fmla="*/ 552 w 597"/>
                <a:gd name="T25" fmla="*/ 321 h 330"/>
                <a:gd name="T26" fmla="*/ 505 w 597"/>
                <a:gd name="T27" fmla="*/ 313 h 330"/>
                <a:gd name="T28" fmla="*/ 505 w 597"/>
                <a:gd name="T29" fmla="*/ 144 h 330"/>
                <a:gd name="T30" fmla="*/ 503 w 597"/>
                <a:gd name="T31" fmla="*/ 130 h 330"/>
                <a:gd name="T32" fmla="*/ 498 w 597"/>
                <a:gd name="T33" fmla="*/ 118 h 330"/>
                <a:gd name="T34" fmla="*/ 489 w 597"/>
                <a:gd name="T35" fmla="*/ 107 h 330"/>
                <a:gd name="T36" fmla="*/ 479 w 597"/>
                <a:gd name="T37" fmla="*/ 99 h 330"/>
                <a:gd name="T38" fmla="*/ 466 w 597"/>
                <a:gd name="T39" fmla="*/ 94 h 330"/>
                <a:gd name="T40" fmla="*/ 453 w 597"/>
                <a:gd name="T41" fmla="*/ 92 h 330"/>
                <a:gd name="T42" fmla="*/ 453 w 597"/>
                <a:gd name="T43" fmla="*/ 92 h 330"/>
                <a:gd name="T44" fmla="*/ 0 w 597"/>
                <a:gd name="T45" fmla="*/ 92 h 330"/>
                <a:gd name="T46" fmla="*/ 14 w 597"/>
                <a:gd name="T47" fmla="*/ 59 h 330"/>
                <a:gd name="T48" fmla="*/ 32 w 597"/>
                <a:gd name="T49" fmla="*/ 29 h 330"/>
                <a:gd name="T50" fmla="*/ 52 w 597"/>
                <a:gd name="T51" fmla="*/ 0 h 330"/>
                <a:gd name="T52" fmla="*/ 453 w 597"/>
                <a:gd name="T53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7" h="330">
                  <a:moveTo>
                    <a:pt x="453" y="0"/>
                  </a:moveTo>
                  <a:lnTo>
                    <a:pt x="453" y="0"/>
                  </a:lnTo>
                  <a:lnTo>
                    <a:pt x="481" y="2"/>
                  </a:lnTo>
                  <a:lnTo>
                    <a:pt x="508" y="10"/>
                  </a:lnTo>
                  <a:lnTo>
                    <a:pt x="532" y="24"/>
                  </a:lnTo>
                  <a:lnTo>
                    <a:pt x="555" y="42"/>
                  </a:lnTo>
                  <a:lnTo>
                    <a:pt x="573" y="63"/>
                  </a:lnTo>
                  <a:lnTo>
                    <a:pt x="586" y="88"/>
                  </a:lnTo>
                  <a:lnTo>
                    <a:pt x="594" y="115"/>
                  </a:lnTo>
                  <a:lnTo>
                    <a:pt x="597" y="144"/>
                  </a:lnTo>
                  <a:lnTo>
                    <a:pt x="597" y="330"/>
                  </a:lnTo>
                  <a:lnTo>
                    <a:pt x="582" y="327"/>
                  </a:lnTo>
                  <a:lnTo>
                    <a:pt x="552" y="321"/>
                  </a:lnTo>
                  <a:lnTo>
                    <a:pt x="505" y="313"/>
                  </a:lnTo>
                  <a:lnTo>
                    <a:pt x="505" y="144"/>
                  </a:lnTo>
                  <a:lnTo>
                    <a:pt x="503" y="130"/>
                  </a:lnTo>
                  <a:lnTo>
                    <a:pt x="498" y="118"/>
                  </a:lnTo>
                  <a:lnTo>
                    <a:pt x="489" y="107"/>
                  </a:lnTo>
                  <a:lnTo>
                    <a:pt x="479" y="99"/>
                  </a:lnTo>
                  <a:lnTo>
                    <a:pt x="466" y="94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0" y="92"/>
                  </a:lnTo>
                  <a:lnTo>
                    <a:pt x="14" y="59"/>
                  </a:lnTo>
                  <a:lnTo>
                    <a:pt x="32" y="29"/>
                  </a:lnTo>
                  <a:lnTo>
                    <a:pt x="52" y="0"/>
                  </a:lnTo>
                  <a:lnTo>
                    <a:pt x="453" y="0"/>
                  </a:lnTo>
                  <a:close/>
                </a:path>
              </a:pathLst>
            </a:custGeom>
            <a:solidFill>
              <a:srgbClr val="0086CC"/>
            </a:solidFill>
            <a:ln w="0">
              <a:solidFill>
                <a:srgbClr val="0086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98" name="Freeform 24"/>
            <p:cNvSpPr>
              <a:spLocks/>
            </p:cNvSpPr>
            <p:nvPr/>
          </p:nvSpPr>
          <p:spPr bwMode="auto">
            <a:xfrm>
              <a:off x="3656747" y="925515"/>
              <a:ext cx="654050" cy="954088"/>
            </a:xfrm>
            <a:custGeom>
              <a:avLst/>
              <a:gdLst>
                <a:gd name="T0" fmla="*/ 412 w 412"/>
                <a:gd name="T1" fmla="*/ 0 h 601"/>
                <a:gd name="T2" fmla="*/ 392 w 412"/>
                <a:gd name="T3" fmla="*/ 29 h 601"/>
                <a:gd name="T4" fmla="*/ 374 w 412"/>
                <a:gd name="T5" fmla="*/ 59 h 601"/>
                <a:gd name="T6" fmla="*/ 360 w 412"/>
                <a:gd name="T7" fmla="*/ 92 h 601"/>
                <a:gd name="T8" fmla="*/ 144 w 412"/>
                <a:gd name="T9" fmla="*/ 92 h 601"/>
                <a:gd name="T10" fmla="*/ 130 w 412"/>
                <a:gd name="T11" fmla="*/ 94 h 601"/>
                <a:gd name="T12" fmla="*/ 118 w 412"/>
                <a:gd name="T13" fmla="*/ 99 h 601"/>
                <a:gd name="T14" fmla="*/ 108 w 412"/>
                <a:gd name="T15" fmla="*/ 107 h 601"/>
                <a:gd name="T16" fmla="*/ 99 w 412"/>
                <a:gd name="T17" fmla="*/ 118 h 601"/>
                <a:gd name="T18" fmla="*/ 94 w 412"/>
                <a:gd name="T19" fmla="*/ 130 h 601"/>
                <a:gd name="T20" fmla="*/ 92 w 412"/>
                <a:gd name="T21" fmla="*/ 144 h 601"/>
                <a:gd name="T22" fmla="*/ 92 w 412"/>
                <a:gd name="T23" fmla="*/ 518 h 601"/>
                <a:gd name="T24" fmla="*/ 87 w 412"/>
                <a:gd name="T25" fmla="*/ 522 h 601"/>
                <a:gd name="T26" fmla="*/ 42 w 412"/>
                <a:gd name="T27" fmla="*/ 560 h 601"/>
                <a:gd name="T28" fmla="*/ 0 w 412"/>
                <a:gd name="T29" fmla="*/ 601 h 601"/>
                <a:gd name="T30" fmla="*/ 0 w 412"/>
                <a:gd name="T31" fmla="*/ 144 h 601"/>
                <a:gd name="T32" fmla="*/ 2 w 412"/>
                <a:gd name="T33" fmla="*/ 115 h 601"/>
                <a:gd name="T34" fmla="*/ 11 w 412"/>
                <a:gd name="T35" fmla="*/ 88 h 601"/>
                <a:gd name="T36" fmla="*/ 24 w 412"/>
                <a:gd name="T37" fmla="*/ 64 h 601"/>
                <a:gd name="T38" fmla="*/ 42 w 412"/>
                <a:gd name="T39" fmla="*/ 43 h 601"/>
                <a:gd name="T40" fmla="*/ 64 w 412"/>
                <a:gd name="T41" fmla="*/ 24 h 601"/>
                <a:gd name="T42" fmla="*/ 89 w 412"/>
                <a:gd name="T43" fmla="*/ 10 h 601"/>
                <a:gd name="T44" fmla="*/ 116 w 412"/>
                <a:gd name="T45" fmla="*/ 3 h 601"/>
                <a:gd name="T46" fmla="*/ 144 w 412"/>
                <a:gd name="T47" fmla="*/ 0 h 601"/>
                <a:gd name="T48" fmla="*/ 412 w 412"/>
                <a:gd name="T49" fmla="*/ 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2" h="601">
                  <a:moveTo>
                    <a:pt x="412" y="0"/>
                  </a:moveTo>
                  <a:lnTo>
                    <a:pt x="392" y="29"/>
                  </a:lnTo>
                  <a:lnTo>
                    <a:pt x="374" y="59"/>
                  </a:lnTo>
                  <a:lnTo>
                    <a:pt x="360" y="92"/>
                  </a:lnTo>
                  <a:lnTo>
                    <a:pt x="144" y="92"/>
                  </a:lnTo>
                  <a:lnTo>
                    <a:pt x="130" y="94"/>
                  </a:lnTo>
                  <a:lnTo>
                    <a:pt x="118" y="99"/>
                  </a:lnTo>
                  <a:lnTo>
                    <a:pt x="108" y="107"/>
                  </a:lnTo>
                  <a:lnTo>
                    <a:pt x="99" y="118"/>
                  </a:lnTo>
                  <a:lnTo>
                    <a:pt x="94" y="130"/>
                  </a:lnTo>
                  <a:lnTo>
                    <a:pt x="92" y="144"/>
                  </a:lnTo>
                  <a:lnTo>
                    <a:pt x="92" y="518"/>
                  </a:lnTo>
                  <a:lnTo>
                    <a:pt x="87" y="522"/>
                  </a:lnTo>
                  <a:lnTo>
                    <a:pt x="42" y="560"/>
                  </a:lnTo>
                  <a:lnTo>
                    <a:pt x="0" y="601"/>
                  </a:lnTo>
                  <a:lnTo>
                    <a:pt x="0" y="144"/>
                  </a:lnTo>
                  <a:lnTo>
                    <a:pt x="2" y="115"/>
                  </a:lnTo>
                  <a:lnTo>
                    <a:pt x="11" y="88"/>
                  </a:lnTo>
                  <a:lnTo>
                    <a:pt x="24" y="64"/>
                  </a:lnTo>
                  <a:lnTo>
                    <a:pt x="42" y="43"/>
                  </a:lnTo>
                  <a:lnTo>
                    <a:pt x="64" y="24"/>
                  </a:lnTo>
                  <a:lnTo>
                    <a:pt x="89" y="10"/>
                  </a:lnTo>
                  <a:lnTo>
                    <a:pt x="116" y="3"/>
                  </a:lnTo>
                  <a:lnTo>
                    <a:pt x="144" y="0"/>
                  </a:lnTo>
                  <a:lnTo>
                    <a:pt x="412" y="0"/>
                  </a:lnTo>
                  <a:close/>
                </a:path>
              </a:pathLst>
            </a:custGeom>
            <a:solidFill>
              <a:srgbClr val="34B233"/>
            </a:solidFill>
            <a:ln w="0">
              <a:solidFill>
                <a:srgbClr val="34B23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100" name="Freeform 25"/>
            <p:cNvSpPr>
              <a:spLocks/>
            </p:cNvSpPr>
            <p:nvPr/>
          </p:nvSpPr>
          <p:spPr bwMode="auto">
            <a:xfrm>
              <a:off x="4475897" y="1489077"/>
              <a:ext cx="700088" cy="954088"/>
            </a:xfrm>
            <a:custGeom>
              <a:avLst/>
              <a:gdLst>
                <a:gd name="T0" fmla="*/ 349 w 441"/>
                <a:gd name="T1" fmla="*/ 0 h 601"/>
                <a:gd name="T2" fmla="*/ 395 w 441"/>
                <a:gd name="T3" fmla="*/ 7 h 601"/>
                <a:gd name="T4" fmla="*/ 441 w 441"/>
                <a:gd name="T5" fmla="*/ 17 h 601"/>
                <a:gd name="T6" fmla="*/ 441 w 441"/>
                <a:gd name="T7" fmla="*/ 457 h 601"/>
                <a:gd name="T8" fmla="*/ 439 w 441"/>
                <a:gd name="T9" fmla="*/ 487 h 601"/>
                <a:gd name="T10" fmla="*/ 429 w 441"/>
                <a:gd name="T11" fmla="*/ 514 h 601"/>
                <a:gd name="T12" fmla="*/ 417 w 441"/>
                <a:gd name="T13" fmla="*/ 538 h 601"/>
                <a:gd name="T14" fmla="*/ 399 w 441"/>
                <a:gd name="T15" fmla="*/ 559 h 601"/>
                <a:gd name="T16" fmla="*/ 377 w 441"/>
                <a:gd name="T17" fmla="*/ 576 h 601"/>
                <a:gd name="T18" fmla="*/ 353 w 441"/>
                <a:gd name="T19" fmla="*/ 590 h 601"/>
                <a:gd name="T20" fmla="*/ 326 w 441"/>
                <a:gd name="T21" fmla="*/ 598 h 601"/>
                <a:gd name="T22" fmla="*/ 297 w 441"/>
                <a:gd name="T23" fmla="*/ 601 h 601"/>
                <a:gd name="T24" fmla="*/ 56 w 441"/>
                <a:gd name="T25" fmla="*/ 601 h 601"/>
                <a:gd name="T26" fmla="*/ 34 w 441"/>
                <a:gd name="T27" fmla="*/ 573 h 601"/>
                <a:gd name="T28" fmla="*/ 16 w 441"/>
                <a:gd name="T29" fmla="*/ 542 h 601"/>
                <a:gd name="T30" fmla="*/ 0 w 441"/>
                <a:gd name="T31" fmla="*/ 509 h 601"/>
                <a:gd name="T32" fmla="*/ 297 w 441"/>
                <a:gd name="T33" fmla="*/ 509 h 601"/>
                <a:gd name="T34" fmla="*/ 314 w 441"/>
                <a:gd name="T35" fmla="*/ 506 h 601"/>
                <a:gd name="T36" fmla="*/ 327 w 441"/>
                <a:gd name="T37" fmla="*/ 499 h 601"/>
                <a:gd name="T38" fmla="*/ 339 w 441"/>
                <a:gd name="T39" fmla="*/ 488 h 601"/>
                <a:gd name="T40" fmla="*/ 346 w 441"/>
                <a:gd name="T41" fmla="*/ 474 h 601"/>
                <a:gd name="T42" fmla="*/ 349 w 441"/>
                <a:gd name="T43" fmla="*/ 457 h 601"/>
                <a:gd name="T44" fmla="*/ 349 w 441"/>
                <a:gd name="T45" fmla="*/ 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1" h="601">
                  <a:moveTo>
                    <a:pt x="349" y="0"/>
                  </a:moveTo>
                  <a:lnTo>
                    <a:pt x="395" y="7"/>
                  </a:lnTo>
                  <a:lnTo>
                    <a:pt x="441" y="17"/>
                  </a:lnTo>
                  <a:lnTo>
                    <a:pt x="441" y="457"/>
                  </a:lnTo>
                  <a:lnTo>
                    <a:pt x="439" y="487"/>
                  </a:lnTo>
                  <a:lnTo>
                    <a:pt x="429" y="514"/>
                  </a:lnTo>
                  <a:lnTo>
                    <a:pt x="417" y="538"/>
                  </a:lnTo>
                  <a:lnTo>
                    <a:pt x="399" y="559"/>
                  </a:lnTo>
                  <a:lnTo>
                    <a:pt x="377" y="576"/>
                  </a:lnTo>
                  <a:lnTo>
                    <a:pt x="353" y="590"/>
                  </a:lnTo>
                  <a:lnTo>
                    <a:pt x="326" y="598"/>
                  </a:lnTo>
                  <a:lnTo>
                    <a:pt x="297" y="601"/>
                  </a:lnTo>
                  <a:lnTo>
                    <a:pt x="56" y="601"/>
                  </a:lnTo>
                  <a:lnTo>
                    <a:pt x="34" y="573"/>
                  </a:lnTo>
                  <a:lnTo>
                    <a:pt x="16" y="542"/>
                  </a:lnTo>
                  <a:lnTo>
                    <a:pt x="0" y="509"/>
                  </a:lnTo>
                  <a:lnTo>
                    <a:pt x="297" y="509"/>
                  </a:lnTo>
                  <a:lnTo>
                    <a:pt x="314" y="506"/>
                  </a:lnTo>
                  <a:lnTo>
                    <a:pt x="327" y="499"/>
                  </a:lnTo>
                  <a:lnTo>
                    <a:pt x="339" y="488"/>
                  </a:lnTo>
                  <a:lnTo>
                    <a:pt x="346" y="474"/>
                  </a:lnTo>
                  <a:lnTo>
                    <a:pt x="349" y="457"/>
                  </a:lnTo>
                  <a:lnTo>
                    <a:pt x="349" y="0"/>
                  </a:lnTo>
                  <a:close/>
                </a:path>
              </a:pathLst>
            </a:custGeom>
            <a:solidFill>
              <a:srgbClr val="CF0072"/>
            </a:solidFill>
            <a:ln w="0">
              <a:solidFill>
                <a:srgbClr val="CF007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101" name="Freeform 26"/>
            <p:cNvSpPr>
              <a:spLocks noEditPoints="1"/>
            </p:cNvSpPr>
            <p:nvPr/>
          </p:nvSpPr>
          <p:spPr bwMode="auto">
            <a:xfrm>
              <a:off x="3656747" y="1920877"/>
              <a:ext cx="1031875" cy="522288"/>
            </a:xfrm>
            <a:custGeom>
              <a:avLst/>
              <a:gdLst>
                <a:gd name="T0" fmla="*/ 650 w 650"/>
                <a:gd name="T1" fmla="*/ 237 h 329"/>
                <a:gd name="T2" fmla="*/ 516 w 650"/>
                <a:gd name="T3" fmla="*/ 237 h 329"/>
                <a:gd name="T4" fmla="*/ 516 w 650"/>
                <a:gd name="T5" fmla="*/ 237 h 329"/>
                <a:gd name="T6" fmla="*/ 650 w 650"/>
                <a:gd name="T7" fmla="*/ 237 h 329"/>
                <a:gd name="T8" fmla="*/ 92 w 650"/>
                <a:gd name="T9" fmla="*/ 0 h 329"/>
                <a:gd name="T10" fmla="*/ 92 w 650"/>
                <a:gd name="T11" fmla="*/ 185 h 329"/>
                <a:gd name="T12" fmla="*/ 95 w 650"/>
                <a:gd name="T13" fmla="*/ 202 h 329"/>
                <a:gd name="T14" fmla="*/ 102 w 650"/>
                <a:gd name="T15" fmla="*/ 216 h 329"/>
                <a:gd name="T16" fmla="*/ 114 w 650"/>
                <a:gd name="T17" fmla="*/ 227 h 329"/>
                <a:gd name="T18" fmla="*/ 127 w 650"/>
                <a:gd name="T19" fmla="*/ 234 h 329"/>
                <a:gd name="T20" fmla="*/ 144 w 650"/>
                <a:gd name="T21" fmla="*/ 237 h 329"/>
                <a:gd name="T22" fmla="*/ 516 w 650"/>
                <a:gd name="T23" fmla="*/ 237 h 329"/>
                <a:gd name="T24" fmla="*/ 532 w 650"/>
                <a:gd name="T25" fmla="*/ 270 h 329"/>
                <a:gd name="T26" fmla="*/ 550 w 650"/>
                <a:gd name="T27" fmla="*/ 301 h 329"/>
                <a:gd name="T28" fmla="*/ 572 w 650"/>
                <a:gd name="T29" fmla="*/ 329 h 329"/>
                <a:gd name="T30" fmla="*/ 144 w 650"/>
                <a:gd name="T31" fmla="*/ 329 h 329"/>
                <a:gd name="T32" fmla="*/ 144 w 650"/>
                <a:gd name="T33" fmla="*/ 329 h 329"/>
                <a:gd name="T34" fmla="*/ 115 w 650"/>
                <a:gd name="T35" fmla="*/ 326 h 329"/>
                <a:gd name="T36" fmla="*/ 88 w 650"/>
                <a:gd name="T37" fmla="*/ 318 h 329"/>
                <a:gd name="T38" fmla="*/ 64 w 650"/>
                <a:gd name="T39" fmla="*/ 305 h 329"/>
                <a:gd name="T40" fmla="*/ 43 w 650"/>
                <a:gd name="T41" fmla="*/ 287 h 329"/>
                <a:gd name="T42" fmla="*/ 25 w 650"/>
                <a:gd name="T43" fmla="*/ 266 h 329"/>
                <a:gd name="T44" fmla="*/ 12 w 650"/>
                <a:gd name="T45" fmla="*/ 242 h 329"/>
                <a:gd name="T46" fmla="*/ 3 w 650"/>
                <a:gd name="T47" fmla="*/ 215 h 329"/>
                <a:gd name="T48" fmla="*/ 0 w 650"/>
                <a:gd name="T49" fmla="*/ 185 h 329"/>
                <a:gd name="T50" fmla="*/ 0 w 650"/>
                <a:gd name="T51" fmla="*/ 105 h 329"/>
                <a:gd name="T52" fmla="*/ 44 w 650"/>
                <a:gd name="T53" fmla="*/ 51 h 329"/>
                <a:gd name="T54" fmla="*/ 92 w 650"/>
                <a:gd name="T55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0" h="329">
                  <a:moveTo>
                    <a:pt x="650" y="237"/>
                  </a:moveTo>
                  <a:lnTo>
                    <a:pt x="516" y="237"/>
                  </a:lnTo>
                  <a:lnTo>
                    <a:pt x="516" y="237"/>
                  </a:lnTo>
                  <a:lnTo>
                    <a:pt x="650" y="237"/>
                  </a:lnTo>
                  <a:close/>
                  <a:moveTo>
                    <a:pt x="92" y="0"/>
                  </a:moveTo>
                  <a:lnTo>
                    <a:pt x="92" y="185"/>
                  </a:lnTo>
                  <a:lnTo>
                    <a:pt x="95" y="202"/>
                  </a:lnTo>
                  <a:lnTo>
                    <a:pt x="102" y="216"/>
                  </a:lnTo>
                  <a:lnTo>
                    <a:pt x="114" y="227"/>
                  </a:lnTo>
                  <a:lnTo>
                    <a:pt x="127" y="234"/>
                  </a:lnTo>
                  <a:lnTo>
                    <a:pt x="144" y="237"/>
                  </a:lnTo>
                  <a:lnTo>
                    <a:pt x="516" y="237"/>
                  </a:lnTo>
                  <a:lnTo>
                    <a:pt x="532" y="270"/>
                  </a:lnTo>
                  <a:lnTo>
                    <a:pt x="550" y="301"/>
                  </a:lnTo>
                  <a:lnTo>
                    <a:pt x="572" y="329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15" y="326"/>
                  </a:lnTo>
                  <a:lnTo>
                    <a:pt x="88" y="318"/>
                  </a:lnTo>
                  <a:lnTo>
                    <a:pt x="64" y="305"/>
                  </a:lnTo>
                  <a:lnTo>
                    <a:pt x="43" y="287"/>
                  </a:lnTo>
                  <a:lnTo>
                    <a:pt x="25" y="266"/>
                  </a:lnTo>
                  <a:lnTo>
                    <a:pt x="12" y="242"/>
                  </a:lnTo>
                  <a:lnTo>
                    <a:pt x="3" y="215"/>
                  </a:lnTo>
                  <a:lnTo>
                    <a:pt x="0" y="185"/>
                  </a:lnTo>
                  <a:lnTo>
                    <a:pt x="0" y="105"/>
                  </a:lnTo>
                  <a:lnTo>
                    <a:pt x="44" y="51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FF4500"/>
            </a:solidFill>
            <a:ln w="0">
              <a:solidFill>
                <a:srgbClr val="FF45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</p:grpSp>
      <p:sp>
        <p:nvSpPr>
          <p:cNvPr id="102" name="Content Placeholder 2"/>
          <p:cNvSpPr txBox="1">
            <a:spLocks/>
          </p:cNvSpPr>
          <p:nvPr/>
        </p:nvSpPr>
        <p:spPr>
          <a:xfrm>
            <a:off x="313549" y="1369265"/>
            <a:ext cx="2914177" cy="198823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0662" indent="-130662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263744" indent="-131872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396825" indent="-133082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Trebuchet MS" pitchFamily="34" charset="0"/>
              </a:defRPr>
            </a:lvl3pPr>
            <a:lvl4pPr marL="480304" indent="-87108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Trebuchet MS" pitchFamily="34" charset="0"/>
              </a:defRPr>
            </a:lvl4pPr>
            <a:lvl5pPr marL="564993" indent="-84688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Trebuchet MS" pitchFamily="34" charset="0"/>
              </a:defRPr>
            </a:lvl5pPr>
            <a:lvl6pPr marL="1093690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6pPr>
            <a:lvl7pPr marL="1442122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7pPr>
            <a:lvl8pPr marL="1790554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8pPr>
            <a:lvl9pPr marL="2138986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buClr>
                <a:schemeClr val="bg1"/>
              </a:buClr>
              <a:buFont typeface="Wingdings" charset="2"/>
              <a:buChar char="Ø"/>
            </a:pP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Connect</a:t>
            </a: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 </a:t>
            </a: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any</a:t>
            </a: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 web site</a:t>
            </a: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Audio &amp; </a:t>
            </a: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Video</a:t>
            </a: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 communication</a:t>
            </a: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IM and File Sharing</a:t>
            </a: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Availability</a:t>
            </a:r>
            <a:endParaRPr lang="fr-FR" sz="1400" dirty="0" smtClean="0">
              <a:solidFill>
                <a:schemeClr val="bg1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Data-</a:t>
            </a: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Analytics</a:t>
            </a:r>
            <a:endParaRPr lang="fr-FR" sz="1400" dirty="0" smtClean="0">
              <a:solidFill>
                <a:schemeClr val="bg1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  <a:p>
            <a:pPr>
              <a:spcBef>
                <a:spcPts val="0"/>
              </a:spcBef>
              <a:buClr>
                <a:schemeClr val="bg1"/>
              </a:buClr>
            </a:pPr>
            <a:endParaRPr lang="fr-FR" sz="1400" dirty="0" smtClean="0">
              <a:solidFill>
                <a:schemeClr val="bg1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  <a:p>
            <a:pPr>
              <a:spcBef>
                <a:spcPts val="0"/>
              </a:spcBef>
              <a:buClr>
                <a:schemeClr val="bg1"/>
              </a:buClr>
            </a:pPr>
            <a:endParaRPr lang="fr-FR" sz="1400" dirty="0" smtClean="0">
              <a:solidFill>
                <a:schemeClr val="bg1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</p:txBody>
      </p:sp>
      <p:sp>
        <p:nvSpPr>
          <p:cNvPr id="106" name="Titre 15"/>
          <p:cNvSpPr txBox="1">
            <a:spLocks/>
          </p:cNvSpPr>
          <p:nvPr/>
        </p:nvSpPr>
        <p:spPr>
          <a:xfrm>
            <a:off x="6184110" y="732013"/>
            <a:ext cx="2764736" cy="46355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r>
              <a:rPr lang="fr-FR" sz="1800" b="0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2) RE-IMAGINE YOUR PROCESSES</a:t>
            </a:r>
            <a:endParaRPr lang="fr-FR" sz="1800" b="0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8" name="Content Placeholder 2"/>
          <p:cNvSpPr txBox="1">
            <a:spLocks/>
          </p:cNvSpPr>
          <p:nvPr/>
        </p:nvSpPr>
        <p:spPr>
          <a:xfrm>
            <a:off x="6582429" y="1315525"/>
            <a:ext cx="2561572" cy="86793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0662" indent="-130662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263744" indent="-131872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396825" indent="-133082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Trebuchet MS" pitchFamily="34" charset="0"/>
              </a:defRPr>
            </a:lvl3pPr>
            <a:lvl4pPr marL="480304" indent="-87108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Trebuchet MS" pitchFamily="34" charset="0"/>
              </a:defRPr>
            </a:lvl4pPr>
            <a:lvl5pPr marL="564993" indent="-84688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Trebuchet MS" pitchFamily="34" charset="0"/>
              </a:defRPr>
            </a:lvl5pPr>
            <a:lvl6pPr marL="1093690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6pPr>
            <a:lvl7pPr marL="1442122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7pPr>
            <a:lvl8pPr marL="1790554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8pPr>
            <a:lvl9pPr marL="2138986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buClr>
                <a:schemeClr val="bg1"/>
              </a:buClr>
              <a:buFont typeface="Wingdings" charset="2"/>
              <a:buChar char="Ø"/>
            </a:pPr>
            <a:r>
              <a:rPr lang="fr-FR" sz="1400" dirty="0" err="1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Connect</a:t>
            </a:r>
            <a:r>
              <a:rPr lang="fr-FR" sz="1400" dirty="0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any</a:t>
            </a:r>
            <a:r>
              <a:rPr lang="fr-FR" sz="1400" dirty="0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 server</a:t>
            </a: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fr-FR" sz="1400" dirty="0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Bot IA </a:t>
            </a:r>
            <a:r>
              <a:rPr lang="fr-FR" sz="1400" dirty="0" err="1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relay</a:t>
            </a:r>
            <a:endParaRPr lang="fr-FR" sz="1400" dirty="0" smtClean="0">
              <a:solidFill>
                <a:srgbClr val="FFFFFF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fr-FR" sz="1400" dirty="0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Administrative &amp; </a:t>
            </a:r>
            <a:r>
              <a:rPr lang="fr-FR" sz="1400" dirty="0" err="1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Provisionning</a:t>
            </a:r>
            <a:endParaRPr lang="fr-FR" sz="1400" dirty="0" smtClean="0">
              <a:solidFill>
                <a:srgbClr val="FFFFFF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</p:txBody>
      </p:sp>
      <p:sp>
        <p:nvSpPr>
          <p:cNvPr id="114" name="Titre 15"/>
          <p:cNvSpPr txBox="1">
            <a:spLocks/>
          </p:cNvSpPr>
          <p:nvPr/>
        </p:nvSpPr>
        <p:spPr>
          <a:xfrm>
            <a:off x="6566185" y="2680098"/>
            <a:ext cx="2547153" cy="43815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r>
              <a:rPr lang="fr-FR" sz="1800" b="0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4) RE-IMAGING YOUR USAGE</a:t>
            </a:r>
            <a:endParaRPr lang="fr-FR" sz="1800" b="0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5" name="Content Placeholder 2"/>
          <p:cNvSpPr txBox="1">
            <a:spLocks/>
          </p:cNvSpPr>
          <p:nvPr/>
        </p:nvSpPr>
        <p:spPr>
          <a:xfrm>
            <a:off x="6881017" y="3219225"/>
            <a:ext cx="2203360" cy="136345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0662" indent="-130662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263744" indent="-131872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396825" indent="-133082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Trebuchet MS" pitchFamily="34" charset="0"/>
              </a:defRPr>
            </a:lvl3pPr>
            <a:lvl4pPr marL="480304" indent="-87108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Trebuchet MS" pitchFamily="34" charset="0"/>
              </a:defRPr>
            </a:lvl4pPr>
            <a:lvl5pPr marL="564993" indent="-84688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Trebuchet MS" pitchFamily="34" charset="0"/>
              </a:defRPr>
            </a:lvl5pPr>
            <a:lvl6pPr marL="1093690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6pPr>
            <a:lvl7pPr marL="1442122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7pPr>
            <a:lvl8pPr marL="1790554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8pPr>
            <a:lvl9pPr marL="2138986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buClr>
                <a:schemeClr val="bg1"/>
              </a:buClr>
              <a:buFont typeface="Wingdings" charset="2"/>
              <a:buChar char="Ø"/>
            </a:pPr>
            <a:r>
              <a:rPr lang="en-US" sz="1400" dirty="0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Connect any mobile</a:t>
            </a: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1400" dirty="0" err="1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Geolocalization</a:t>
            </a:r>
            <a:r>
              <a:rPr lang="en-US" sz="1400" dirty="0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 &amp; Tracking</a:t>
            </a: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1400" dirty="0" smtClean="0">
                <a:solidFill>
                  <a:srgbClr val="FFFFFF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Speech Recognition</a:t>
            </a:r>
          </a:p>
          <a:p>
            <a:pPr>
              <a:spcBef>
                <a:spcPts val="0"/>
              </a:spcBef>
              <a:buClr>
                <a:schemeClr val="bg1"/>
              </a:buClr>
            </a:pPr>
            <a:endParaRPr lang="en-US" sz="1400" dirty="0" smtClean="0">
              <a:solidFill>
                <a:srgbClr val="FFFFFF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</p:txBody>
      </p:sp>
      <p:pic>
        <p:nvPicPr>
          <p:cNvPr id="26" name="Image 25" descr="logo.ale.bw_HD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4846" y="4733525"/>
            <a:ext cx="1114882" cy="298788"/>
          </a:xfrm>
          <a:prstGeom prst="rect">
            <a:avLst/>
          </a:prstGeom>
        </p:spPr>
      </p:pic>
      <p:sp>
        <p:nvSpPr>
          <p:cNvPr id="25" name="Titre 15"/>
          <p:cNvSpPr txBox="1">
            <a:spLocks/>
          </p:cNvSpPr>
          <p:nvPr/>
        </p:nvSpPr>
        <p:spPr>
          <a:xfrm>
            <a:off x="49664" y="3289798"/>
            <a:ext cx="2536232" cy="46355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algn="r"/>
            <a:r>
              <a:rPr lang="fr-FR" sz="1800" b="0" i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3) RE-IMAGINE YOUR ECOSYSTEM</a:t>
            </a:r>
            <a:endParaRPr lang="fr-FR" sz="1800" b="0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640916" y="3894427"/>
            <a:ext cx="2914177" cy="86793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0662" indent="-130662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Font typeface="Arial" pitchFamily="34" charset="0"/>
              <a:buChar char="•"/>
              <a:defRPr sz="15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263744" indent="-131872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396825" indent="-133082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Trebuchet MS" pitchFamily="34" charset="0"/>
              </a:defRPr>
            </a:lvl3pPr>
            <a:lvl4pPr marL="480304" indent="-87108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Trebuchet MS" pitchFamily="34" charset="0"/>
              </a:defRPr>
            </a:lvl4pPr>
            <a:lvl5pPr marL="564993" indent="-84688" algn="l" rtl="0" eaLnBrk="1" fontAlgn="base" hangingPunct="1">
              <a:spcBef>
                <a:spcPct val="20000"/>
              </a:spcBef>
              <a:spcAft>
                <a:spcPct val="30000"/>
              </a:spcAft>
              <a:buClrTx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Trebuchet MS" pitchFamily="34" charset="0"/>
              </a:defRPr>
            </a:lvl5pPr>
            <a:lvl6pPr marL="1093690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6pPr>
            <a:lvl7pPr marL="1442122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7pPr>
            <a:lvl8pPr marL="1790554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8pPr>
            <a:lvl9pPr marL="2138986" indent="-174216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buClr>
                <a:schemeClr val="bg1"/>
              </a:buClr>
              <a:buFont typeface="Wingdings" charset="2"/>
              <a:buChar char="Ø"/>
            </a:pP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Connect</a:t>
            </a: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 </a:t>
            </a: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any</a:t>
            </a: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 IOT </a:t>
            </a: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device</a:t>
            </a:r>
            <a:endParaRPr lang="fr-FR" sz="1400" dirty="0" smtClean="0">
              <a:solidFill>
                <a:schemeClr val="bg1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Scenarios </a:t>
            </a: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based</a:t>
            </a:r>
            <a:endParaRPr lang="fr-FR" sz="1400" dirty="0" smtClean="0">
              <a:solidFill>
                <a:schemeClr val="bg1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Monitor and </a:t>
            </a: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send</a:t>
            </a: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 </a:t>
            </a:r>
            <a:r>
              <a:rPr lang="fr-FR" sz="1400" dirty="0" err="1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a</a:t>
            </a:r>
            <a:r>
              <a:rPr lang="fr-FR" sz="1400" dirty="0" err="1" smtClean="0">
                <a:solidFill>
                  <a:schemeClr val="bg1"/>
                </a:solidFill>
                <a:latin typeface="Calibri" pitchFamily="34" charset="0"/>
                <a:ea typeface="Microsoft JhengHei UI" pitchFamily="34" charset="-120"/>
                <a:cs typeface="Trebuchet MS"/>
              </a:rPr>
              <a:t>larms</a:t>
            </a:r>
            <a:endParaRPr lang="fr-FR" sz="1400" dirty="0" smtClean="0">
              <a:solidFill>
                <a:schemeClr val="bg1"/>
              </a:solidFill>
              <a:latin typeface="Calibri" pitchFamily="34" charset="0"/>
              <a:ea typeface="Microsoft JhengHei UI" pitchFamily="34" charset="-120"/>
              <a:cs typeface="Trebuchet MS"/>
            </a:endParaRPr>
          </a:p>
        </p:txBody>
      </p:sp>
      <p:sp>
        <p:nvSpPr>
          <p:cNvPr id="28" name="Oval 13"/>
          <p:cNvSpPr/>
          <p:nvPr/>
        </p:nvSpPr>
        <p:spPr>
          <a:xfrm>
            <a:off x="2258879" y="1118107"/>
            <a:ext cx="1979901" cy="1930400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29" name="Titre 15"/>
          <p:cNvSpPr txBox="1">
            <a:spLocks/>
          </p:cNvSpPr>
          <p:nvPr/>
        </p:nvSpPr>
        <p:spPr>
          <a:xfrm>
            <a:off x="5689003" y="1292945"/>
            <a:ext cx="667062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?</a:t>
            </a: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pic>
        <p:nvPicPr>
          <p:cNvPr id="30" name="Image 29"/>
          <p:cNvPicPr>
            <a:picLocks noChangeAspect="1"/>
          </p:cNvPicPr>
          <p:nvPr/>
        </p:nvPicPr>
        <p:blipFill>
          <a:blip r:embed="rId7" cstate="print">
            <a:biLevel thresh="25000"/>
          </a:blip>
          <a:stretch>
            <a:fillRect/>
          </a:stretch>
        </p:blipFill>
        <p:spPr>
          <a:xfrm flipH="1">
            <a:off x="5356797" y="1296955"/>
            <a:ext cx="368476" cy="223319"/>
          </a:xfrm>
          <a:prstGeom prst="rect">
            <a:avLst/>
          </a:prstGeom>
        </p:spPr>
      </p:pic>
      <p:sp>
        <p:nvSpPr>
          <p:cNvPr id="33" name="Oval 13"/>
          <p:cNvSpPr/>
          <p:nvPr/>
        </p:nvSpPr>
        <p:spPr>
          <a:xfrm>
            <a:off x="4518511" y="984086"/>
            <a:ext cx="1979901" cy="1930400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pic>
        <p:nvPicPr>
          <p:cNvPr id="31" name="Image 30"/>
          <p:cNvPicPr>
            <a:picLocks noChangeAspect="1"/>
          </p:cNvPicPr>
          <p:nvPr/>
        </p:nvPicPr>
        <p:blipFill>
          <a:blip r:embed="rId7" cstate="print">
            <a:biLevel thresh="25000"/>
          </a:blip>
          <a:stretch>
            <a:fillRect/>
          </a:stretch>
        </p:blipFill>
        <p:spPr>
          <a:xfrm>
            <a:off x="2788808" y="1590444"/>
            <a:ext cx="375883" cy="227808"/>
          </a:xfrm>
          <a:prstGeom prst="rect">
            <a:avLst/>
          </a:prstGeom>
        </p:spPr>
      </p:pic>
      <p:sp>
        <p:nvSpPr>
          <p:cNvPr id="32" name="Titre 15"/>
          <p:cNvSpPr txBox="1">
            <a:spLocks/>
          </p:cNvSpPr>
          <p:nvPr/>
        </p:nvSpPr>
        <p:spPr>
          <a:xfrm>
            <a:off x="2574058" y="1582040"/>
            <a:ext cx="725985" cy="23621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endParaRPr lang="fr-FR" sz="1200" kern="0" cap="all" baseline="30000" dirty="0">
              <a:solidFill>
                <a:schemeClr val="bg1"/>
              </a:solidFill>
            </a:endParaRPr>
          </a:p>
        </p:txBody>
      </p:sp>
      <p:sp>
        <p:nvSpPr>
          <p:cNvPr id="34" name="Titre 15"/>
          <p:cNvSpPr txBox="1">
            <a:spLocks/>
          </p:cNvSpPr>
          <p:nvPr/>
        </p:nvSpPr>
        <p:spPr>
          <a:xfrm>
            <a:off x="6053266" y="1640094"/>
            <a:ext cx="667062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endParaRPr lang="fr-FR" sz="1200" kern="0" cap="all" baseline="30000" dirty="0">
              <a:solidFill>
                <a:srgbClr val="FFFFFF"/>
              </a:solidFill>
            </a:endParaRPr>
          </a:p>
        </p:txBody>
      </p:sp>
      <p:pic>
        <p:nvPicPr>
          <p:cNvPr id="36" name="Image 35"/>
          <p:cNvPicPr>
            <a:picLocks noChangeAspect="1"/>
          </p:cNvPicPr>
          <p:nvPr/>
        </p:nvPicPr>
        <p:blipFill>
          <a:blip r:embed="rId7" cstate="print">
            <a:biLevel thresh="25000"/>
          </a:blip>
          <a:stretch>
            <a:fillRect/>
          </a:stretch>
        </p:blipFill>
        <p:spPr>
          <a:xfrm flipH="1">
            <a:off x="5738489" y="1652075"/>
            <a:ext cx="368476" cy="223319"/>
          </a:xfrm>
          <a:prstGeom prst="rect">
            <a:avLst/>
          </a:prstGeom>
        </p:spPr>
      </p:pic>
      <p:sp>
        <p:nvSpPr>
          <p:cNvPr id="37" name="Oval 13"/>
          <p:cNvSpPr/>
          <p:nvPr/>
        </p:nvSpPr>
        <p:spPr>
          <a:xfrm>
            <a:off x="2467485" y="3128030"/>
            <a:ext cx="1979901" cy="1930400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pic>
        <p:nvPicPr>
          <p:cNvPr id="38" name="Image 37"/>
          <p:cNvPicPr>
            <a:picLocks noChangeAspect="1"/>
          </p:cNvPicPr>
          <p:nvPr/>
        </p:nvPicPr>
        <p:blipFill>
          <a:blip r:embed="rId7" cstate="print">
            <a:biLevel thresh="25000"/>
          </a:blip>
          <a:stretch>
            <a:fillRect/>
          </a:stretch>
        </p:blipFill>
        <p:spPr>
          <a:xfrm flipV="1">
            <a:off x="3081107" y="4306153"/>
            <a:ext cx="354795" cy="215027"/>
          </a:xfrm>
          <a:prstGeom prst="rect">
            <a:avLst/>
          </a:prstGeom>
        </p:spPr>
      </p:pic>
      <p:sp>
        <p:nvSpPr>
          <p:cNvPr id="39" name="Titre 15"/>
          <p:cNvSpPr txBox="1">
            <a:spLocks/>
          </p:cNvSpPr>
          <p:nvPr/>
        </p:nvSpPr>
        <p:spPr>
          <a:xfrm>
            <a:off x="2861640" y="4246321"/>
            <a:ext cx="512637" cy="30271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endParaRPr lang="fr-FR" sz="2400" kern="0" cap="all" baseline="30000" dirty="0">
              <a:solidFill>
                <a:schemeClr val="bg1"/>
              </a:solidFill>
            </a:endParaRPr>
          </a:p>
        </p:txBody>
      </p:sp>
      <p:sp>
        <p:nvSpPr>
          <p:cNvPr id="40" name="Oval 13"/>
          <p:cNvSpPr/>
          <p:nvPr/>
        </p:nvSpPr>
        <p:spPr>
          <a:xfrm>
            <a:off x="4715616" y="2935750"/>
            <a:ext cx="1979901" cy="1930400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41" name="Titre 15"/>
          <p:cNvSpPr txBox="1">
            <a:spLocks/>
          </p:cNvSpPr>
          <p:nvPr/>
        </p:nvSpPr>
        <p:spPr>
          <a:xfrm>
            <a:off x="6073178" y="3965303"/>
            <a:ext cx="667062" cy="35913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endParaRPr lang="fr-FR" sz="1800" kern="0" cap="all" baseline="30000" dirty="0">
              <a:solidFill>
                <a:srgbClr val="FFFFFF"/>
              </a:solidFill>
            </a:endParaRPr>
          </a:p>
        </p:txBody>
      </p:sp>
      <p:pic>
        <p:nvPicPr>
          <p:cNvPr id="42" name="Image 41"/>
          <p:cNvPicPr>
            <a:picLocks noChangeAspect="1"/>
          </p:cNvPicPr>
          <p:nvPr/>
        </p:nvPicPr>
        <p:blipFill>
          <a:blip r:embed="rId7" cstate="print">
            <a:biLevel thresh="25000"/>
          </a:blip>
          <a:stretch>
            <a:fillRect/>
          </a:stretch>
        </p:blipFill>
        <p:spPr>
          <a:xfrm flipH="1" flipV="1">
            <a:off x="5764768" y="4020691"/>
            <a:ext cx="366127" cy="221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43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9047" y="25874"/>
            <a:ext cx="9163047" cy="5132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Image 14" descr="logo.ale.bw_HD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079" y="4705744"/>
            <a:ext cx="1118800" cy="29979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b="0" dirty="0" smtClean="0">
                <a:solidFill>
                  <a:schemeClr val="bg1"/>
                </a:solidFill>
              </a:rPr>
              <a:t>RAINBOW: THE GAME-CHANGING PLATFORM</a:t>
            </a:r>
            <a:endParaRPr lang="en-US" sz="1800" b="0" dirty="0">
              <a:solidFill>
                <a:schemeClr val="bg1"/>
              </a:solidFill>
            </a:endParaRPr>
          </a:p>
        </p:txBody>
      </p:sp>
      <p:cxnSp>
        <p:nvCxnSpPr>
          <p:cNvPr id="20" name="Connecteur droit 19"/>
          <p:cNvCxnSpPr/>
          <p:nvPr/>
        </p:nvCxnSpPr>
        <p:spPr bwMode="auto">
          <a:xfrm flipV="1">
            <a:off x="8257196" y="1509022"/>
            <a:ext cx="145117" cy="340979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21" name="Connecteur droit 20"/>
          <p:cNvCxnSpPr/>
          <p:nvPr/>
        </p:nvCxnSpPr>
        <p:spPr bwMode="auto">
          <a:xfrm flipV="1">
            <a:off x="7682172" y="2993062"/>
            <a:ext cx="661853" cy="157297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sp>
        <p:nvSpPr>
          <p:cNvPr id="22" name="ZoneTexte 21"/>
          <p:cNvSpPr txBox="1"/>
          <p:nvPr/>
        </p:nvSpPr>
        <p:spPr>
          <a:xfrm>
            <a:off x="3685071" y="798953"/>
            <a:ext cx="1937868" cy="35083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 dirty="0" smtClean="0"/>
              <a:t>RELATIONS</a:t>
            </a:r>
            <a:endParaRPr lang="fr-FR" dirty="0"/>
          </a:p>
        </p:txBody>
      </p:sp>
      <p:sp>
        <p:nvSpPr>
          <p:cNvPr id="23" name="ZoneTexte 22"/>
          <p:cNvSpPr txBox="1"/>
          <p:nvPr/>
        </p:nvSpPr>
        <p:spPr>
          <a:xfrm>
            <a:off x="6592456" y="756270"/>
            <a:ext cx="1937868" cy="35083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 dirty="0" smtClean="0"/>
              <a:t>SERVICES</a:t>
            </a:r>
            <a:endParaRPr lang="fr-FR" dirty="0"/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6229803" y="1871942"/>
            <a:ext cx="178032" cy="148970"/>
            <a:chOff x="2076" y="952"/>
            <a:chExt cx="1605" cy="1343"/>
          </a:xfrm>
          <a:solidFill>
            <a:schemeClr val="bg1"/>
          </a:solidFill>
        </p:grpSpPr>
        <p:sp>
          <p:nvSpPr>
            <p:cNvPr id="26" name="Freeform 6"/>
            <p:cNvSpPr>
              <a:spLocks noEditPoints="1"/>
            </p:cNvSpPr>
            <p:nvPr/>
          </p:nvSpPr>
          <p:spPr bwMode="auto">
            <a:xfrm>
              <a:off x="2076" y="952"/>
              <a:ext cx="1605" cy="1343"/>
            </a:xfrm>
            <a:custGeom>
              <a:avLst/>
              <a:gdLst>
                <a:gd name="T0" fmla="*/ 508 w 4815"/>
                <a:gd name="T1" fmla="*/ 222 h 4030"/>
                <a:gd name="T2" fmla="*/ 406 w 4815"/>
                <a:gd name="T3" fmla="*/ 256 h 4030"/>
                <a:gd name="T4" fmla="*/ 320 w 4815"/>
                <a:gd name="T5" fmla="*/ 319 h 4030"/>
                <a:gd name="T6" fmla="*/ 257 w 4815"/>
                <a:gd name="T7" fmla="*/ 405 h 4030"/>
                <a:gd name="T8" fmla="*/ 222 w 4815"/>
                <a:gd name="T9" fmla="*/ 509 h 4030"/>
                <a:gd name="T10" fmla="*/ 217 w 4815"/>
                <a:gd name="T11" fmla="*/ 2579 h 4030"/>
                <a:gd name="T12" fmla="*/ 235 w 4815"/>
                <a:gd name="T13" fmla="*/ 2688 h 4030"/>
                <a:gd name="T14" fmla="*/ 285 w 4815"/>
                <a:gd name="T15" fmla="*/ 2783 h 4030"/>
                <a:gd name="T16" fmla="*/ 359 w 4815"/>
                <a:gd name="T17" fmla="*/ 2859 h 4030"/>
                <a:gd name="T18" fmla="*/ 456 w 4815"/>
                <a:gd name="T19" fmla="*/ 2909 h 4030"/>
                <a:gd name="T20" fmla="*/ 565 w 4815"/>
                <a:gd name="T21" fmla="*/ 2926 h 4030"/>
                <a:gd name="T22" fmla="*/ 1115 w 4815"/>
                <a:gd name="T23" fmla="*/ 2929 h 4030"/>
                <a:gd name="T24" fmla="*/ 1163 w 4815"/>
                <a:gd name="T25" fmla="*/ 2957 h 4030"/>
                <a:gd name="T26" fmla="*/ 1618 w 4815"/>
                <a:gd name="T27" fmla="*/ 3712 h 4030"/>
                <a:gd name="T28" fmla="*/ 2089 w 4815"/>
                <a:gd name="T29" fmla="*/ 2957 h 4030"/>
                <a:gd name="T30" fmla="*/ 2136 w 4815"/>
                <a:gd name="T31" fmla="*/ 2929 h 4030"/>
                <a:gd name="T32" fmla="*/ 4249 w 4815"/>
                <a:gd name="T33" fmla="*/ 2926 h 4030"/>
                <a:gd name="T34" fmla="*/ 4360 w 4815"/>
                <a:gd name="T35" fmla="*/ 2909 h 4030"/>
                <a:gd name="T36" fmla="*/ 4455 w 4815"/>
                <a:gd name="T37" fmla="*/ 2859 h 4030"/>
                <a:gd name="T38" fmla="*/ 4530 w 4815"/>
                <a:gd name="T39" fmla="*/ 2783 h 4030"/>
                <a:gd name="T40" fmla="*/ 4579 w 4815"/>
                <a:gd name="T41" fmla="*/ 2688 h 4030"/>
                <a:gd name="T42" fmla="*/ 4597 w 4815"/>
                <a:gd name="T43" fmla="*/ 2579 h 4030"/>
                <a:gd name="T44" fmla="*/ 4593 w 4815"/>
                <a:gd name="T45" fmla="*/ 509 h 4030"/>
                <a:gd name="T46" fmla="*/ 4559 w 4815"/>
                <a:gd name="T47" fmla="*/ 405 h 4030"/>
                <a:gd name="T48" fmla="*/ 4496 w 4815"/>
                <a:gd name="T49" fmla="*/ 319 h 4030"/>
                <a:gd name="T50" fmla="*/ 4410 w 4815"/>
                <a:gd name="T51" fmla="*/ 256 h 4030"/>
                <a:gd name="T52" fmla="*/ 4306 w 4815"/>
                <a:gd name="T53" fmla="*/ 222 h 4030"/>
                <a:gd name="T54" fmla="*/ 565 w 4815"/>
                <a:gd name="T55" fmla="*/ 218 h 4030"/>
                <a:gd name="T56" fmla="*/ 4249 w 4815"/>
                <a:gd name="T57" fmla="*/ 0 h 4030"/>
                <a:gd name="T58" fmla="*/ 4389 w 4815"/>
                <a:gd name="T59" fmla="*/ 16 h 4030"/>
                <a:gd name="T60" fmla="*/ 4515 w 4815"/>
                <a:gd name="T61" fmla="*/ 66 h 4030"/>
                <a:gd name="T62" fmla="*/ 4625 w 4815"/>
                <a:gd name="T63" fmla="*/ 142 h 4030"/>
                <a:gd name="T64" fmla="*/ 4714 w 4815"/>
                <a:gd name="T65" fmla="*/ 243 h 4030"/>
                <a:gd name="T66" fmla="*/ 4777 w 4815"/>
                <a:gd name="T67" fmla="*/ 361 h 4030"/>
                <a:gd name="T68" fmla="*/ 4810 w 4815"/>
                <a:gd name="T69" fmla="*/ 494 h 4030"/>
                <a:gd name="T70" fmla="*/ 4815 w 4815"/>
                <a:gd name="T71" fmla="*/ 2579 h 4030"/>
                <a:gd name="T72" fmla="*/ 4797 w 4815"/>
                <a:gd name="T73" fmla="*/ 2717 h 4030"/>
                <a:gd name="T74" fmla="*/ 4749 w 4815"/>
                <a:gd name="T75" fmla="*/ 2844 h 4030"/>
                <a:gd name="T76" fmla="*/ 4673 w 4815"/>
                <a:gd name="T77" fmla="*/ 2954 h 4030"/>
                <a:gd name="T78" fmla="*/ 4572 w 4815"/>
                <a:gd name="T79" fmla="*/ 3043 h 4030"/>
                <a:gd name="T80" fmla="*/ 4454 w 4815"/>
                <a:gd name="T81" fmla="*/ 3106 h 4030"/>
                <a:gd name="T82" fmla="*/ 4321 w 4815"/>
                <a:gd name="T83" fmla="*/ 3139 h 4030"/>
                <a:gd name="T84" fmla="*/ 2225 w 4815"/>
                <a:gd name="T85" fmla="*/ 3144 h 4030"/>
                <a:gd name="T86" fmla="*/ 1693 w 4815"/>
                <a:gd name="T87" fmla="*/ 4001 h 4030"/>
                <a:gd name="T88" fmla="*/ 1645 w 4815"/>
                <a:gd name="T89" fmla="*/ 4027 h 4030"/>
                <a:gd name="T90" fmla="*/ 1617 w 4815"/>
                <a:gd name="T91" fmla="*/ 4030 h 4030"/>
                <a:gd name="T92" fmla="*/ 1563 w 4815"/>
                <a:gd name="T93" fmla="*/ 4015 h 4030"/>
                <a:gd name="T94" fmla="*/ 1523 w 4815"/>
                <a:gd name="T95" fmla="*/ 3977 h 4030"/>
                <a:gd name="T96" fmla="*/ 565 w 4815"/>
                <a:gd name="T97" fmla="*/ 3144 h 4030"/>
                <a:gd name="T98" fmla="*/ 427 w 4815"/>
                <a:gd name="T99" fmla="*/ 3126 h 4030"/>
                <a:gd name="T100" fmla="*/ 299 w 4815"/>
                <a:gd name="T101" fmla="*/ 3078 h 4030"/>
                <a:gd name="T102" fmla="*/ 190 w 4815"/>
                <a:gd name="T103" fmla="*/ 3001 h 4030"/>
                <a:gd name="T104" fmla="*/ 100 w 4815"/>
                <a:gd name="T105" fmla="*/ 2901 h 4030"/>
                <a:gd name="T106" fmla="*/ 38 w 4815"/>
                <a:gd name="T107" fmla="*/ 2783 h 4030"/>
                <a:gd name="T108" fmla="*/ 4 w 4815"/>
                <a:gd name="T109" fmla="*/ 2650 h 4030"/>
                <a:gd name="T110" fmla="*/ 0 w 4815"/>
                <a:gd name="T111" fmla="*/ 564 h 4030"/>
                <a:gd name="T112" fmla="*/ 17 w 4815"/>
                <a:gd name="T113" fmla="*/ 425 h 4030"/>
                <a:gd name="T114" fmla="*/ 65 w 4815"/>
                <a:gd name="T115" fmla="*/ 300 h 4030"/>
                <a:gd name="T116" fmla="*/ 143 w 4815"/>
                <a:gd name="T117" fmla="*/ 190 h 4030"/>
                <a:gd name="T118" fmla="*/ 242 w 4815"/>
                <a:gd name="T119" fmla="*/ 101 h 4030"/>
                <a:gd name="T120" fmla="*/ 361 w 4815"/>
                <a:gd name="T121" fmla="*/ 38 h 4030"/>
                <a:gd name="T122" fmla="*/ 494 w 4815"/>
                <a:gd name="T123" fmla="*/ 5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15" h="4030">
                  <a:moveTo>
                    <a:pt x="565" y="218"/>
                  </a:moveTo>
                  <a:lnTo>
                    <a:pt x="508" y="222"/>
                  </a:lnTo>
                  <a:lnTo>
                    <a:pt x="456" y="235"/>
                  </a:lnTo>
                  <a:lnTo>
                    <a:pt x="406" y="256"/>
                  </a:lnTo>
                  <a:lnTo>
                    <a:pt x="359" y="285"/>
                  </a:lnTo>
                  <a:lnTo>
                    <a:pt x="320" y="319"/>
                  </a:lnTo>
                  <a:lnTo>
                    <a:pt x="285" y="360"/>
                  </a:lnTo>
                  <a:lnTo>
                    <a:pt x="257" y="405"/>
                  </a:lnTo>
                  <a:lnTo>
                    <a:pt x="235" y="454"/>
                  </a:lnTo>
                  <a:lnTo>
                    <a:pt x="222" y="509"/>
                  </a:lnTo>
                  <a:lnTo>
                    <a:pt x="217" y="564"/>
                  </a:lnTo>
                  <a:lnTo>
                    <a:pt x="217" y="2579"/>
                  </a:lnTo>
                  <a:lnTo>
                    <a:pt x="222" y="2636"/>
                  </a:lnTo>
                  <a:lnTo>
                    <a:pt x="235" y="2688"/>
                  </a:lnTo>
                  <a:lnTo>
                    <a:pt x="257" y="2738"/>
                  </a:lnTo>
                  <a:lnTo>
                    <a:pt x="285" y="2783"/>
                  </a:lnTo>
                  <a:lnTo>
                    <a:pt x="320" y="2824"/>
                  </a:lnTo>
                  <a:lnTo>
                    <a:pt x="359" y="2859"/>
                  </a:lnTo>
                  <a:lnTo>
                    <a:pt x="406" y="2887"/>
                  </a:lnTo>
                  <a:lnTo>
                    <a:pt x="456" y="2909"/>
                  </a:lnTo>
                  <a:lnTo>
                    <a:pt x="508" y="2922"/>
                  </a:lnTo>
                  <a:lnTo>
                    <a:pt x="565" y="2926"/>
                  </a:lnTo>
                  <a:lnTo>
                    <a:pt x="1087" y="2926"/>
                  </a:lnTo>
                  <a:lnTo>
                    <a:pt x="1115" y="2929"/>
                  </a:lnTo>
                  <a:lnTo>
                    <a:pt x="1142" y="2941"/>
                  </a:lnTo>
                  <a:lnTo>
                    <a:pt x="1163" y="2957"/>
                  </a:lnTo>
                  <a:lnTo>
                    <a:pt x="1181" y="2979"/>
                  </a:lnTo>
                  <a:lnTo>
                    <a:pt x="1618" y="3712"/>
                  </a:lnTo>
                  <a:lnTo>
                    <a:pt x="2072" y="2977"/>
                  </a:lnTo>
                  <a:lnTo>
                    <a:pt x="2089" y="2957"/>
                  </a:lnTo>
                  <a:lnTo>
                    <a:pt x="2111" y="2939"/>
                  </a:lnTo>
                  <a:lnTo>
                    <a:pt x="2136" y="2929"/>
                  </a:lnTo>
                  <a:lnTo>
                    <a:pt x="2164" y="2926"/>
                  </a:lnTo>
                  <a:lnTo>
                    <a:pt x="4249" y="2926"/>
                  </a:lnTo>
                  <a:lnTo>
                    <a:pt x="4306" y="2922"/>
                  </a:lnTo>
                  <a:lnTo>
                    <a:pt x="4360" y="2909"/>
                  </a:lnTo>
                  <a:lnTo>
                    <a:pt x="4410" y="2887"/>
                  </a:lnTo>
                  <a:lnTo>
                    <a:pt x="4455" y="2859"/>
                  </a:lnTo>
                  <a:lnTo>
                    <a:pt x="4496" y="2824"/>
                  </a:lnTo>
                  <a:lnTo>
                    <a:pt x="4530" y="2783"/>
                  </a:lnTo>
                  <a:lnTo>
                    <a:pt x="4559" y="2738"/>
                  </a:lnTo>
                  <a:lnTo>
                    <a:pt x="4579" y="2688"/>
                  </a:lnTo>
                  <a:lnTo>
                    <a:pt x="4593" y="2636"/>
                  </a:lnTo>
                  <a:lnTo>
                    <a:pt x="4597" y="2579"/>
                  </a:lnTo>
                  <a:lnTo>
                    <a:pt x="4597" y="564"/>
                  </a:lnTo>
                  <a:lnTo>
                    <a:pt x="4593" y="509"/>
                  </a:lnTo>
                  <a:lnTo>
                    <a:pt x="4579" y="454"/>
                  </a:lnTo>
                  <a:lnTo>
                    <a:pt x="4559" y="405"/>
                  </a:lnTo>
                  <a:lnTo>
                    <a:pt x="4530" y="360"/>
                  </a:lnTo>
                  <a:lnTo>
                    <a:pt x="4496" y="319"/>
                  </a:lnTo>
                  <a:lnTo>
                    <a:pt x="4455" y="285"/>
                  </a:lnTo>
                  <a:lnTo>
                    <a:pt x="4410" y="256"/>
                  </a:lnTo>
                  <a:lnTo>
                    <a:pt x="4360" y="235"/>
                  </a:lnTo>
                  <a:lnTo>
                    <a:pt x="4306" y="222"/>
                  </a:lnTo>
                  <a:lnTo>
                    <a:pt x="4249" y="218"/>
                  </a:lnTo>
                  <a:lnTo>
                    <a:pt x="565" y="218"/>
                  </a:lnTo>
                  <a:close/>
                  <a:moveTo>
                    <a:pt x="565" y="0"/>
                  </a:moveTo>
                  <a:lnTo>
                    <a:pt x="4249" y="0"/>
                  </a:lnTo>
                  <a:lnTo>
                    <a:pt x="4321" y="5"/>
                  </a:lnTo>
                  <a:lnTo>
                    <a:pt x="4389" y="16"/>
                  </a:lnTo>
                  <a:lnTo>
                    <a:pt x="4454" y="38"/>
                  </a:lnTo>
                  <a:lnTo>
                    <a:pt x="4515" y="66"/>
                  </a:lnTo>
                  <a:lnTo>
                    <a:pt x="4572" y="101"/>
                  </a:lnTo>
                  <a:lnTo>
                    <a:pt x="4625" y="142"/>
                  </a:lnTo>
                  <a:lnTo>
                    <a:pt x="4673" y="190"/>
                  </a:lnTo>
                  <a:lnTo>
                    <a:pt x="4714" y="243"/>
                  </a:lnTo>
                  <a:lnTo>
                    <a:pt x="4749" y="300"/>
                  </a:lnTo>
                  <a:lnTo>
                    <a:pt x="4777" y="361"/>
                  </a:lnTo>
                  <a:lnTo>
                    <a:pt x="4797" y="425"/>
                  </a:lnTo>
                  <a:lnTo>
                    <a:pt x="4810" y="494"/>
                  </a:lnTo>
                  <a:lnTo>
                    <a:pt x="4815" y="564"/>
                  </a:lnTo>
                  <a:lnTo>
                    <a:pt x="4815" y="2579"/>
                  </a:lnTo>
                  <a:lnTo>
                    <a:pt x="4810" y="2650"/>
                  </a:lnTo>
                  <a:lnTo>
                    <a:pt x="4797" y="2717"/>
                  </a:lnTo>
                  <a:lnTo>
                    <a:pt x="4777" y="2783"/>
                  </a:lnTo>
                  <a:lnTo>
                    <a:pt x="4749" y="2844"/>
                  </a:lnTo>
                  <a:lnTo>
                    <a:pt x="4714" y="2901"/>
                  </a:lnTo>
                  <a:lnTo>
                    <a:pt x="4673" y="2954"/>
                  </a:lnTo>
                  <a:lnTo>
                    <a:pt x="4625" y="3001"/>
                  </a:lnTo>
                  <a:lnTo>
                    <a:pt x="4572" y="3043"/>
                  </a:lnTo>
                  <a:lnTo>
                    <a:pt x="4515" y="3078"/>
                  </a:lnTo>
                  <a:lnTo>
                    <a:pt x="4454" y="3106"/>
                  </a:lnTo>
                  <a:lnTo>
                    <a:pt x="4389" y="3126"/>
                  </a:lnTo>
                  <a:lnTo>
                    <a:pt x="4321" y="3139"/>
                  </a:lnTo>
                  <a:lnTo>
                    <a:pt x="4249" y="3144"/>
                  </a:lnTo>
                  <a:lnTo>
                    <a:pt x="2225" y="3144"/>
                  </a:lnTo>
                  <a:lnTo>
                    <a:pt x="1710" y="3979"/>
                  </a:lnTo>
                  <a:lnTo>
                    <a:pt x="1693" y="4001"/>
                  </a:lnTo>
                  <a:lnTo>
                    <a:pt x="1671" y="4017"/>
                  </a:lnTo>
                  <a:lnTo>
                    <a:pt x="1645" y="4027"/>
                  </a:lnTo>
                  <a:lnTo>
                    <a:pt x="1617" y="4030"/>
                  </a:lnTo>
                  <a:lnTo>
                    <a:pt x="1617" y="4030"/>
                  </a:lnTo>
                  <a:lnTo>
                    <a:pt x="1589" y="4027"/>
                  </a:lnTo>
                  <a:lnTo>
                    <a:pt x="1563" y="4015"/>
                  </a:lnTo>
                  <a:lnTo>
                    <a:pt x="1541" y="3999"/>
                  </a:lnTo>
                  <a:lnTo>
                    <a:pt x="1523" y="3977"/>
                  </a:lnTo>
                  <a:lnTo>
                    <a:pt x="1026" y="3144"/>
                  </a:lnTo>
                  <a:lnTo>
                    <a:pt x="565" y="3144"/>
                  </a:lnTo>
                  <a:lnTo>
                    <a:pt x="494" y="3139"/>
                  </a:lnTo>
                  <a:lnTo>
                    <a:pt x="427" y="3126"/>
                  </a:lnTo>
                  <a:lnTo>
                    <a:pt x="361" y="3106"/>
                  </a:lnTo>
                  <a:lnTo>
                    <a:pt x="299" y="3078"/>
                  </a:lnTo>
                  <a:lnTo>
                    <a:pt x="242" y="3043"/>
                  </a:lnTo>
                  <a:lnTo>
                    <a:pt x="190" y="3001"/>
                  </a:lnTo>
                  <a:lnTo>
                    <a:pt x="143" y="2954"/>
                  </a:lnTo>
                  <a:lnTo>
                    <a:pt x="100" y="2901"/>
                  </a:lnTo>
                  <a:lnTo>
                    <a:pt x="65" y="2844"/>
                  </a:lnTo>
                  <a:lnTo>
                    <a:pt x="38" y="2783"/>
                  </a:lnTo>
                  <a:lnTo>
                    <a:pt x="17" y="2717"/>
                  </a:lnTo>
                  <a:lnTo>
                    <a:pt x="4" y="2650"/>
                  </a:lnTo>
                  <a:lnTo>
                    <a:pt x="0" y="2579"/>
                  </a:lnTo>
                  <a:lnTo>
                    <a:pt x="0" y="564"/>
                  </a:lnTo>
                  <a:lnTo>
                    <a:pt x="4" y="494"/>
                  </a:lnTo>
                  <a:lnTo>
                    <a:pt x="17" y="425"/>
                  </a:lnTo>
                  <a:lnTo>
                    <a:pt x="38" y="361"/>
                  </a:lnTo>
                  <a:lnTo>
                    <a:pt x="65" y="300"/>
                  </a:lnTo>
                  <a:lnTo>
                    <a:pt x="100" y="243"/>
                  </a:lnTo>
                  <a:lnTo>
                    <a:pt x="143" y="190"/>
                  </a:lnTo>
                  <a:lnTo>
                    <a:pt x="190" y="142"/>
                  </a:lnTo>
                  <a:lnTo>
                    <a:pt x="242" y="101"/>
                  </a:lnTo>
                  <a:lnTo>
                    <a:pt x="299" y="66"/>
                  </a:lnTo>
                  <a:lnTo>
                    <a:pt x="361" y="38"/>
                  </a:lnTo>
                  <a:lnTo>
                    <a:pt x="427" y="16"/>
                  </a:lnTo>
                  <a:lnTo>
                    <a:pt x="494" y="5"/>
                  </a:lnTo>
                  <a:lnTo>
                    <a:pt x="5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7" name="Rectangle 7"/>
            <p:cNvSpPr>
              <a:spLocks noChangeArrowheads="1"/>
            </p:cNvSpPr>
            <p:nvPr/>
          </p:nvSpPr>
          <p:spPr bwMode="auto">
            <a:xfrm>
              <a:off x="2276" y="1207"/>
              <a:ext cx="121" cy="5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2541" y="1199"/>
              <a:ext cx="511" cy="549"/>
            </a:xfrm>
            <a:custGeom>
              <a:avLst/>
              <a:gdLst>
                <a:gd name="T0" fmla="*/ 716 w 1533"/>
                <a:gd name="T1" fmla="*/ 289 h 1646"/>
                <a:gd name="T2" fmla="*/ 624 w 1533"/>
                <a:gd name="T3" fmla="*/ 317 h 1646"/>
                <a:gd name="T4" fmla="*/ 546 w 1533"/>
                <a:gd name="T5" fmla="*/ 368 h 1646"/>
                <a:gd name="T6" fmla="*/ 482 w 1533"/>
                <a:gd name="T7" fmla="*/ 441 h 1646"/>
                <a:gd name="T8" fmla="*/ 432 w 1533"/>
                <a:gd name="T9" fmla="*/ 532 h 1646"/>
                <a:gd name="T10" fmla="*/ 399 w 1533"/>
                <a:gd name="T11" fmla="*/ 641 h 1646"/>
                <a:gd name="T12" fmla="*/ 383 w 1533"/>
                <a:gd name="T13" fmla="*/ 762 h 1646"/>
                <a:gd name="T14" fmla="*/ 383 w 1533"/>
                <a:gd name="T15" fmla="*/ 898 h 1646"/>
                <a:gd name="T16" fmla="*/ 403 w 1533"/>
                <a:gd name="T17" fmla="*/ 1026 h 1646"/>
                <a:gd name="T18" fmla="*/ 443 w 1533"/>
                <a:gd name="T19" fmla="*/ 1139 h 1646"/>
                <a:gd name="T20" fmla="*/ 500 w 1533"/>
                <a:gd name="T21" fmla="*/ 1231 h 1646"/>
                <a:gd name="T22" fmla="*/ 574 w 1533"/>
                <a:gd name="T23" fmla="*/ 1301 h 1646"/>
                <a:gd name="T24" fmla="*/ 663 w 1533"/>
                <a:gd name="T25" fmla="*/ 1345 h 1646"/>
                <a:gd name="T26" fmla="*/ 769 w 1533"/>
                <a:gd name="T27" fmla="*/ 1359 h 1646"/>
                <a:gd name="T28" fmla="*/ 867 w 1533"/>
                <a:gd name="T29" fmla="*/ 1346 h 1646"/>
                <a:gd name="T30" fmla="*/ 951 w 1533"/>
                <a:gd name="T31" fmla="*/ 1307 h 1646"/>
                <a:gd name="T32" fmla="*/ 1022 w 1533"/>
                <a:gd name="T33" fmla="*/ 1244 h 1646"/>
                <a:gd name="T34" fmla="*/ 1079 w 1533"/>
                <a:gd name="T35" fmla="*/ 1161 h 1646"/>
                <a:gd name="T36" fmla="*/ 1118 w 1533"/>
                <a:gd name="T37" fmla="*/ 1060 h 1646"/>
                <a:gd name="T38" fmla="*/ 1144 w 1533"/>
                <a:gd name="T39" fmla="*/ 945 h 1646"/>
                <a:gd name="T40" fmla="*/ 1152 w 1533"/>
                <a:gd name="T41" fmla="*/ 818 h 1646"/>
                <a:gd name="T42" fmla="*/ 1144 w 1533"/>
                <a:gd name="T43" fmla="*/ 698 h 1646"/>
                <a:gd name="T44" fmla="*/ 1120 w 1533"/>
                <a:gd name="T45" fmla="*/ 587 h 1646"/>
                <a:gd name="T46" fmla="*/ 1079 w 1533"/>
                <a:gd name="T47" fmla="*/ 488 h 1646"/>
                <a:gd name="T48" fmla="*/ 1023 w 1533"/>
                <a:gd name="T49" fmla="*/ 405 h 1646"/>
                <a:gd name="T50" fmla="*/ 951 w 1533"/>
                <a:gd name="T51" fmla="*/ 342 h 1646"/>
                <a:gd name="T52" fmla="*/ 867 w 1533"/>
                <a:gd name="T53" fmla="*/ 301 h 1646"/>
                <a:gd name="T54" fmla="*/ 766 w 1533"/>
                <a:gd name="T55" fmla="*/ 286 h 1646"/>
                <a:gd name="T56" fmla="*/ 855 w 1533"/>
                <a:gd name="T57" fmla="*/ 3 h 1646"/>
                <a:gd name="T58" fmla="*/ 1003 w 1533"/>
                <a:gd name="T59" fmla="*/ 29 h 1646"/>
                <a:gd name="T60" fmla="*/ 1131 w 1533"/>
                <a:gd name="T61" fmla="*/ 77 h 1646"/>
                <a:gd name="T62" fmla="*/ 1244 w 1533"/>
                <a:gd name="T63" fmla="*/ 149 h 1646"/>
                <a:gd name="T64" fmla="*/ 1339 w 1533"/>
                <a:gd name="T65" fmla="*/ 238 h 1646"/>
                <a:gd name="T66" fmla="*/ 1415 w 1533"/>
                <a:gd name="T67" fmla="*/ 343 h 1646"/>
                <a:gd name="T68" fmla="*/ 1472 w 1533"/>
                <a:gd name="T69" fmla="*/ 463 h 1646"/>
                <a:gd name="T70" fmla="*/ 1512 w 1533"/>
                <a:gd name="T71" fmla="*/ 593 h 1646"/>
                <a:gd name="T72" fmla="*/ 1531 w 1533"/>
                <a:gd name="T73" fmla="*/ 733 h 1646"/>
                <a:gd name="T74" fmla="*/ 1531 w 1533"/>
                <a:gd name="T75" fmla="*/ 897 h 1646"/>
                <a:gd name="T76" fmla="*/ 1506 w 1533"/>
                <a:gd name="T77" fmla="*/ 1063 h 1646"/>
                <a:gd name="T78" fmla="*/ 1456 w 1533"/>
                <a:gd name="T79" fmla="*/ 1210 h 1646"/>
                <a:gd name="T80" fmla="*/ 1384 w 1533"/>
                <a:gd name="T81" fmla="*/ 1339 h 1646"/>
                <a:gd name="T82" fmla="*/ 1292 w 1533"/>
                <a:gd name="T83" fmla="*/ 1447 h 1646"/>
                <a:gd name="T84" fmla="*/ 1181 w 1533"/>
                <a:gd name="T85" fmla="*/ 1532 h 1646"/>
                <a:gd name="T86" fmla="*/ 1052 w 1533"/>
                <a:gd name="T87" fmla="*/ 1594 h 1646"/>
                <a:gd name="T88" fmla="*/ 908 w 1533"/>
                <a:gd name="T89" fmla="*/ 1632 h 1646"/>
                <a:gd name="T90" fmla="*/ 750 w 1533"/>
                <a:gd name="T91" fmla="*/ 1646 h 1646"/>
                <a:gd name="T92" fmla="*/ 590 w 1533"/>
                <a:gd name="T93" fmla="*/ 1631 h 1646"/>
                <a:gd name="T94" fmla="*/ 448 w 1533"/>
                <a:gd name="T95" fmla="*/ 1590 h 1646"/>
                <a:gd name="T96" fmla="*/ 326 w 1533"/>
                <a:gd name="T97" fmla="*/ 1523 h 1646"/>
                <a:gd name="T98" fmla="*/ 220 w 1533"/>
                <a:gd name="T99" fmla="*/ 1435 h 1646"/>
                <a:gd name="T100" fmla="*/ 134 w 1533"/>
                <a:gd name="T101" fmla="*/ 1327 h 1646"/>
                <a:gd name="T102" fmla="*/ 68 w 1533"/>
                <a:gd name="T103" fmla="*/ 1203 h 1646"/>
                <a:gd name="T104" fmla="*/ 24 w 1533"/>
                <a:gd name="T105" fmla="*/ 1064 h 1646"/>
                <a:gd name="T106" fmla="*/ 2 w 1533"/>
                <a:gd name="T107" fmla="*/ 914 h 1646"/>
                <a:gd name="T108" fmla="*/ 2 w 1533"/>
                <a:gd name="T109" fmla="*/ 752 h 1646"/>
                <a:gd name="T110" fmla="*/ 27 w 1533"/>
                <a:gd name="T111" fmla="*/ 594 h 1646"/>
                <a:gd name="T112" fmla="*/ 74 w 1533"/>
                <a:gd name="T113" fmla="*/ 450 h 1646"/>
                <a:gd name="T114" fmla="*/ 144 w 1533"/>
                <a:gd name="T115" fmla="*/ 323 h 1646"/>
                <a:gd name="T116" fmla="*/ 235 w 1533"/>
                <a:gd name="T117" fmla="*/ 212 h 1646"/>
                <a:gd name="T118" fmla="*/ 345 w 1533"/>
                <a:gd name="T119" fmla="*/ 123 h 1646"/>
                <a:gd name="T120" fmla="*/ 472 w 1533"/>
                <a:gd name="T121" fmla="*/ 56 h 1646"/>
                <a:gd name="T122" fmla="*/ 617 w 1533"/>
                <a:gd name="T123" fmla="*/ 15 h 1646"/>
                <a:gd name="T124" fmla="*/ 776 w 1533"/>
                <a:gd name="T125" fmla="*/ 0 h 1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33" h="1646">
                  <a:moveTo>
                    <a:pt x="766" y="286"/>
                  </a:moveTo>
                  <a:lnTo>
                    <a:pt x="716" y="289"/>
                  </a:lnTo>
                  <a:lnTo>
                    <a:pt x="668" y="299"/>
                  </a:lnTo>
                  <a:lnTo>
                    <a:pt x="624" y="317"/>
                  </a:lnTo>
                  <a:lnTo>
                    <a:pt x="583" y="339"/>
                  </a:lnTo>
                  <a:lnTo>
                    <a:pt x="546" y="368"/>
                  </a:lnTo>
                  <a:lnTo>
                    <a:pt x="511" y="402"/>
                  </a:lnTo>
                  <a:lnTo>
                    <a:pt x="482" y="441"/>
                  </a:lnTo>
                  <a:lnTo>
                    <a:pt x="456" y="483"/>
                  </a:lnTo>
                  <a:lnTo>
                    <a:pt x="432" y="532"/>
                  </a:lnTo>
                  <a:lnTo>
                    <a:pt x="415" y="584"/>
                  </a:lnTo>
                  <a:lnTo>
                    <a:pt x="399" y="641"/>
                  </a:lnTo>
                  <a:lnTo>
                    <a:pt x="388" y="699"/>
                  </a:lnTo>
                  <a:lnTo>
                    <a:pt x="383" y="762"/>
                  </a:lnTo>
                  <a:lnTo>
                    <a:pt x="380" y="828"/>
                  </a:lnTo>
                  <a:lnTo>
                    <a:pt x="383" y="898"/>
                  </a:lnTo>
                  <a:lnTo>
                    <a:pt x="390" y="964"/>
                  </a:lnTo>
                  <a:lnTo>
                    <a:pt x="403" y="1026"/>
                  </a:lnTo>
                  <a:lnTo>
                    <a:pt x="421" y="1085"/>
                  </a:lnTo>
                  <a:lnTo>
                    <a:pt x="443" y="1139"/>
                  </a:lnTo>
                  <a:lnTo>
                    <a:pt x="469" y="1189"/>
                  </a:lnTo>
                  <a:lnTo>
                    <a:pt x="500" y="1231"/>
                  </a:lnTo>
                  <a:lnTo>
                    <a:pt x="535" y="1269"/>
                  </a:lnTo>
                  <a:lnTo>
                    <a:pt x="574" y="1301"/>
                  </a:lnTo>
                  <a:lnTo>
                    <a:pt x="617" y="1326"/>
                  </a:lnTo>
                  <a:lnTo>
                    <a:pt x="663" y="1345"/>
                  </a:lnTo>
                  <a:lnTo>
                    <a:pt x="715" y="1355"/>
                  </a:lnTo>
                  <a:lnTo>
                    <a:pt x="769" y="1359"/>
                  </a:lnTo>
                  <a:lnTo>
                    <a:pt x="820" y="1356"/>
                  </a:lnTo>
                  <a:lnTo>
                    <a:pt x="867" y="1346"/>
                  </a:lnTo>
                  <a:lnTo>
                    <a:pt x="911" y="1329"/>
                  </a:lnTo>
                  <a:lnTo>
                    <a:pt x="951" y="1307"/>
                  </a:lnTo>
                  <a:lnTo>
                    <a:pt x="988" y="1278"/>
                  </a:lnTo>
                  <a:lnTo>
                    <a:pt x="1022" y="1244"/>
                  </a:lnTo>
                  <a:lnTo>
                    <a:pt x="1052" y="1205"/>
                  </a:lnTo>
                  <a:lnTo>
                    <a:pt x="1079" y="1161"/>
                  </a:lnTo>
                  <a:lnTo>
                    <a:pt x="1101" y="1113"/>
                  </a:lnTo>
                  <a:lnTo>
                    <a:pt x="1118" y="1060"/>
                  </a:lnTo>
                  <a:lnTo>
                    <a:pt x="1133" y="1005"/>
                  </a:lnTo>
                  <a:lnTo>
                    <a:pt x="1144" y="945"/>
                  </a:lnTo>
                  <a:lnTo>
                    <a:pt x="1150" y="883"/>
                  </a:lnTo>
                  <a:lnTo>
                    <a:pt x="1152" y="818"/>
                  </a:lnTo>
                  <a:lnTo>
                    <a:pt x="1150" y="758"/>
                  </a:lnTo>
                  <a:lnTo>
                    <a:pt x="1144" y="698"/>
                  </a:lnTo>
                  <a:lnTo>
                    <a:pt x="1134" y="641"/>
                  </a:lnTo>
                  <a:lnTo>
                    <a:pt x="1120" y="587"/>
                  </a:lnTo>
                  <a:lnTo>
                    <a:pt x="1101" y="536"/>
                  </a:lnTo>
                  <a:lnTo>
                    <a:pt x="1079" y="488"/>
                  </a:lnTo>
                  <a:lnTo>
                    <a:pt x="1052" y="444"/>
                  </a:lnTo>
                  <a:lnTo>
                    <a:pt x="1023" y="405"/>
                  </a:lnTo>
                  <a:lnTo>
                    <a:pt x="989" y="371"/>
                  </a:lnTo>
                  <a:lnTo>
                    <a:pt x="951" y="342"/>
                  </a:lnTo>
                  <a:lnTo>
                    <a:pt x="911" y="318"/>
                  </a:lnTo>
                  <a:lnTo>
                    <a:pt x="867" y="301"/>
                  </a:lnTo>
                  <a:lnTo>
                    <a:pt x="818" y="289"/>
                  </a:lnTo>
                  <a:lnTo>
                    <a:pt x="766" y="286"/>
                  </a:lnTo>
                  <a:close/>
                  <a:moveTo>
                    <a:pt x="776" y="0"/>
                  </a:moveTo>
                  <a:lnTo>
                    <a:pt x="855" y="3"/>
                  </a:lnTo>
                  <a:lnTo>
                    <a:pt x="931" y="13"/>
                  </a:lnTo>
                  <a:lnTo>
                    <a:pt x="1003" y="29"/>
                  </a:lnTo>
                  <a:lnTo>
                    <a:pt x="1068" y="51"/>
                  </a:lnTo>
                  <a:lnTo>
                    <a:pt x="1131" y="77"/>
                  </a:lnTo>
                  <a:lnTo>
                    <a:pt x="1190" y="111"/>
                  </a:lnTo>
                  <a:lnTo>
                    <a:pt x="1244" y="149"/>
                  </a:lnTo>
                  <a:lnTo>
                    <a:pt x="1294" y="191"/>
                  </a:lnTo>
                  <a:lnTo>
                    <a:pt x="1339" y="238"/>
                  </a:lnTo>
                  <a:lnTo>
                    <a:pt x="1378" y="289"/>
                  </a:lnTo>
                  <a:lnTo>
                    <a:pt x="1415" y="343"/>
                  </a:lnTo>
                  <a:lnTo>
                    <a:pt x="1446" y="402"/>
                  </a:lnTo>
                  <a:lnTo>
                    <a:pt x="1472" y="463"/>
                  </a:lnTo>
                  <a:lnTo>
                    <a:pt x="1494" y="527"/>
                  </a:lnTo>
                  <a:lnTo>
                    <a:pt x="1512" y="593"/>
                  </a:lnTo>
                  <a:lnTo>
                    <a:pt x="1523" y="663"/>
                  </a:lnTo>
                  <a:lnTo>
                    <a:pt x="1531" y="733"/>
                  </a:lnTo>
                  <a:lnTo>
                    <a:pt x="1533" y="806"/>
                  </a:lnTo>
                  <a:lnTo>
                    <a:pt x="1531" y="897"/>
                  </a:lnTo>
                  <a:lnTo>
                    <a:pt x="1520" y="981"/>
                  </a:lnTo>
                  <a:lnTo>
                    <a:pt x="1506" y="1063"/>
                  </a:lnTo>
                  <a:lnTo>
                    <a:pt x="1484" y="1139"/>
                  </a:lnTo>
                  <a:lnTo>
                    <a:pt x="1456" y="1210"/>
                  </a:lnTo>
                  <a:lnTo>
                    <a:pt x="1422" y="1278"/>
                  </a:lnTo>
                  <a:lnTo>
                    <a:pt x="1384" y="1339"/>
                  </a:lnTo>
                  <a:lnTo>
                    <a:pt x="1340" y="1396"/>
                  </a:lnTo>
                  <a:lnTo>
                    <a:pt x="1292" y="1447"/>
                  </a:lnTo>
                  <a:lnTo>
                    <a:pt x="1238" y="1492"/>
                  </a:lnTo>
                  <a:lnTo>
                    <a:pt x="1181" y="1532"/>
                  </a:lnTo>
                  <a:lnTo>
                    <a:pt x="1118" y="1567"/>
                  </a:lnTo>
                  <a:lnTo>
                    <a:pt x="1052" y="1594"/>
                  </a:lnTo>
                  <a:lnTo>
                    <a:pt x="982" y="1616"/>
                  </a:lnTo>
                  <a:lnTo>
                    <a:pt x="908" y="1632"/>
                  </a:lnTo>
                  <a:lnTo>
                    <a:pt x="830" y="1643"/>
                  </a:lnTo>
                  <a:lnTo>
                    <a:pt x="750" y="1646"/>
                  </a:lnTo>
                  <a:lnTo>
                    <a:pt x="668" y="1641"/>
                  </a:lnTo>
                  <a:lnTo>
                    <a:pt x="590" y="1631"/>
                  </a:lnTo>
                  <a:lnTo>
                    <a:pt x="517" y="1613"/>
                  </a:lnTo>
                  <a:lnTo>
                    <a:pt x="448" y="1590"/>
                  </a:lnTo>
                  <a:lnTo>
                    <a:pt x="384" y="1559"/>
                  </a:lnTo>
                  <a:lnTo>
                    <a:pt x="326" y="1523"/>
                  </a:lnTo>
                  <a:lnTo>
                    <a:pt x="270" y="1482"/>
                  </a:lnTo>
                  <a:lnTo>
                    <a:pt x="220" y="1435"/>
                  </a:lnTo>
                  <a:lnTo>
                    <a:pt x="175" y="1384"/>
                  </a:lnTo>
                  <a:lnTo>
                    <a:pt x="134" y="1327"/>
                  </a:lnTo>
                  <a:lnTo>
                    <a:pt x="99" y="1267"/>
                  </a:lnTo>
                  <a:lnTo>
                    <a:pt x="68" y="1203"/>
                  </a:lnTo>
                  <a:lnTo>
                    <a:pt x="43" y="1136"/>
                  </a:lnTo>
                  <a:lnTo>
                    <a:pt x="24" y="1064"/>
                  </a:lnTo>
                  <a:lnTo>
                    <a:pt x="10" y="990"/>
                  </a:lnTo>
                  <a:lnTo>
                    <a:pt x="2" y="914"/>
                  </a:lnTo>
                  <a:lnTo>
                    <a:pt x="0" y="834"/>
                  </a:lnTo>
                  <a:lnTo>
                    <a:pt x="2" y="752"/>
                  </a:lnTo>
                  <a:lnTo>
                    <a:pt x="11" y="672"/>
                  </a:lnTo>
                  <a:lnTo>
                    <a:pt x="27" y="594"/>
                  </a:lnTo>
                  <a:lnTo>
                    <a:pt x="48" y="520"/>
                  </a:lnTo>
                  <a:lnTo>
                    <a:pt x="74" y="450"/>
                  </a:lnTo>
                  <a:lnTo>
                    <a:pt x="106" y="384"/>
                  </a:lnTo>
                  <a:lnTo>
                    <a:pt x="144" y="323"/>
                  </a:lnTo>
                  <a:lnTo>
                    <a:pt x="187" y="264"/>
                  </a:lnTo>
                  <a:lnTo>
                    <a:pt x="235" y="212"/>
                  </a:lnTo>
                  <a:lnTo>
                    <a:pt x="288" y="165"/>
                  </a:lnTo>
                  <a:lnTo>
                    <a:pt x="345" y="123"/>
                  </a:lnTo>
                  <a:lnTo>
                    <a:pt x="406" y="86"/>
                  </a:lnTo>
                  <a:lnTo>
                    <a:pt x="472" y="56"/>
                  </a:lnTo>
                  <a:lnTo>
                    <a:pt x="542" y="32"/>
                  </a:lnTo>
                  <a:lnTo>
                    <a:pt x="617" y="15"/>
                  </a:lnTo>
                  <a:lnTo>
                    <a:pt x="694" y="3"/>
                  </a:lnTo>
                  <a:lnTo>
                    <a:pt x="7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>
              <a:off x="3132" y="1207"/>
              <a:ext cx="409" cy="532"/>
            </a:xfrm>
            <a:custGeom>
              <a:avLst/>
              <a:gdLst>
                <a:gd name="T0" fmla="*/ 0 w 1227"/>
                <a:gd name="T1" fmla="*/ 0 h 1594"/>
                <a:gd name="T2" fmla="*/ 1227 w 1227"/>
                <a:gd name="T3" fmla="*/ 0 h 1594"/>
                <a:gd name="T4" fmla="*/ 1227 w 1227"/>
                <a:gd name="T5" fmla="*/ 304 h 1594"/>
                <a:gd name="T6" fmla="*/ 791 w 1227"/>
                <a:gd name="T7" fmla="*/ 304 h 1594"/>
                <a:gd name="T8" fmla="*/ 791 w 1227"/>
                <a:gd name="T9" fmla="*/ 1594 h 1594"/>
                <a:gd name="T10" fmla="*/ 428 w 1227"/>
                <a:gd name="T11" fmla="*/ 1594 h 1594"/>
                <a:gd name="T12" fmla="*/ 428 w 1227"/>
                <a:gd name="T13" fmla="*/ 304 h 1594"/>
                <a:gd name="T14" fmla="*/ 0 w 1227"/>
                <a:gd name="T15" fmla="*/ 304 h 1594"/>
                <a:gd name="T16" fmla="*/ 0 w 1227"/>
                <a:gd name="T17" fmla="*/ 0 h 1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7" h="1594">
                  <a:moveTo>
                    <a:pt x="0" y="0"/>
                  </a:moveTo>
                  <a:lnTo>
                    <a:pt x="1227" y="0"/>
                  </a:lnTo>
                  <a:lnTo>
                    <a:pt x="1227" y="304"/>
                  </a:lnTo>
                  <a:lnTo>
                    <a:pt x="791" y="304"/>
                  </a:lnTo>
                  <a:lnTo>
                    <a:pt x="791" y="1594"/>
                  </a:lnTo>
                  <a:lnTo>
                    <a:pt x="428" y="1594"/>
                  </a:lnTo>
                  <a:lnTo>
                    <a:pt x="428" y="304"/>
                  </a:lnTo>
                  <a:lnTo>
                    <a:pt x="0" y="30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</p:grp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6494933" y="2847171"/>
            <a:ext cx="195045" cy="163206"/>
            <a:chOff x="2076" y="952"/>
            <a:chExt cx="1605" cy="1343"/>
          </a:xfrm>
          <a:solidFill>
            <a:schemeClr val="bg1"/>
          </a:solidFill>
        </p:grpSpPr>
        <p:sp>
          <p:nvSpPr>
            <p:cNvPr id="32" name="Freeform 6"/>
            <p:cNvSpPr>
              <a:spLocks noEditPoints="1"/>
            </p:cNvSpPr>
            <p:nvPr/>
          </p:nvSpPr>
          <p:spPr bwMode="auto">
            <a:xfrm>
              <a:off x="2076" y="952"/>
              <a:ext cx="1605" cy="1343"/>
            </a:xfrm>
            <a:custGeom>
              <a:avLst/>
              <a:gdLst>
                <a:gd name="T0" fmla="*/ 508 w 4815"/>
                <a:gd name="T1" fmla="*/ 222 h 4030"/>
                <a:gd name="T2" fmla="*/ 406 w 4815"/>
                <a:gd name="T3" fmla="*/ 256 h 4030"/>
                <a:gd name="T4" fmla="*/ 320 w 4815"/>
                <a:gd name="T5" fmla="*/ 319 h 4030"/>
                <a:gd name="T6" fmla="*/ 257 w 4815"/>
                <a:gd name="T7" fmla="*/ 405 h 4030"/>
                <a:gd name="T8" fmla="*/ 222 w 4815"/>
                <a:gd name="T9" fmla="*/ 509 h 4030"/>
                <a:gd name="T10" fmla="*/ 217 w 4815"/>
                <a:gd name="T11" fmla="*/ 2579 h 4030"/>
                <a:gd name="T12" fmla="*/ 235 w 4815"/>
                <a:gd name="T13" fmla="*/ 2688 h 4030"/>
                <a:gd name="T14" fmla="*/ 285 w 4815"/>
                <a:gd name="T15" fmla="*/ 2783 h 4030"/>
                <a:gd name="T16" fmla="*/ 359 w 4815"/>
                <a:gd name="T17" fmla="*/ 2859 h 4030"/>
                <a:gd name="T18" fmla="*/ 456 w 4815"/>
                <a:gd name="T19" fmla="*/ 2909 h 4030"/>
                <a:gd name="T20" fmla="*/ 565 w 4815"/>
                <a:gd name="T21" fmla="*/ 2926 h 4030"/>
                <a:gd name="T22" fmla="*/ 1115 w 4815"/>
                <a:gd name="T23" fmla="*/ 2929 h 4030"/>
                <a:gd name="T24" fmla="*/ 1163 w 4815"/>
                <a:gd name="T25" fmla="*/ 2957 h 4030"/>
                <a:gd name="T26" fmla="*/ 1618 w 4815"/>
                <a:gd name="T27" fmla="*/ 3712 h 4030"/>
                <a:gd name="T28" fmla="*/ 2089 w 4815"/>
                <a:gd name="T29" fmla="*/ 2957 h 4030"/>
                <a:gd name="T30" fmla="*/ 2136 w 4815"/>
                <a:gd name="T31" fmla="*/ 2929 h 4030"/>
                <a:gd name="T32" fmla="*/ 4249 w 4815"/>
                <a:gd name="T33" fmla="*/ 2926 h 4030"/>
                <a:gd name="T34" fmla="*/ 4360 w 4815"/>
                <a:gd name="T35" fmla="*/ 2909 h 4030"/>
                <a:gd name="T36" fmla="*/ 4455 w 4815"/>
                <a:gd name="T37" fmla="*/ 2859 h 4030"/>
                <a:gd name="T38" fmla="*/ 4530 w 4815"/>
                <a:gd name="T39" fmla="*/ 2783 h 4030"/>
                <a:gd name="T40" fmla="*/ 4579 w 4815"/>
                <a:gd name="T41" fmla="*/ 2688 h 4030"/>
                <a:gd name="T42" fmla="*/ 4597 w 4815"/>
                <a:gd name="T43" fmla="*/ 2579 h 4030"/>
                <a:gd name="T44" fmla="*/ 4593 w 4815"/>
                <a:gd name="T45" fmla="*/ 509 h 4030"/>
                <a:gd name="T46" fmla="*/ 4559 w 4815"/>
                <a:gd name="T47" fmla="*/ 405 h 4030"/>
                <a:gd name="T48" fmla="*/ 4496 w 4815"/>
                <a:gd name="T49" fmla="*/ 319 h 4030"/>
                <a:gd name="T50" fmla="*/ 4410 w 4815"/>
                <a:gd name="T51" fmla="*/ 256 h 4030"/>
                <a:gd name="T52" fmla="*/ 4306 w 4815"/>
                <a:gd name="T53" fmla="*/ 222 h 4030"/>
                <a:gd name="T54" fmla="*/ 565 w 4815"/>
                <a:gd name="T55" fmla="*/ 218 h 4030"/>
                <a:gd name="T56" fmla="*/ 4249 w 4815"/>
                <a:gd name="T57" fmla="*/ 0 h 4030"/>
                <a:gd name="T58" fmla="*/ 4389 w 4815"/>
                <a:gd name="T59" fmla="*/ 16 h 4030"/>
                <a:gd name="T60" fmla="*/ 4515 w 4815"/>
                <a:gd name="T61" fmla="*/ 66 h 4030"/>
                <a:gd name="T62" fmla="*/ 4625 w 4815"/>
                <a:gd name="T63" fmla="*/ 142 h 4030"/>
                <a:gd name="T64" fmla="*/ 4714 w 4815"/>
                <a:gd name="T65" fmla="*/ 243 h 4030"/>
                <a:gd name="T66" fmla="*/ 4777 w 4815"/>
                <a:gd name="T67" fmla="*/ 361 h 4030"/>
                <a:gd name="T68" fmla="*/ 4810 w 4815"/>
                <a:gd name="T69" fmla="*/ 494 h 4030"/>
                <a:gd name="T70" fmla="*/ 4815 w 4815"/>
                <a:gd name="T71" fmla="*/ 2579 h 4030"/>
                <a:gd name="T72" fmla="*/ 4797 w 4815"/>
                <a:gd name="T73" fmla="*/ 2717 h 4030"/>
                <a:gd name="T74" fmla="*/ 4749 w 4815"/>
                <a:gd name="T75" fmla="*/ 2844 h 4030"/>
                <a:gd name="T76" fmla="*/ 4673 w 4815"/>
                <a:gd name="T77" fmla="*/ 2954 h 4030"/>
                <a:gd name="T78" fmla="*/ 4572 w 4815"/>
                <a:gd name="T79" fmla="*/ 3043 h 4030"/>
                <a:gd name="T80" fmla="*/ 4454 w 4815"/>
                <a:gd name="T81" fmla="*/ 3106 h 4030"/>
                <a:gd name="T82" fmla="*/ 4321 w 4815"/>
                <a:gd name="T83" fmla="*/ 3139 h 4030"/>
                <a:gd name="T84" fmla="*/ 2225 w 4815"/>
                <a:gd name="T85" fmla="*/ 3144 h 4030"/>
                <a:gd name="T86" fmla="*/ 1693 w 4815"/>
                <a:gd name="T87" fmla="*/ 4001 h 4030"/>
                <a:gd name="T88" fmla="*/ 1645 w 4815"/>
                <a:gd name="T89" fmla="*/ 4027 h 4030"/>
                <a:gd name="T90" fmla="*/ 1617 w 4815"/>
                <a:gd name="T91" fmla="*/ 4030 h 4030"/>
                <a:gd name="T92" fmla="*/ 1563 w 4815"/>
                <a:gd name="T93" fmla="*/ 4015 h 4030"/>
                <a:gd name="T94" fmla="*/ 1523 w 4815"/>
                <a:gd name="T95" fmla="*/ 3977 h 4030"/>
                <a:gd name="T96" fmla="*/ 565 w 4815"/>
                <a:gd name="T97" fmla="*/ 3144 h 4030"/>
                <a:gd name="T98" fmla="*/ 427 w 4815"/>
                <a:gd name="T99" fmla="*/ 3126 h 4030"/>
                <a:gd name="T100" fmla="*/ 299 w 4815"/>
                <a:gd name="T101" fmla="*/ 3078 h 4030"/>
                <a:gd name="T102" fmla="*/ 190 w 4815"/>
                <a:gd name="T103" fmla="*/ 3001 h 4030"/>
                <a:gd name="T104" fmla="*/ 100 w 4815"/>
                <a:gd name="T105" fmla="*/ 2901 h 4030"/>
                <a:gd name="T106" fmla="*/ 38 w 4815"/>
                <a:gd name="T107" fmla="*/ 2783 h 4030"/>
                <a:gd name="T108" fmla="*/ 4 w 4815"/>
                <a:gd name="T109" fmla="*/ 2650 h 4030"/>
                <a:gd name="T110" fmla="*/ 0 w 4815"/>
                <a:gd name="T111" fmla="*/ 564 h 4030"/>
                <a:gd name="T112" fmla="*/ 17 w 4815"/>
                <a:gd name="T113" fmla="*/ 425 h 4030"/>
                <a:gd name="T114" fmla="*/ 65 w 4815"/>
                <a:gd name="T115" fmla="*/ 300 h 4030"/>
                <a:gd name="T116" fmla="*/ 143 w 4815"/>
                <a:gd name="T117" fmla="*/ 190 h 4030"/>
                <a:gd name="T118" fmla="*/ 242 w 4815"/>
                <a:gd name="T119" fmla="*/ 101 h 4030"/>
                <a:gd name="T120" fmla="*/ 361 w 4815"/>
                <a:gd name="T121" fmla="*/ 38 h 4030"/>
                <a:gd name="T122" fmla="*/ 494 w 4815"/>
                <a:gd name="T123" fmla="*/ 5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15" h="4030">
                  <a:moveTo>
                    <a:pt x="565" y="218"/>
                  </a:moveTo>
                  <a:lnTo>
                    <a:pt x="508" y="222"/>
                  </a:lnTo>
                  <a:lnTo>
                    <a:pt x="456" y="235"/>
                  </a:lnTo>
                  <a:lnTo>
                    <a:pt x="406" y="256"/>
                  </a:lnTo>
                  <a:lnTo>
                    <a:pt x="359" y="285"/>
                  </a:lnTo>
                  <a:lnTo>
                    <a:pt x="320" y="319"/>
                  </a:lnTo>
                  <a:lnTo>
                    <a:pt x="285" y="360"/>
                  </a:lnTo>
                  <a:lnTo>
                    <a:pt x="257" y="405"/>
                  </a:lnTo>
                  <a:lnTo>
                    <a:pt x="235" y="454"/>
                  </a:lnTo>
                  <a:lnTo>
                    <a:pt x="222" y="509"/>
                  </a:lnTo>
                  <a:lnTo>
                    <a:pt x="217" y="564"/>
                  </a:lnTo>
                  <a:lnTo>
                    <a:pt x="217" y="2579"/>
                  </a:lnTo>
                  <a:lnTo>
                    <a:pt x="222" y="2636"/>
                  </a:lnTo>
                  <a:lnTo>
                    <a:pt x="235" y="2688"/>
                  </a:lnTo>
                  <a:lnTo>
                    <a:pt x="257" y="2738"/>
                  </a:lnTo>
                  <a:lnTo>
                    <a:pt x="285" y="2783"/>
                  </a:lnTo>
                  <a:lnTo>
                    <a:pt x="320" y="2824"/>
                  </a:lnTo>
                  <a:lnTo>
                    <a:pt x="359" y="2859"/>
                  </a:lnTo>
                  <a:lnTo>
                    <a:pt x="406" y="2887"/>
                  </a:lnTo>
                  <a:lnTo>
                    <a:pt x="456" y="2909"/>
                  </a:lnTo>
                  <a:lnTo>
                    <a:pt x="508" y="2922"/>
                  </a:lnTo>
                  <a:lnTo>
                    <a:pt x="565" y="2926"/>
                  </a:lnTo>
                  <a:lnTo>
                    <a:pt x="1087" y="2926"/>
                  </a:lnTo>
                  <a:lnTo>
                    <a:pt x="1115" y="2929"/>
                  </a:lnTo>
                  <a:lnTo>
                    <a:pt x="1142" y="2941"/>
                  </a:lnTo>
                  <a:lnTo>
                    <a:pt x="1163" y="2957"/>
                  </a:lnTo>
                  <a:lnTo>
                    <a:pt x="1181" y="2979"/>
                  </a:lnTo>
                  <a:lnTo>
                    <a:pt x="1618" y="3712"/>
                  </a:lnTo>
                  <a:lnTo>
                    <a:pt x="2072" y="2977"/>
                  </a:lnTo>
                  <a:lnTo>
                    <a:pt x="2089" y="2957"/>
                  </a:lnTo>
                  <a:lnTo>
                    <a:pt x="2111" y="2939"/>
                  </a:lnTo>
                  <a:lnTo>
                    <a:pt x="2136" y="2929"/>
                  </a:lnTo>
                  <a:lnTo>
                    <a:pt x="2164" y="2926"/>
                  </a:lnTo>
                  <a:lnTo>
                    <a:pt x="4249" y="2926"/>
                  </a:lnTo>
                  <a:lnTo>
                    <a:pt x="4306" y="2922"/>
                  </a:lnTo>
                  <a:lnTo>
                    <a:pt x="4360" y="2909"/>
                  </a:lnTo>
                  <a:lnTo>
                    <a:pt x="4410" y="2887"/>
                  </a:lnTo>
                  <a:lnTo>
                    <a:pt x="4455" y="2859"/>
                  </a:lnTo>
                  <a:lnTo>
                    <a:pt x="4496" y="2824"/>
                  </a:lnTo>
                  <a:lnTo>
                    <a:pt x="4530" y="2783"/>
                  </a:lnTo>
                  <a:lnTo>
                    <a:pt x="4559" y="2738"/>
                  </a:lnTo>
                  <a:lnTo>
                    <a:pt x="4579" y="2688"/>
                  </a:lnTo>
                  <a:lnTo>
                    <a:pt x="4593" y="2636"/>
                  </a:lnTo>
                  <a:lnTo>
                    <a:pt x="4597" y="2579"/>
                  </a:lnTo>
                  <a:lnTo>
                    <a:pt x="4597" y="564"/>
                  </a:lnTo>
                  <a:lnTo>
                    <a:pt x="4593" y="509"/>
                  </a:lnTo>
                  <a:lnTo>
                    <a:pt x="4579" y="454"/>
                  </a:lnTo>
                  <a:lnTo>
                    <a:pt x="4559" y="405"/>
                  </a:lnTo>
                  <a:lnTo>
                    <a:pt x="4530" y="360"/>
                  </a:lnTo>
                  <a:lnTo>
                    <a:pt x="4496" y="319"/>
                  </a:lnTo>
                  <a:lnTo>
                    <a:pt x="4455" y="285"/>
                  </a:lnTo>
                  <a:lnTo>
                    <a:pt x="4410" y="256"/>
                  </a:lnTo>
                  <a:lnTo>
                    <a:pt x="4360" y="235"/>
                  </a:lnTo>
                  <a:lnTo>
                    <a:pt x="4306" y="222"/>
                  </a:lnTo>
                  <a:lnTo>
                    <a:pt x="4249" y="218"/>
                  </a:lnTo>
                  <a:lnTo>
                    <a:pt x="565" y="218"/>
                  </a:lnTo>
                  <a:close/>
                  <a:moveTo>
                    <a:pt x="565" y="0"/>
                  </a:moveTo>
                  <a:lnTo>
                    <a:pt x="4249" y="0"/>
                  </a:lnTo>
                  <a:lnTo>
                    <a:pt x="4321" y="5"/>
                  </a:lnTo>
                  <a:lnTo>
                    <a:pt x="4389" y="16"/>
                  </a:lnTo>
                  <a:lnTo>
                    <a:pt x="4454" y="38"/>
                  </a:lnTo>
                  <a:lnTo>
                    <a:pt x="4515" y="66"/>
                  </a:lnTo>
                  <a:lnTo>
                    <a:pt x="4572" y="101"/>
                  </a:lnTo>
                  <a:lnTo>
                    <a:pt x="4625" y="142"/>
                  </a:lnTo>
                  <a:lnTo>
                    <a:pt x="4673" y="190"/>
                  </a:lnTo>
                  <a:lnTo>
                    <a:pt x="4714" y="243"/>
                  </a:lnTo>
                  <a:lnTo>
                    <a:pt x="4749" y="300"/>
                  </a:lnTo>
                  <a:lnTo>
                    <a:pt x="4777" y="361"/>
                  </a:lnTo>
                  <a:lnTo>
                    <a:pt x="4797" y="425"/>
                  </a:lnTo>
                  <a:lnTo>
                    <a:pt x="4810" y="494"/>
                  </a:lnTo>
                  <a:lnTo>
                    <a:pt x="4815" y="564"/>
                  </a:lnTo>
                  <a:lnTo>
                    <a:pt x="4815" y="2579"/>
                  </a:lnTo>
                  <a:lnTo>
                    <a:pt x="4810" y="2650"/>
                  </a:lnTo>
                  <a:lnTo>
                    <a:pt x="4797" y="2717"/>
                  </a:lnTo>
                  <a:lnTo>
                    <a:pt x="4777" y="2783"/>
                  </a:lnTo>
                  <a:lnTo>
                    <a:pt x="4749" y="2844"/>
                  </a:lnTo>
                  <a:lnTo>
                    <a:pt x="4714" y="2901"/>
                  </a:lnTo>
                  <a:lnTo>
                    <a:pt x="4673" y="2954"/>
                  </a:lnTo>
                  <a:lnTo>
                    <a:pt x="4625" y="3001"/>
                  </a:lnTo>
                  <a:lnTo>
                    <a:pt x="4572" y="3043"/>
                  </a:lnTo>
                  <a:lnTo>
                    <a:pt x="4515" y="3078"/>
                  </a:lnTo>
                  <a:lnTo>
                    <a:pt x="4454" y="3106"/>
                  </a:lnTo>
                  <a:lnTo>
                    <a:pt x="4389" y="3126"/>
                  </a:lnTo>
                  <a:lnTo>
                    <a:pt x="4321" y="3139"/>
                  </a:lnTo>
                  <a:lnTo>
                    <a:pt x="4249" y="3144"/>
                  </a:lnTo>
                  <a:lnTo>
                    <a:pt x="2225" y="3144"/>
                  </a:lnTo>
                  <a:lnTo>
                    <a:pt x="1710" y="3979"/>
                  </a:lnTo>
                  <a:lnTo>
                    <a:pt x="1693" y="4001"/>
                  </a:lnTo>
                  <a:lnTo>
                    <a:pt x="1671" y="4017"/>
                  </a:lnTo>
                  <a:lnTo>
                    <a:pt x="1645" y="4027"/>
                  </a:lnTo>
                  <a:lnTo>
                    <a:pt x="1617" y="4030"/>
                  </a:lnTo>
                  <a:lnTo>
                    <a:pt x="1617" y="4030"/>
                  </a:lnTo>
                  <a:lnTo>
                    <a:pt x="1589" y="4027"/>
                  </a:lnTo>
                  <a:lnTo>
                    <a:pt x="1563" y="4015"/>
                  </a:lnTo>
                  <a:lnTo>
                    <a:pt x="1541" y="3999"/>
                  </a:lnTo>
                  <a:lnTo>
                    <a:pt x="1523" y="3977"/>
                  </a:lnTo>
                  <a:lnTo>
                    <a:pt x="1026" y="3144"/>
                  </a:lnTo>
                  <a:lnTo>
                    <a:pt x="565" y="3144"/>
                  </a:lnTo>
                  <a:lnTo>
                    <a:pt x="494" y="3139"/>
                  </a:lnTo>
                  <a:lnTo>
                    <a:pt x="427" y="3126"/>
                  </a:lnTo>
                  <a:lnTo>
                    <a:pt x="361" y="3106"/>
                  </a:lnTo>
                  <a:lnTo>
                    <a:pt x="299" y="3078"/>
                  </a:lnTo>
                  <a:lnTo>
                    <a:pt x="242" y="3043"/>
                  </a:lnTo>
                  <a:lnTo>
                    <a:pt x="190" y="3001"/>
                  </a:lnTo>
                  <a:lnTo>
                    <a:pt x="143" y="2954"/>
                  </a:lnTo>
                  <a:lnTo>
                    <a:pt x="100" y="2901"/>
                  </a:lnTo>
                  <a:lnTo>
                    <a:pt x="65" y="2844"/>
                  </a:lnTo>
                  <a:lnTo>
                    <a:pt x="38" y="2783"/>
                  </a:lnTo>
                  <a:lnTo>
                    <a:pt x="17" y="2717"/>
                  </a:lnTo>
                  <a:lnTo>
                    <a:pt x="4" y="2650"/>
                  </a:lnTo>
                  <a:lnTo>
                    <a:pt x="0" y="2579"/>
                  </a:lnTo>
                  <a:lnTo>
                    <a:pt x="0" y="564"/>
                  </a:lnTo>
                  <a:lnTo>
                    <a:pt x="4" y="494"/>
                  </a:lnTo>
                  <a:lnTo>
                    <a:pt x="17" y="425"/>
                  </a:lnTo>
                  <a:lnTo>
                    <a:pt x="38" y="361"/>
                  </a:lnTo>
                  <a:lnTo>
                    <a:pt x="65" y="300"/>
                  </a:lnTo>
                  <a:lnTo>
                    <a:pt x="100" y="243"/>
                  </a:lnTo>
                  <a:lnTo>
                    <a:pt x="143" y="190"/>
                  </a:lnTo>
                  <a:lnTo>
                    <a:pt x="190" y="142"/>
                  </a:lnTo>
                  <a:lnTo>
                    <a:pt x="242" y="101"/>
                  </a:lnTo>
                  <a:lnTo>
                    <a:pt x="299" y="66"/>
                  </a:lnTo>
                  <a:lnTo>
                    <a:pt x="361" y="38"/>
                  </a:lnTo>
                  <a:lnTo>
                    <a:pt x="427" y="16"/>
                  </a:lnTo>
                  <a:lnTo>
                    <a:pt x="494" y="5"/>
                  </a:lnTo>
                  <a:lnTo>
                    <a:pt x="5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2276" y="1207"/>
              <a:ext cx="121" cy="5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34" name="Freeform 8"/>
            <p:cNvSpPr>
              <a:spLocks noEditPoints="1"/>
            </p:cNvSpPr>
            <p:nvPr/>
          </p:nvSpPr>
          <p:spPr bwMode="auto">
            <a:xfrm>
              <a:off x="2541" y="1199"/>
              <a:ext cx="511" cy="549"/>
            </a:xfrm>
            <a:custGeom>
              <a:avLst/>
              <a:gdLst>
                <a:gd name="T0" fmla="*/ 716 w 1533"/>
                <a:gd name="T1" fmla="*/ 289 h 1646"/>
                <a:gd name="T2" fmla="*/ 624 w 1533"/>
                <a:gd name="T3" fmla="*/ 317 h 1646"/>
                <a:gd name="T4" fmla="*/ 546 w 1533"/>
                <a:gd name="T5" fmla="*/ 368 h 1646"/>
                <a:gd name="T6" fmla="*/ 482 w 1533"/>
                <a:gd name="T7" fmla="*/ 441 h 1646"/>
                <a:gd name="T8" fmla="*/ 432 w 1533"/>
                <a:gd name="T9" fmla="*/ 532 h 1646"/>
                <a:gd name="T10" fmla="*/ 399 w 1533"/>
                <a:gd name="T11" fmla="*/ 641 h 1646"/>
                <a:gd name="T12" fmla="*/ 383 w 1533"/>
                <a:gd name="T13" fmla="*/ 762 h 1646"/>
                <a:gd name="T14" fmla="*/ 383 w 1533"/>
                <a:gd name="T15" fmla="*/ 898 h 1646"/>
                <a:gd name="T16" fmla="*/ 403 w 1533"/>
                <a:gd name="T17" fmla="*/ 1026 h 1646"/>
                <a:gd name="T18" fmla="*/ 443 w 1533"/>
                <a:gd name="T19" fmla="*/ 1139 h 1646"/>
                <a:gd name="T20" fmla="*/ 500 w 1533"/>
                <a:gd name="T21" fmla="*/ 1231 h 1646"/>
                <a:gd name="T22" fmla="*/ 574 w 1533"/>
                <a:gd name="T23" fmla="*/ 1301 h 1646"/>
                <a:gd name="T24" fmla="*/ 663 w 1533"/>
                <a:gd name="T25" fmla="*/ 1345 h 1646"/>
                <a:gd name="T26" fmla="*/ 769 w 1533"/>
                <a:gd name="T27" fmla="*/ 1359 h 1646"/>
                <a:gd name="T28" fmla="*/ 867 w 1533"/>
                <a:gd name="T29" fmla="*/ 1346 h 1646"/>
                <a:gd name="T30" fmla="*/ 951 w 1533"/>
                <a:gd name="T31" fmla="*/ 1307 h 1646"/>
                <a:gd name="T32" fmla="*/ 1022 w 1533"/>
                <a:gd name="T33" fmla="*/ 1244 h 1646"/>
                <a:gd name="T34" fmla="*/ 1079 w 1533"/>
                <a:gd name="T35" fmla="*/ 1161 h 1646"/>
                <a:gd name="T36" fmla="*/ 1118 w 1533"/>
                <a:gd name="T37" fmla="*/ 1060 h 1646"/>
                <a:gd name="T38" fmla="*/ 1144 w 1533"/>
                <a:gd name="T39" fmla="*/ 945 h 1646"/>
                <a:gd name="T40" fmla="*/ 1152 w 1533"/>
                <a:gd name="T41" fmla="*/ 818 h 1646"/>
                <a:gd name="T42" fmla="*/ 1144 w 1533"/>
                <a:gd name="T43" fmla="*/ 698 h 1646"/>
                <a:gd name="T44" fmla="*/ 1120 w 1533"/>
                <a:gd name="T45" fmla="*/ 587 h 1646"/>
                <a:gd name="T46" fmla="*/ 1079 w 1533"/>
                <a:gd name="T47" fmla="*/ 488 h 1646"/>
                <a:gd name="T48" fmla="*/ 1023 w 1533"/>
                <a:gd name="T49" fmla="*/ 405 h 1646"/>
                <a:gd name="T50" fmla="*/ 951 w 1533"/>
                <a:gd name="T51" fmla="*/ 342 h 1646"/>
                <a:gd name="T52" fmla="*/ 867 w 1533"/>
                <a:gd name="T53" fmla="*/ 301 h 1646"/>
                <a:gd name="T54" fmla="*/ 766 w 1533"/>
                <a:gd name="T55" fmla="*/ 286 h 1646"/>
                <a:gd name="T56" fmla="*/ 855 w 1533"/>
                <a:gd name="T57" fmla="*/ 3 h 1646"/>
                <a:gd name="T58" fmla="*/ 1003 w 1533"/>
                <a:gd name="T59" fmla="*/ 29 h 1646"/>
                <a:gd name="T60" fmla="*/ 1131 w 1533"/>
                <a:gd name="T61" fmla="*/ 77 h 1646"/>
                <a:gd name="T62" fmla="*/ 1244 w 1533"/>
                <a:gd name="T63" fmla="*/ 149 h 1646"/>
                <a:gd name="T64" fmla="*/ 1339 w 1533"/>
                <a:gd name="T65" fmla="*/ 238 h 1646"/>
                <a:gd name="T66" fmla="*/ 1415 w 1533"/>
                <a:gd name="T67" fmla="*/ 343 h 1646"/>
                <a:gd name="T68" fmla="*/ 1472 w 1533"/>
                <a:gd name="T69" fmla="*/ 463 h 1646"/>
                <a:gd name="T70" fmla="*/ 1512 w 1533"/>
                <a:gd name="T71" fmla="*/ 593 h 1646"/>
                <a:gd name="T72" fmla="*/ 1531 w 1533"/>
                <a:gd name="T73" fmla="*/ 733 h 1646"/>
                <a:gd name="T74" fmla="*/ 1531 w 1533"/>
                <a:gd name="T75" fmla="*/ 897 h 1646"/>
                <a:gd name="T76" fmla="*/ 1506 w 1533"/>
                <a:gd name="T77" fmla="*/ 1063 h 1646"/>
                <a:gd name="T78" fmla="*/ 1456 w 1533"/>
                <a:gd name="T79" fmla="*/ 1210 h 1646"/>
                <a:gd name="T80" fmla="*/ 1384 w 1533"/>
                <a:gd name="T81" fmla="*/ 1339 h 1646"/>
                <a:gd name="T82" fmla="*/ 1292 w 1533"/>
                <a:gd name="T83" fmla="*/ 1447 h 1646"/>
                <a:gd name="T84" fmla="*/ 1181 w 1533"/>
                <a:gd name="T85" fmla="*/ 1532 h 1646"/>
                <a:gd name="T86" fmla="*/ 1052 w 1533"/>
                <a:gd name="T87" fmla="*/ 1594 h 1646"/>
                <a:gd name="T88" fmla="*/ 908 w 1533"/>
                <a:gd name="T89" fmla="*/ 1632 h 1646"/>
                <a:gd name="T90" fmla="*/ 750 w 1533"/>
                <a:gd name="T91" fmla="*/ 1646 h 1646"/>
                <a:gd name="T92" fmla="*/ 590 w 1533"/>
                <a:gd name="T93" fmla="*/ 1631 h 1646"/>
                <a:gd name="T94" fmla="*/ 448 w 1533"/>
                <a:gd name="T95" fmla="*/ 1590 h 1646"/>
                <a:gd name="T96" fmla="*/ 326 w 1533"/>
                <a:gd name="T97" fmla="*/ 1523 h 1646"/>
                <a:gd name="T98" fmla="*/ 220 w 1533"/>
                <a:gd name="T99" fmla="*/ 1435 h 1646"/>
                <a:gd name="T100" fmla="*/ 134 w 1533"/>
                <a:gd name="T101" fmla="*/ 1327 h 1646"/>
                <a:gd name="T102" fmla="*/ 68 w 1533"/>
                <a:gd name="T103" fmla="*/ 1203 h 1646"/>
                <a:gd name="T104" fmla="*/ 24 w 1533"/>
                <a:gd name="T105" fmla="*/ 1064 h 1646"/>
                <a:gd name="T106" fmla="*/ 2 w 1533"/>
                <a:gd name="T107" fmla="*/ 914 h 1646"/>
                <a:gd name="T108" fmla="*/ 2 w 1533"/>
                <a:gd name="T109" fmla="*/ 752 h 1646"/>
                <a:gd name="T110" fmla="*/ 27 w 1533"/>
                <a:gd name="T111" fmla="*/ 594 h 1646"/>
                <a:gd name="T112" fmla="*/ 74 w 1533"/>
                <a:gd name="T113" fmla="*/ 450 h 1646"/>
                <a:gd name="T114" fmla="*/ 144 w 1533"/>
                <a:gd name="T115" fmla="*/ 323 h 1646"/>
                <a:gd name="T116" fmla="*/ 235 w 1533"/>
                <a:gd name="T117" fmla="*/ 212 h 1646"/>
                <a:gd name="T118" fmla="*/ 345 w 1533"/>
                <a:gd name="T119" fmla="*/ 123 h 1646"/>
                <a:gd name="T120" fmla="*/ 472 w 1533"/>
                <a:gd name="T121" fmla="*/ 56 h 1646"/>
                <a:gd name="T122" fmla="*/ 617 w 1533"/>
                <a:gd name="T123" fmla="*/ 15 h 1646"/>
                <a:gd name="T124" fmla="*/ 776 w 1533"/>
                <a:gd name="T125" fmla="*/ 0 h 1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33" h="1646">
                  <a:moveTo>
                    <a:pt x="766" y="286"/>
                  </a:moveTo>
                  <a:lnTo>
                    <a:pt x="716" y="289"/>
                  </a:lnTo>
                  <a:lnTo>
                    <a:pt x="668" y="299"/>
                  </a:lnTo>
                  <a:lnTo>
                    <a:pt x="624" y="317"/>
                  </a:lnTo>
                  <a:lnTo>
                    <a:pt x="583" y="339"/>
                  </a:lnTo>
                  <a:lnTo>
                    <a:pt x="546" y="368"/>
                  </a:lnTo>
                  <a:lnTo>
                    <a:pt x="511" y="402"/>
                  </a:lnTo>
                  <a:lnTo>
                    <a:pt x="482" y="441"/>
                  </a:lnTo>
                  <a:lnTo>
                    <a:pt x="456" y="483"/>
                  </a:lnTo>
                  <a:lnTo>
                    <a:pt x="432" y="532"/>
                  </a:lnTo>
                  <a:lnTo>
                    <a:pt x="415" y="584"/>
                  </a:lnTo>
                  <a:lnTo>
                    <a:pt x="399" y="641"/>
                  </a:lnTo>
                  <a:lnTo>
                    <a:pt x="388" y="699"/>
                  </a:lnTo>
                  <a:lnTo>
                    <a:pt x="383" y="762"/>
                  </a:lnTo>
                  <a:lnTo>
                    <a:pt x="380" y="828"/>
                  </a:lnTo>
                  <a:lnTo>
                    <a:pt x="383" y="898"/>
                  </a:lnTo>
                  <a:lnTo>
                    <a:pt x="390" y="964"/>
                  </a:lnTo>
                  <a:lnTo>
                    <a:pt x="403" y="1026"/>
                  </a:lnTo>
                  <a:lnTo>
                    <a:pt x="421" y="1085"/>
                  </a:lnTo>
                  <a:lnTo>
                    <a:pt x="443" y="1139"/>
                  </a:lnTo>
                  <a:lnTo>
                    <a:pt x="469" y="1189"/>
                  </a:lnTo>
                  <a:lnTo>
                    <a:pt x="500" y="1231"/>
                  </a:lnTo>
                  <a:lnTo>
                    <a:pt x="535" y="1269"/>
                  </a:lnTo>
                  <a:lnTo>
                    <a:pt x="574" y="1301"/>
                  </a:lnTo>
                  <a:lnTo>
                    <a:pt x="617" y="1326"/>
                  </a:lnTo>
                  <a:lnTo>
                    <a:pt x="663" y="1345"/>
                  </a:lnTo>
                  <a:lnTo>
                    <a:pt x="715" y="1355"/>
                  </a:lnTo>
                  <a:lnTo>
                    <a:pt x="769" y="1359"/>
                  </a:lnTo>
                  <a:lnTo>
                    <a:pt x="820" y="1356"/>
                  </a:lnTo>
                  <a:lnTo>
                    <a:pt x="867" y="1346"/>
                  </a:lnTo>
                  <a:lnTo>
                    <a:pt x="911" y="1329"/>
                  </a:lnTo>
                  <a:lnTo>
                    <a:pt x="951" y="1307"/>
                  </a:lnTo>
                  <a:lnTo>
                    <a:pt x="988" y="1278"/>
                  </a:lnTo>
                  <a:lnTo>
                    <a:pt x="1022" y="1244"/>
                  </a:lnTo>
                  <a:lnTo>
                    <a:pt x="1052" y="1205"/>
                  </a:lnTo>
                  <a:lnTo>
                    <a:pt x="1079" y="1161"/>
                  </a:lnTo>
                  <a:lnTo>
                    <a:pt x="1101" y="1113"/>
                  </a:lnTo>
                  <a:lnTo>
                    <a:pt x="1118" y="1060"/>
                  </a:lnTo>
                  <a:lnTo>
                    <a:pt x="1133" y="1005"/>
                  </a:lnTo>
                  <a:lnTo>
                    <a:pt x="1144" y="945"/>
                  </a:lnTo>
                  <a:lnTo>
                    <a:pt x="1150" y="883"/>
                  </a:lnTo>
                  <a:lnTo>
                    <a:pt x="1152" y="818"/>
                  </a:lnTo>
                  <a:lnTo>
                    <a:pt x="1150" y="758"/>
                  </a:lnTo>
                  <a:lnTo>
                    <a:pt x="1144" y="698"/>
                  </a:lnTo>
                  <a:lnTo>
                    <a:pt x="1134" y="641"/>
                  </a:lnTo>
                  <a:lnTo>
                    <a:pt x="1120" y="587"/>
                  </a:lnTo>
                  <a:lnTo>
                    <a:pt x="1101" y="536"/>
                  </a:lnTo>
                  <a:lnTo>
                    <a:pt x="1079" y="488"/>
                  </a:lnTo>
                  <a:lnTo>
                    <a:pt x="1052" y="444"/>
                  </a:lnTo>
                  <a:lnTo>
                    <a:pt x="1023" y="405"/>
                  </a:lnTo>
                  <a:lnTo>
                    <a:pt x="989" y="371"/>
                  </a:lnTo>
                  <a:lnTo>
                    <a:pt x="951" y="342"/>
                  </a:lnTo>
                  <a:lnTo>
                    <a:pt x="911" y="318"/>
                  </a:lnTo>
                  <a:lnTo>
                    <a:pt x="867" y="301"/>
                  </a:lnTo>
                  <a:lnTo>
                    <a:pt x="818" y="289"/>
                  </a:lnTo>
                  <a:lnTo>
                    <a:pt x="766" y="286"/>
                  </a:lnTo>
                  <a:close/>
                  <a:moveTo>
                    <a:pt x="776" y="0"/>
                  </a:moveTo>
                  <a:lnTo>
                    <a:pt x="855" y="3"/>
                  </a:lnTo>
                  <a:lnTo>
                    <a:pt x="931" y="13"/>
                  </a:lnTo>
                  <a:lnTo>
                    <a:pt x="1003" y="29"/>
                  </a:lnTo>
                  <a:lnTo>
                    <a:pt x="1068" y="51"/>
                  </a:lnTo>
                  <a:lnTo>
                    <a:pt x="1131" y="77"/>
                  </a:lnTo>
                  <a:lnTo>
                    <a:pt x="1190" y="111"/>
                  </a:lnTo>
                  <a:lnTo>
                    <a:pt x="1244" y="149"/>
                  </a:lnTo>
                  <a:lnTo>
                    <a:pt x="1294" y="191"/>
                  </a:lnTo>
                  <a:lnTo>
                    <a:pt x="1339" y="238"/>
                  </a:lnTo>
                  <a:lnTo>
                    <a:pt x="1378" y="289"/>
                  </a:lnTo>
                  <a:lnTo>
                    <a:pt x="1415" y="343"/>
                  </a:lnTo>
                  <a:lnTo>
                    <a:pt x="1446" y="402"/>
                  </a:lnTo>
                  <a:lnTo>
                    <a:pt x="1472" y="463"/>
                  </a:lnTo>
                  <a:lnTo>
                    <a:pt x="1494" y="527"/>
                  </a:lnTo>
                  <a:lnTo>
                    <a:pt x="1512" y="593"/>
                  </a:lnTo>
                  <a:lnTo>
                    <a:pt x="1523" y="663"/>
                  </a:lnTo>
                  <a:lnTo>
                    <a:pt x="1531" y="733"/>
                  </a:lnTo>
                  <a:lnTo>
                    <a:pt x="1533" y="806"/>
                  </a:lnTo>
                  <a:lnTo>
                    <a:pt x="1531" y="897"/>
                  </a:lnTo>
                  <a:lnTo>
                    <a:pt x="1520" y="981"/>
                  </a:lnTo>
                  <a:lnTo>
                    <a:pt x="1506" y="1063"/>
                  </a:lnTo>
                  <a:lnTo>
                    <a:pt x="1484" y="1139"/>
                  </a:lnTo>
                  <a:lnTo>
                    <a:pt x="1456" y="1210"/>
                  </a:lnTo>
                  <a:lnTo>
                    <a:pt x="1422" y="1278"/>
                  </a:lnTo>
                  <a:lnTo>
                    <a:pt x="1384" y="1339"/>
                  </a:lnTo>
                  <a:lnTo>
                    <a:pt x="1340" y="1396"/>
                  </a:lnTo>
                  <a:lnTo>
                    <a:pt x="1292" y="1447"/>
                  </a:lnTo>
                  <a:lnTo>
                    <a:pt x="1238" y="1492"/>
                  </a:lnTo>
                  <a:lnTo>
                    <a:pt x="1181" y="1532"/>
                  </a:lnTo>
                  <a:lnTo>
                    <a:pt x="1118" y="1567"/>
                  </a:lnTo>
                  <a:lnTo>
                    <a:pt x="1052" y="1594"/>
                  </a:lnTo>
                  <a:lnTo>
                    <a:pt x="982" y="1616"/>
                  </a:lnTo>
                  <a:lnTo>
                    <a:pt x="908" y="1632"/>
                  </a:lnTo>
                  <a:lnTo>
                    <a:pt x="830" y="1643"/>
                  </a:lnTo>
                  <a:lnTo>
                    <a:pt x="750" y="1646"/>
                  </a:lnTo>
                  <a:lnTo>
                    <a:pt x="668" y="1641"/>
                  </a:lnTo>
                  <a:lnTo>
                    <a:pt x="590" y="1631"/>
                  </a:lnTo>
                  <a:lnTo>
                    <a:pt x="517" y="1613"/>
                  </a:lnTo>
                  <a:lnTo>
                    <a:pt x="448" y="1590"/>
                  </a:lnTo>
                  <a:lnTo>
                    <a:pt x="384" y="1559"/>
                  </a:lnTo>
                  <a:lnTo>
                    <a:pt x="326" y="1523"/>
                  </a:lnTo>
                  <a:lnTo>
                    <a:pt x="270" y="1482"/>
                  </a:lnTo>
                  <a:lnTo>
                    <a:pt x="220" y="1435"/>
                  </a:lnTo>
                  <a:lnTo>
                    <a:pt x="175" y="1384"/>
                  </a:lnTo>
                  <a:lnTo>
                    <a:pt x="134" y="1327"/>
                  </a:lnTo>
                  <a:lnTo>
                    <a:pt x="99" y="1267"/>
                  </a:lnTo>
                  <a:lnTo>
                    <a:pt x="68" y="1203"/>
                  </a:lnTo>
                  <a:lnTo>
                    <a:pt x="43" y="1136"/>
                  </a:lnTo>
                  <a:lnTo>
                    <a:pt x="24" y="1064"/>
                  </a:lnTo>
                  <a:lnTo>
                    <a:pt x="10" y="990"/>
                  </a:lnTo>
                  <a:lnTo>
                    <a:pt x="2" y="914"/>
                  </a:lnTo>
                  <a:lnTo>
                    <a:pt x="0" y="834"/>
                  </a:lnTo>
                  <a:lnTo>
                    <a:pt x="2" y="752"/>
                  </a:lnTo>
                  <a:lnTo>
                    <a:pt x="11" y="672"/>
                  </a:lnTo>
                  <a:lnTo>
                    <a:pt x="27" y="594"/>
                  </a:lnTo>
                  <a:lnTo>
                    <a:pt x="48" y="520"/>
                  </a:lnTo>
                  <a:lnTo>
                    <a:pt x="74" y="450"/>
                  </a:lnTo>
                  <a:lnTo>
                    <a:pt x="106" y="384"/>
                  </a:lnTo>
                  <a:lnTo>
                    <a:pt x="144" y="323"/>
                  </a:lnTo>
                  <a:lnTo>
                    <a:pt x="187" y="264"/>
                  </a:lnTo>
                  <a:lnTo>
                    <a:pt x="235" y="212"/>
                  </a:lnTo>
                  <a:lnTo>
                    <a:pt x="288" y="165"/>
                  </a:lnTo>
                  <a:lnTo>
                    <a:pt x="345" y="123"/>
                  </a:lnTo>
                  <a:lnTo>
                    <a:pt x="406" y="86"/>
                  </a:lnTo>
                  <a:lnTo>
                    <a:pt x="472" y="56"/>
                  </a:lnTo>
                  <a:lnTo>
                    <a:pt x="542" y="32"/>
                  </a:lnTo>
                  <a:lnTo>
                    <a:pt x="617" y="15"/>
                  </a:lnTo>
                  <a:lnTo>
                    <a:pt x="694" y="3"/>
                  </a:lnTo>
                  <a:lnTo>
                    <a:pt x="7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3132" y="1207"/>
              <a:ext cx="409" cy="532"/>
            </a:xfrm>
            <a:custGeom>
              <a:avLst/>
              <a:gdLst>
                <a:gd name="T0" fmla="*/ 0 w 1227"/>
                <a:gd name="T1" fmla="*/ 0 h 1594"/>
                <a:gd name="T2" fmla="*/ 1227 w 1227"/>
                <a:gd name="T3" fmla="*/ 0 h 1594"/>
                <a:gd name="T4" fmla="*/ 1227 w 1227"/>
                <a:gd name="T5" fmla="*/ 304 h 1594"/>
                <a:gd name="T6" fmla="*/ 791 w 1227"/>
                <a:gd name="T7" fmla="*/ 304 h 1594"/>
                <a:gd name="T8" fmla="*/ 791 w 1227"/>
                <a:gd name="T9" fmla="*/ 1594 h 1594"/>
                <a:gd name="T10" fmla="*/ 428 w 1227"/>
                <a:gd name="T11" fmla="*/ 1594 h 1594"/>
                <a:gd name="T12" fmla="*/ 428 w 1227"/>
                <a:gd name="T13" fmla="*/ 304 h 1594"/>
                <a:gd name="T14" fmla="*/ 0 w 1227"/>
                <a:gd name="T15" fmla="*/ 304 h 1594"/>
                <a:gd name="T16" fmla="*/ 0 w 1227"/>
                <a:gd name="T17" fmla="*/ 0 h 1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7" h="1594">
                  <a:moveTo>
                    <a:pt x="0" y="0"/>
                  </a:moveTo>
                  <a:lnTo>
                    <a:pt x="1227" y="0"/>
                  </a:lnTo>
                  <a:lnTo>
                    <a:pt x="1227" y="304"/>
                  </a:lnTo>
                  <a:lnTo>
                    <a:pt x="791" y="304"/>
                  </a:lnTo>
                  <a:lnTo>
                    <a:pt x="791" y="1594"/>
                  </a:lnTo>
                  <a:lnTo>
                    <a:pt x="428" y="1594"/>
                  </a:lnTo>
                  <a:lnTo>
                    <a:pt x="428" y="304"/>
                  </a:lnTo>
                  <a:lnTo>
                    <a:pt x="0" y="30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</p:grpSp>
      <p:grpSp>
        <p:nvGrpSpPr>
          <p:cNvPr id="5" name="Groupe 35"/>
          <p:cNvGrpSpPr/>
          <p:nvPr/>
        </p:nvGrpSpPr>
        <p:grpSpPr>
          <a:xfrm>
            <a:off x="6609500" y="1337675"/>
            <a:ext cx="200453" cy="375653"/>
            <a:chOff x="6320120" y="3822251"/>
            <a:chExt cx="294911" cy="552670"/>
          </a:xfrm>
        </p:grpSpPr>
        <p:pic>
          <p:nvPicPr>
            <p:cNvPr id="37" name="Picture 3" descr="D:\Users\bharrois\Documents\0_PERSONAL CLOUD\OFFERS\APP RAINBOW\VALUE PROP\iphone6.jpg"/>
            <p:cNvPicPr>
              <a:picLocks noChangeAspect="1" noChangeArrowheads="1"/>
            </p:cNvPicPr>
            <p:nvPr/>
          </p:nvPicPr>
          <p:blipFill>
            <a:blip r:embed="rId6" cstate="print"/>
            <a:srcRect l="22934" t="11685" r="22291"/>
            <a:stretch>
              <a:fillRect/>
            </a:stretch>
          </p:blipFill>
          <p:spPr bwMode="auto">
            <a:xfrm>
              <a:off x="6320120" y="3822251"/>
              <a:ext cx="294911" cy="552670"/>
            </a:xfrm>
            <a:prstGeom prst="roundRect">
              <a:avLst/>
            </a:prstGeom>
            <a:noFill/>
          </p:spPr>
        </p:pic>
        <p:pic>
          <p:nvPicPr>
            <p:cNvPr id="38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341062" y="3889712"/>
              <a:ext cx="251392" cy="4188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6" name="Groupe 38"/>
          <p:cNvGrpSpPr/>
          <p:nvPr/>
        </p:nvGrpSpPr>
        <p:grpSpPr>
          <a:xfrm>
            <a:off x="8606336" y="1980953"/>
            <a:ext cx="204904" cy="383994"/>
            <a:chOff x="6320120" y="3822251"/>
            <a:chExt cx="294911" cy="552670"/>
          </a:xfrm>
        </p:grpSpPr>
        <p:pic>
          <p:nvPicPr>
            <p:cNvPr id="40" name="Picture 3" descr="D:\Users\bharrois\Documents\0_PERSONAL CLOUD\OFFERS\APP RAINBOW\VALUE PROP\iphone6.jpg"/>
            <p:cNvPicPr>
              <a:picLocks noChangeAspect="1" noChangeArrowheads="1"/>
            </p:cNvPicPr>
            <p:nvPr/>
          </p:nvPicPr>
          <p:blipFill>
            <a:blip r:embed="rId6" cstate="print"/>
            <a:srcRect l="22934" t="11685" r="22291"/>
            <a:stretch>
              <a:fillRect/>
            </a:stretch>
          </p:blipFill>
          <p:spPr bwMode="auto">
            <a:xfrm>
              <a:off x="6320120" y="3822251"/>
              <a:ext cx="294911" cy="552670"/>
            </a:xfrm>
            <a:prstGeom prst="roundRect">
              <a:avLst/>
            </a:prstGeom>
            <a:noFill/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341062" y="3889712"/>
              <a:ext cx="251392" cy="4188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7" name="Groupe 41"/>
          <p:cNvGrpSpPr/>
          <p:nvPr/>
        </p:nvGrpSpPr>
        <p:grpSpPr>
          <a:xfrm>
            <a:off x="6081864" y="3301094"/>
            <a:ext cx="476588" cy="405036"/>
            <a:chOff x="2142679" y="2941034"/>
            <a:chExt cx="884535" cy="751736"/>
          </a:xfrm>
        </p:grpSpPr>
        <p:pic>
          <p:nvPicPr>
            <p:cNvPr id="43" name="Image 42" descr="8068_Premium_Deskphone_bluetooth_handset_f_l_OXE_homescreen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52519" y="2941034"/>
              <a:ext cx="595148" cy="486649"/>
            </a:xfrm>
            <a:prstGeom prst="rect">
              <a:avLst/>
            </a:prstGeom>
          </p:spPr>
        </p:pic>
        <p:pic>
          <p:nvPicPr>
            <p:cNvPr id="44" name="Image 43" descr="OXO_Connect_Medium.png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42679" y="3439793"/>
              <a:ext cx="884535" cy="252977"/>
            </a:xfrm>
            <a:prstGeom prst="rect">
              <a:avLst/>
            </a:prstGeom>
          </p:spPr>
        </p:pic>
      </p:grpSp>
      <p:grpSp>
        <p:nvGrpSpPr>
          <p:cNvPr id="8" name="Groupe 44"/>
          <p:cNvGrpSpPr/>
          <p:nvPr/>
        </p:nvGrpSpPr>
        <p:grpSpPr>
          <a:xfrm>
            <a:off x="8517537" y="3569826"/>
            <a:ext cx="476588" cy="405036"/>
            <a:chOff x="2142679" y="2941034"/>
            <a:chExt cx="884535" cy="751736"/>
          </a:xfrm>
        </p:grpSpPr>
        <p:pic>
          <p:nvPicPr>
            <p:cNvPr id="46" name="Image 45" descr="8068_Premium_Deskphone_bluetooth_handset_f_l_OXE_homescreen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52519" y="2941034"/>
              <a:ext cx="595148" cy="486649"/>
            </a:xfrm>
            <a:prstGeom prst="rect">
              <a:avLst/>
            </a:prstGeom>
          </p:spPr>
        </p:pic>
        <p:pic>
          <p:nvPicPr>
            <p:cNvPr id="47" name="Image 46" descr="OXO_Connect_Medium.png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142679" y="3439793"/>
              <a:ext cx="884535" cy="252977"/>
            </a:xfrm>
            <a:prstGeom prst="rect">
              <a:avLst/>
            </a:prstGeom>
          </p:spPr>
        </p:pic>
      </p:grpSp>
      <p:pic>
        <p:nvPicPr>
          <p:cNvPr id="48" name="Image 4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7215" y="2821339"/>
            <a:ext cx="623959" cy="363269"/>
          </a:xfrm>
          <a:prstGeom prst="rect">
            <a:avLst/>
          </a:prstGeom>
        </p:spPr>
      </p:pic>
      <p:pic>
        <p:nvPicPr>
          <p:cNvPr id="49" name="Image 9" descr="office365.png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961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81687" y="4522695"/>
            <a:ext cx="371715" cy="16801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0" name="Connecteur droit 49"/>
          <p:cNvCxnSpPr>
            <a:endCxn id="32" idx="35"/>
          </p:cNvCxnSpPr>
          <p:nvPr/>
        </p:nvCxnSpPr>
        <p:spPr bwMode="auto">
          <a:xfrm flipH="1" flipV="1">
            <a:off x="6689976" y="2951617"/>
            <a:ext cx="487541" cy="135031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51" name="Connecteur droit 50"/>
          <p:cNvCxnSpPr/>
          <p:nvPr/>
        </p:nvCxnSpPr>
        <p:spPr bwMode="auto">
          <a:xfrm flipH="1" flipV="1">
            <a:off x="7074074" y="2463810"/>
            <a:ext cx="292915" cy="408307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52" name="Connecteur droit 51"/>
          <p:cNvCxnSpPr/>
          <p:nvPr/>
        </p:nvCxnSpPr>
        <p:spPr bwMode="auto">
          <a:xfrm flipH="1" flipV="1">
            <a:off x="7446489" y="1855619"/>
            <a:ext cx="15234" cy="1010736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53" name="Connecteur droit 52"/>
          <p:cNvCxnSpPr/>
          <p:nvPr/>
        </p:nvCxnSpPr>
        <p:spPr bwMode="auto">
          <a:xfrm flipH="1" flipV="1">
            <a:off x="6809953" y="1525500"/>
            <a:ext cx="392802" cy="84346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54" name="Connecteur droit 53"/>
          <p:cNvCxnSpPr>
            <a:endCxn id="26" idx="21"/>
          </p:cNvCxnSpPr>
          <p:nvPr/>
        </p:nvCxnSpPr>
        <p:spPr bwMode="auto">
          <a:xfrm flipH="1" flipV="1">
            <a:off x="6399773" y="1967277"/>
            <a:ext cx="352655" cy="21150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55" name="Connecteur droit 54"/>
          <p:cNvCxnSpPr>
            <a:endCxn id="44" idx="2"/>
          </p:cNvCxnSpPr>
          <p:nvPr/>
        </p:nvCxnSpPr>
        <p:spPr bwMode="auto">
          <a:xfrm flipH="1" flipV="1">
            <a:off x="6320160" y="3706131"/>
            <a:ext cx="391533" cy="255047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56" name="Connecteur droit 55"/>
          <p:cNvCxnSpPr/>
          <p:nvPr/>
        </p:nvCxnSpPr>
        <p:spPr bwMode="auto">
          <a:xfrm flipV="1">
            <a:off x="6922865" y="3273701"/>
            <a:ext cx="316205" cy="512248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57" name="Connecteur droit 56"/>
          <p:cNvCxnSpPr/>
          <p:nvPr/>
        </p:nvCxnSpPr>
        <p:spPr bwMode="auto">
          <a:xfrm flipV="1">
            <a:off x="7620216" y="2146508"/>
            <a:ext cx="569669" cy="803356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58" name="Connecteur droit 57"/>
          <p:cNvCxnSpPr>
            <a:endCxn id="41" idx="1"/>
          </p:cNvCxnSpPr>
          <p:nvPr/>
        </p:nvCxnSpPr>
        <p:spPr bwMode="auto">
          <a:xfrm>
            <a:off x="8405827" y="2034281"/>
            <a:ext cx="215059" cy="139043"/>
          </a:xfrm>
          <a:prstGeom prst="line">
            <a:avLst/>
          </a:prstGeom>
          <a:noFill/>
          <a:ln w="12700" cap="flat" cmpd="sng" algn="ctr">
            <a:solidFill>
              <a:srgbClr val="00B9E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59" name="Connecteur droit 58"/>
          <p:cNvCxnSpPr/>
          <p:nvPr/>
        </p:nvCxnSpPr>
        <p:spPr bwMode="auto">
          <a:xfrm>
            <a:off x="7567709" y="3337364"/>
            <a:ext cx="522385" cy="712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60" name="Connecteur droit 59"/>
          <p:cNvCxnSpPr>
            <a:endCxn id="47" idx="1"/>
          </p:cNvCxnSpPr>
          <p:nvPr/>
        </p:nvCxnSpPr>
        <p:spPr bwMode="auto">
          <a:xfrm flipV="1">
            <a:off x="8357718" y="3906711"/>
            <a:ext cx="159821" cy="208191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61" name="Connecteur droit 60"/>
          <p:cNvCxnSpPr>
            <a:endCxn id="49" idx="0"/>
          </p:cNvCxnSpPr>
          <p:nvPr/>
        </p:nvCxnSpPr>
        <p:spPr bwMode="auto">
          <a:xfrm>
            <a:off x="6948568" y="4209858"/>
            <a:ext cx="218977" cy="312838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62" name="Connecteur droit 61"/>
          <p:cNvCxnSpPr/>
          <p:nvPr/>
        </p:nvCxnSpPr>
        <p:spPr bwMode="auto">
          <a:xfrm>
            <a:off x="7054516" y="4004513"/>
            <a:ext cx="883672" cy="239673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63" name="Connecteur droit 62"/>
          <p:cNvCxnSpPr/>
          <p:nvPr/>
        </p:nvCxnSpPr>
        <p:spPr bwMode="auto">
          <a:xfrm flipV="1">
            <a:off x="7100421" y="1805970"/>
            <a:ext cx="196932" cy="218826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cxnSp>
        <p:nvCxnSpPr>
          <p:cNvPr id="64" name="Connecteur droit 63"/>
          <p:cNvCxnSpPr/>
          <p:nvPr/>
        </p:nvCxnSpPr>
        <p:spPr bwMode="auto">
          <a:xfrm>
            <a:off x="7657578" y="1695149"/>
            <a:ext cx="358334" cy="160599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ysDot"/>
            <a:round/>
            <a:headEnd type="none" w="med" len="med"/>
            <a:tailEnd type="none"/>
          </a:ln>
          <a:effectLst/>
        </p:spPr>
      </p:cxnSp>
      <p:grpSp>
        <p:nvGrpSpPr>
          <p:cNvPr id="9" name="Groupe 64"/>
          <p:cNvGrpSpPr/>
          <p:nvPr/>
        </p:nvGrpSpPr>
        <p:grpSpPr>
          <a:xfrm>
            <a:off x="172129" y="782689"/>
            <a:ext cx="3225803" cy="3698538"/>
            <a:chOff x="141652" y="871564"/>
            <a:chExt cx="3225803" cy="3698533"/>
          </a:xfrm>
        </p:grpSpPr>
        <p:sp>
          <p:nvSpPr>
            <p:cNvPr id="66" name="Organigramme : Alternative 65"/>
            <p:cNvSpPr/>
            <p:nvPr/>
          </p:nvSpPr>
          <p:spPr>
            <a:xfrm>
              <a:off x="2491926" y="2917559"/>
              <a:ext cx="875529" cy="321075"/>
            </a:xfrm>
            <a:prstGeom prst="flowChartAlternateProcess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0"/>
                </a:spcBef>
              </a:pPr>
              <a:r>
                <a:rPr lang="fr-BE" sz="1000" dirty="0" smtClean="0">
                  <a:solidFill>
                    <a:schemeClr val="bg1"/>
                  </a:solidFill>
                  <a:latin typeface="Trebuchet MS"/>
                  <a:cs typeface="Trebuchet MS"/>
                </a:rPr>
                <a:t>PBX &amp; </a:t>
              </a:r>
              <a:r>
                <a:rPr lang="fr-BE" sz="1000" dirty="0" err="1" smtClean="0">
                  <a:solidFill>
                    <a:schemeClr val="bg1"/>
                  </a:solidFill>
                  <a:latin typeface="Trebuchet MS"/>
                  <a:cs typeface="Trebuchet MS"/>
                </a:rPr>
                <a:t>Terminals</a:t>
              </a:r>
              <a:endParaRPr lang="fr-BE" sz="1000" dirty="0">
                <a:solidFill>
                  <a:schemeClr val="bg1"/>
                </a:solidFill>
                <a:latin typeface="Trebuchet MS"/>
                <a:cs typeface="Trebuchet MS"/>
              </a:endParaRPr>
            </a:p>
          </p:txBody>
        </p:sp>
        <p:grpSp>
          <p:nvGrpSpPr>
            <p:cNvPr id="10" name="Groupe 66"/>
            <p:cNvGrpSpPr/>
            <p:nvPr/>
          </p:nvGrpSpPr>
          <p:grpSpPr>
            <a:xfrm>
              <a:off x="141652" y="871564"/>
              <a:ext cx="3205991" cy="3698533"/>
              <a:chOff x="141652" y="871564"/>
              <a:chExt cx="3205991" cy="3698533"/>
            </a:xfrm>
          </p:grpSpPr>
          <p:sp>
            <p:nvSpPr>
              <p:cNvPr id="68" name="ZoneTexte 67"/>
              <p:cNvSpPr txBox="1"/>
              <p:nvPr/>
            </p:nvSpPr>
            <p:spPr>
              <a:xfrm>
                <a:off x="617086" y="871564"/>
                <a:ext cx="1937868" cy="350837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algn="ctr">
                  <a:defRPr sz="1400" b="1">
                    <a:solidFill>
                      <a:schemeClr val="bg1"/>
                    </a:solidFill>
                    <a:latin typeface="+mj-lt"/>
                  </a:defRPr>
                </a:lvl1pPr>
              </a:lstStyle>
              <a:p>
                <a:pPr>
                  <a:spcBef>
                    <a:spcPts val="0"/>
                  </a:spcBef>
                </a:pPr>
                <a:r>
                  <a:rPr lang="fr-FR" dirty="0">
                    <a:cs typeface="Trebuchet MS"/>
                  </a:rPr>
                  <a:t>IDENTITIES</a:t>
                </a:r>
              </a:p>
            </p:txBody>
          </p:sp>
          <p:grpSp>
            <p:nvGrpSpPr>
              <p:cNvPr id="11" name="Groupe 68"/>
              <p:cNvGrpSpPr/>
              <p:nvPr/>
            </p:nvGrpSpPr>
            <p:grpSpPr>
              <a:xfrm>
                <a:off x="141652" y="1395753"/>
                <a:ext cx="1503424" cy="1447720"/>
                <a:chOff x="141652" y="1228064"/>
                <a:chExt cx="1503424" cy="1447720"/>
              </a:xfrm>
            </p:grpSpPr>
            <p:grpSp>
              <p:nvGrpSpPr>
                <p:cNvPr id="12" name="Groupe 101"/>
                <p:cNvGrpSpPr/>
                <p:nvPr/>
              </p:nvGrpSpPr>
              <p:grpSpPr>
                <a:xfrm>
                  <a:off x="141652" y="1522120"/>
                  <a:ext cx="1503424" cy="1153664"/>
                  <a:chOff x="189756" y="1671344"/>
                  <a:chExt cx="1503424" cy="1153664"/>
                </a:xfrm>
              </p:grpSpPr>
              <p:sp>
                <p:nvSpPr>
                  <p:cNvPr id="104" name="Ellipse 103"/>
                  <p:cNvSpPr/>
                  <p:nvPr/>
                </p:nvSpPr>
                <p:spPr>
                  <a:xfrm>
                    <a:off x="229154" y="1671344"/>
                    <a:ext cx="1153664" cy="1153664"/>
                  </a:xfrm>
                  <a:prstGeom prst="ellipse">
                    <a:avLst/>
                  </a:prstGeom>
                  <a:solidFill>
                    <a:schemeClr val="bg1"/>
                  </a:solidFill>
                  <a:ln w="57150" cmpd="thickThin">
                    <a:solidFill>
                      <a:srgbClr val="00B9E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endParaRPr lang="fr-BE" dirty="0">
                      <a:latin typeface="Trebuchet MS"/>
                      <a:cs typeface="Trebuchet MS"/>
                    </a:endParaRPr>
                  </a:p>
                </p:txBody>
              </p:sp>
              <p:grpSp>
                <p:nvGrpSpPr>
                  <p:cNvPr id="13" name="Groupe 7"/>
                  <p:cNvGrpSpPr/>
                  <p:nvPr/>
                </p:nvGrpSpPr>
                <p:grpSpPr>
                  <a:xfrm>
                    <a:off x="189756" y="1829817"/>
                    <a:ext cx="294912" cy="552671"/>
                    <a:chOff x="3522703" y="-102303"/>
                    <a:chExt cx="2083279" cy="4181111"/>
                  </a:xfrm>
                </p:grpSpPr>
                <p:pic>
                  <p:nvPicPr>
                    <p:cNvPr id="113" name="Picture 3" descr="D:\Users\bharrois\Documents\0_PERSONAL CLOUD\OFFERS\APP RAINBOW\VALUE PROP\iphone6.jp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 cstate="print"/>
                    <a:srcRect l="22934" t="11685" r="22291"/>
                    <a:stretch>
                      <a:fillRect/>
                    </a:stretch>
                  </p:blipFill>
                  <p:spPr bwMode="auto">
                    <a:xfrm>
                      <a:off x="3522703" y="-102303"/>
                      <a:ext cx="2083279" cy="4181111"/>
                    </a:xfrm>
                    <a:prstGeom prst="roundRect">
                      <a:avLst/>
                    </a:prstGeom>
                    <a:noFill/>
                  </p:spPr>
                </p:pic>
                <p:pic>
                  <p:nvPicPr>
                    <p:cNvPr id="114" name="Picture 2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3693772" y="485027"/>
                      <a:ext cx="1775854" cy="3168501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  <a:effectLst/>
                  </p:spPr>
                </p:pic>
              </p:grpSp>
              <p:grpSp>
                <p:nvGrpSpPr>
                  <p:cNvPr id="14" name="Groupe 7"/>
                  <p:cNvGrpSpPr/>
                  <p:nvPr/>
                </p:nvGrpSpPr>
                <p:grpSpPr>
                  <a:xfrm>
                    <a:off x="306971" y="1944090"/>
                    <a:ext cx="294912" cy="552671"/>
                    <a:chOff x="3522703" y="-102303"/>
                    <a:chExt cx="2083279" cy="4181111"/>
                  </a:xfrm>
                </p:grpSpPr>
                <p:pic>
                  <p:nvPicPr>
                    <p:cNvPr id="111" name="Picture 3" descr="D:\Users\bharrois\Documents\0_PERSONAL CLOUD\OFFERS\APP RAINBOW\VALUE PROP\iphone6.jp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 cstate="print"/>
                    <a:srcRect l="22934" t="11685" r="22291"/>
                    <a:stretch>
                      <a:fillRect/>
                    </a:stretch>
                  </p:blipFill>
                  <p:spPr bwMode="auto">
                    <a:xfrm>
                      <a:off x="3522703" y="-102303"/>
                      <a:ext cx="2083279" cy="4181111"/>
                    </a:xfrm>
                    <a:prstGeom prst="roundRect">
                      <a:avLst/>
                    </a:prstGeom>
                    <a:noFill/>
                  </p:spPr>
                </p:pic>
                <p:pic>
                  <p:nvPicPr>
                    <p:cNvPr id="112" name="Picture 2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3693772" y="485027"/>
                      <a:ext cx="1775854" cy="3168501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  <a:effectLst/>
                  </p:spPr>
                </p:pic>
              </p:grpSp>
              <p:grpSp>
                <p:nvGrpSpPr>
                  <p:cNvPr id="16" name="Groupe 7"/>
                  <p:cNvGrpSpPr/>
                  <p:nvPr/>
                </p:nvGrpSpPr>
                <p:grpSpPr>
                  <a:xfrm>
                    <a:off x="393710" y="2142161"/>
                    <a:ext cx="294912" cy="552671"/>
                    <a:chOff x="3307429" y="531628"/>
                    <a:chExt cx="2083277" cy="4181106"/>
                  </a:xfrm>
                </p:grpSpPr>
                <p:pic>
                  <p:nvPicPr>
                    <p:cNvPr id="109" name="Picture 3" descr="D:\Users\bharrois\Documents\0_PERSONAL CLOUD\OFFERS\APP RAINBOW\VALUE PROP\iphone6.jp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 cstate="print"/>
                    <a:srcRect l="22934" t="11685" r="22291"/>
                    <a:stretch>
                      <a:fillRect/>
                    </a:stretch>
                  </p:blipFill>
                  <p:spPr bwMode="auto">
                    <a:xfrm>
                      <a:off x="3307429" y="531628"/>
                      <a:ext cx="2083277" cy="4181106"/>
                    </a:xfrm>
                    <a:prstGeom prst="roundRect">
                      <a:avLst/>
                    </a:prstGeom>
                    <a:noFill/>
                  </p:spPr>
                </p:pic>
                <p:pic>
                  <p:nvPicPr>
                    <p:cNvPr id="110" name="Picture 2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3475602" y="1081045"/>
                      <a:ext cx="1775853" cy="3168505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  <a:effectLst/>
                  </p:spPr>
                </p:pic>
              </p:grpSp>
              <p:pic>
                <p:nvPicPr>
                  <p:cNvPr id="108" name="Image 107"/>
                  <p:cNvPicPr>
                    <a:picLocks noChangeAspect="1"/>
                  </p:cNvPicPr>
                  <p:nvPr/>
                </p:nvPicPr>
                <p:blipFill>
                  <a:blip r:embed="rId1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45760" y="1993055"/>
                    <a:ext cx="947420" cy="551589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03" name="Organigramme : Alternative 102"/>
                <p:cNvSpPr/>
                <p:nvPr/>
              </p:nvSpPr>
              <p:spPr>
                <a:xfrm>
                  <a:off x="162591" y="1228064"/>
                  <a:ext cx="1214463" cy="327145"/>
                </a:xfrm>
                <a:prstGeom prst="flowChartAlternateProcess">
                  <a:avLst/>
                </a:prstGeom>
                <a:noFill/>
                <a:ln>
                  <a:noFill/>
                </a:ln>
              </p:spPr>
              <p:txBody>
    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0"/>
                    </a:spcBef>
                  </a:pPr>
                  <a:r>
                    <a:rPr lang="fr-BE" sz="1000" dirty="0">
                      <a:solidFill>
                        <a:schemeClr val="bg1"/>
                      </a:solidFill>
                      <a:latin typeface="Trebuchet MS"/>
                      <a:cs typeface="Trebuchet MS"/>
                    </a:rPr>
                    <a:t>Rainbow App</a:t>
                  </a:r>
                </a:p>
              </p:txBody>
            </p:sp>
          </p:grpSp>
          <p:grpSp>
            <p:nvGrpSpPr>
              <p:cNvPr id="17" name="Groupe 69"/>
              <p:cNvGrpSpPr/>
              <p:nvPr/>
            </p:nvGrpSpPr>
            <p:grpSpPr>
              <a:xfrm>
                <a:off x="1470509" y="2631360"/>
                <a:ext cx="1039931" cy="925245"/>
                <a:chOff x="1657604" y="2699088"/>
                <a:chExt cx="1296663" cy="1153664"/>
              </a:xfrm>
            </p:grpSpPr>
            <p:sp>
              <p:nvSpPr>
                <p:cNvPr id="99" name="Ellipse 98"/>
                <p:cNvSpPr/>
                <p:nvPr/>
              </p:nvSpPr>
              <p:spPr>
                <a:xfrm>
                  <a:off x="1769526" y="2699088"/>
                  <a:ext cx="1153664" cy="1153664"/>
                </a:xfrm>
                <a:prstGeom prst="ellipse">
                  <a:avLst/>
                </a:prstGeom>
                <a:solidFill>
                  <a:schemeClr val="bg1"/>
                </a:solidFill>
                <a:ln w="47625" cmpd="thickThin">
                  <a:solidFill>
                    <a:srgbClr val="00B9E1"/>
                  </a:solidFill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0"/>
                    </a:spcBef>
                  </a:pPr>
                  <a:endParaRPr lang="fr-BE" dirty="0">
                    <a:latin typeface="Trebuchet MS"/>
                    <a:cs typeface="Trebuchet MS"/>
                  </a:endParaRPr>
                </a:p>
              </p:txBody>
            </p:sp>
            <p:pic>
              <p:nvPicPr>
                <p:cNvPr id="100" name="Image 99" descr="8068_Premium_Deskphone_bluetooth_handset_f_l_OXE_homescreen.png"/>
                <p:cNvPicPr>
                  <a:picLocks noChangeAspect="1"/>
                </p:cNvPicPr>
                <p:nvPr/>
              </p:nvPicPr>
              <p:blipFill>
                <a:blip r:embed="rId8" cstate="print"/>
                <a:stretch>
                  <a:fillRect/>
                </a:stretch>
              </p:blipFill>
              <p:spPr>
                <a:xfrm>
                  <a:off x="1657604" y="2760910"/>
                  <a:ext cx="819902" cy="670430"/>
                </a:xfrm>
                <a:prstGeom prst="rect">
                  <a:avLst/>
                </a:prstGeom>
              </p:spPr>
            </p:pic>
            <p:pic>
              <p:nvPicPr>
                <p:cNvPr id="101" name="Image 100" descr="OXO_Connect_Medium.png"/>
                <p:cNvPicPr>
                  <a:picLocks noChangeAspect="1"/>
                </p:cNvPicPr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2069732" y="3505869"/>
                  <a:ext cx="884535" cy="252977"/>
                </a:xfrm>
                <a:prstGeom prst="rect">
                  <a:avLst/>
                </a:prstGeom>
              </p:spPr>
            </p:pic>
          </p:grpSp>
          <p:grpSp>
            <p:nvGrpSpPr>
              <p:cNvPr id="18" name="Groupe 70"/>
              <p:cNvGrpSpPr/>
              <p:nvPr/>
            </p:nvGrpSpPr>
            <p:grpSpPr>
              <a:xfrm>
                <a:off x="233424" y="3061873"/>
                <a:ext cx="1153664" cy="1470995"/>
                <a:chOff x="237300" y="2970916"/>
                <a:chExt cx="1153664" cy="1470995"/>
              </a:xfrm>
            </p:grpSpPr>
            <p:grpSp>
              <p:nvGrpSpPr>
                <p:cNvPr id="19" name="Groupe 90"/>
                <p:cNvGrpSpPr/>
                <p:nvPr/>
              </p:nvGrpSpPr>
              <p:grpSpPr>
                <a:xfrm>
                  <a:off x="237300" y="2970916"/>
                  <a:ext cx="1153664" cy="1153664"/>
                  <a:chOff x="160327" y="3219998"/>
                  <a:chExt cx="1153664" cy="1153664"/>
                </a:xfrm>
              </p:grpSpPr>
              <p:sp>
                <p:nvSpPr>
                  <p:cNvPr id="98" name="Ellipse 97"/>
                  <p:cNvSpPr/>
                  <p:nvPr/>
                </p:nvSpPr>
                <p:spPr>
                  <a:xfrm>
                    <a:off x="160327" y="3219998"/>
                    <a:ext cx="1153664" cy="1153664"/>
                  </a:xfrm>
                  <a:prstGeom prst="ellipse">
                    <a:avLst/>
                  </a:prstGeom>
                  <a:solidFill>
                    <a:schemeClr val="bg1"/>
                  </a:solidFill>
                  <a:ln w="47625" cmpd="thickThin">
                    <a:solidFill>
                      <a:srgbClr val="00B9E1"/>
                    </a:solidFill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0"/>
                      </a:spcBef>
                    </a:pPr>
                    <a:endParaRPr lang="fr-BE" dirty="0">
                      <a:latin typeface="Trebuchet MS"/>
                      <a:cs typeface="Trebuchet MS"/>
                    </a:endParaRPr>
                  </a:p>
                </p:txBody>
              </p:sp>
              <p:pic>
                <p:nvPicPr>
                  <p:cNvPr id="93" name="Picture 4" descr="Afficher l'image d'origine"/>
                  <p:cNvPicPr>
                    <a:picLocks noChangeAspect="1" noChangeArrowheads="1"/>
                  </p:cNvPicPr>
                  <p:nvPr/>
                </p:nvPicPr>
                <p:blipFill>
                  <a:blip r:embed="rId14" cstate="email"/>
                  <a:srcRect/>
                  <a:stretch>
                    <a:fillRect/>
                  </a:stretch>
                </p:blipFill>
                <p:spPr bwMode="auto">
                  <a:xfrm>
                    <a:off x="255349" y="3394085"/>
                    <a:ext cx="463557" cy="188320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94" name="Picture 4" descr="Afficher l'image d'origine"/>
                  <p:cNvPicPr>
                    <a:picLocks noChangeAspect="1" noChangeArrowheads="1"/>
                  </p:cNvPicPr>
                  <p:nvPr/>
                </p:nvPicPr>
                <p:blipFill>
                  <a:blip r:embed="rId15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9047" y="3707424"/>
                    <a:ext cx="556796" cy="273040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95" name="Picture 10" descr="Afficher l'image d'origine"/>
                  <p:cNvPicPr>
                    <a:picLocks noChangeAspect="1" noChangeArrowheads="1"/>
                  </p:cNvPicPr>
                  <p:nvPr/>
                </p:nvPicPr>
                <p:blipFill>
                  <a:blip r:embed="rId16" cstate="print"/>
                  <a:srcRect/>
                  <a:stretch>
                    <a:fillRect/>
                  </a:stretch>
                </p:blipFill>
                <p:spPr bwMode="auto">
                  <a:xfrm>
                    <a:off x="582421" y="3970547"/>
                    <a:ext cx="423616" cy="198536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96" name="Image 9" descr="office365.png"/>
                  <p:cNvPicPr>
                    <a:picLocks noChangeAspect="1"/>
                  </p:cNvPicPr>
                  <p:nvPr/>
                </p:nvPicPr>
                <p:blipFill>
                  <a:blip r:embed="rId17" cstate="print"/>
                  <a:stretch>
                    <a:fillRect/>
                  </a:stretch>
                </p:blipFill>
                <p:spPr>
                  <a:xfrm>
                    <a:off x="880091" y="3720487"/>
                    <a:ext cx="371716" cy="168016"/>
                  </a:xfrm>
                  <a:prstGeom prst="rect">
                    <a:avLst/>
                  </a:prstGeom>
                </p:spPr>
              </p:pic>
              <p:pic>
                <p:nvPicPr>
                  <p:cNvPr id="97" name="Picture 6" descr="Afficher l'image d'origine"/>
                  <p:cNvPicPr>
                    <a:picLocks noChangeAspect="1" noChangeArrowheads="1"/>
                  </p:cNvPicPr>
                  <p:nvPr/>
                </p:nvPicPr>
                <p:blipFill>
                  <a:blip r:embed="rId18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67015" y="3417283"/>
                    <a:ext cx="363904" cy="141923"/>
                  </a:xfrm>
                  <a:prstGeom prst="rect">
                    <a:avLst/>
                  </a:prstGeom>
                  <a:noFill/>
                </p:spPr>
              </p:pic>
            </p:grpSp>
            <p:sp>
              <p:nvSpPr>
                <p:cNvPr id="92" name="Organigramme : Alternative 91"/>
                <p:cNvSpPr/>
                <p:nvPr/>
              </p:nvSpPr>
              <p:spPr>
                <a:xfrm>
                  <a:off x="378050" y="4114766"/>
                  <a:ext cx="884796" cy="327145"/>
                </a:xfrm>
                <a:prstGeom prst="flowChartAlternateProcess">
                  <a:avLst/>
                </a:prstGeom>
                <a:noFill/>
                <a:ln>
                  <a:noFill/>
                </a:ln>
              </p:spPr>
              <p:txBody>
    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0"/>
                    </a:spcBef>
                  </a:pPr>
                  <a:r>
                    <a:rPr lang="fr-BE" sz="900" dirty="0" err="1">
                      <a:solidFill>
                        <a:schemeClr val="bg1"/>
                      </a:solidFill>
                      <a:latin typeface="Trebuchet MS"/>
                      <a:cs typeface="Trebuchet MS"/>
                    </a:rPr>
                    <a:t>Third</a:t>
                  </a:r>
                  <a:r>
                    <a:rPr lang="fr-BE" sz="900" dirty="0">
                      <a:solidFill>
                        <a:schemeClr val="bg1"/>
                      </a:solidFill>
                      <a:latin typeface="Trebuchet MS"/>
                      <a:cs typeface="Trebuchet MS"/>
                    </a:rPr>
                    <a:t> party </a:t>
                  </a:r>
                  <a:r>
                    <a:rPr lang="fr-BE" sz="900" dirty="0" err="1">
                      <a:solidFill>
                        <a:schemeClr val="bg1"/>
                      </a:solidFill>
                      <a:latin typeface="Trebuchet MS"/>
                      <a:cs typeface="Trebuchet MS"/>
                    </a:rPr>
                    <a:t>APP’s</a:t>
                  </a:r>
                  <a:endParaRPr lang="fr-BE" sz="900" dirty="0">
                    <a:solidFill>
                      <a:schemeClr val="bg1"/>
                    </a:solidFill>
                    <a:latin typeface="Trebuchet MS"/>
                    <a:cs typeface="Trebuchet MS"/>
                  </a:endParaRPr>
                </a:p>
              </p:txBody>
            </p:sp>
          </p:grpSp>
          <p:sp>
            <p:nvSpPr>
              <p:cNvPr id="78" name="Ellipse 77"/>
              <p:cNvSpPr/>
              <p:nvPr/>
            </p:nvSpPr>
            <p:spPr>
              <a:xfrm>
                <a:off x="1660304" y="3700928"/>
                <a:ext cx="869169" cy="869169"/>
              </a:xfrm>
              <a:prstGeom prst="ellipse">
                <a:avLst/>
              </a:prstGeom>
              <a:solidFill>
                <a:schemeClr val="bg1"/>
              </a:solidFill>
              <a:ln w="41275" cmpd="thickThin">
                <a:solidFill>
                  <a:srgbClr val="00B9E1"/>
                </a:solidFill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endParaRPr lang="fr-BE" dirty="0">
                  <a:latin typeface="Trebuchet MS"/>
                  <a:cs typeface="Trebuchet MS"/>
                </a:endParaRPr>
              </a:p>
            </p:txBody>
          </p:sp>
          <p:sp>
            <p:nvSpPr>
              <p:cNvPr id="73" name="Organigramme : Alternative 72"/>
              <p:cNvSpPr/>
              <p:nvPr/>
            </p:nvSpPr>
            <p:spPr>
              <a:xfrm>
                <a:off x="2318067" y="3552100"/>
                <a:ext cx="884796" cy="327145"/>
              </a:xfrm>
              <a:prstGeom prst="flowChartAlternateProcess">
                <a:avLst/>
              </a:prstGeom>
              <a:noFill/>
              <a:ln>
                <a:noFill/>
              </a:ln>
            </p:spPr>
            <p:txBody>
  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fr-BE" sz="1000" dirty="0">
                    <a:solidFill>
                      <a:schemeClr val="bg1"/>
                    </a:solidFill>
                    <a:latin typeface="Trebuchet MS"/>
                    <a:cs typeface="Trebuchet MS"/>
                  </a:rPr>
                  <a:t>Internet of </a:t>
                </a:r>
                <a:r>
                  <a:rPr lang="fr-BE" sz="1000" dirty="0" err="1">
                    <a:solidFill>
                      <a:schemeClr val="bg1"/>
                    </a:solidFill>
                    <a:latin typeface="Trebuchet MS"/>
                    <a:cs typeface="Trebuchet MS"/>
                  </a:rPr>
                  <a:t>Things</a:t>
                </a:r>
                <a:endParaRPr lang="fr-BE" sz="1000" dirty="0">
                  <a:solidFill>
                    <a:schemeClr val="bg1"/>
                  </a:solidFill>
                  <a:latin typeface="Trebuchet MS"/>
                  <a:cs typeface="Trebuchet MS"/>
                </a:endParaRPr>
              </a:p>
            </p:txBody>
          </p:sp>
          <p:sp>
            <p:nvSpPr>
              <p:cNvPr id="74" name="Organigramme : Alternative 73"/>
              <p:cNvSpPr/>
              <p:nvPr/>
            </p:nvSpPr>
            <p:spPr>
              <a:xfrm>
                <a:off x="2239830" y="1349350"/>
                <a:ext cx="1107813" cy="327145"/>
              </a:xfrm>
              <a:prstGeom prst="flowChartAlternateProcess">
                <a:avLst/>
              </a:prstGeom>
              <a:noFill/>
              <a:ln>
                <a:noFill/>
              </a:ln>
            </p:spPr>
            <p:txBody>
  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fr-BE" sz="1000" dirty="0" err="1" smtClean="0">
                    <a:solidFill>
                      <a:schemeClr val="bg1"/>
                    </a:solidFill>
                    <a:latin typeface="Trebuchet MS"/>
                    <a:cs typeface="Trebuchet MS"/>
                  </a:rPr>
                  <a:t>Customers</a:t>
                </a:r>
                <a:r>
                  <a:rPr lang="fr-BE" sz="1000" dirty="0" smtClean="0">
                    <a:solidFill>
                      <a:schemeClr val="bg1"/>
                    </a:solidFill>
                    <a:latin typeface="Trebuchet MS"/>
                    <a:cs typeface="Trebuchet MS"/>
                  </a:rPr>
                  <a:t> and </a:t>
                </a:r>
                <a:r>
                  <a:rPr lang="fr-BE" sz="1000" dirty="0" err="1" smtClean="0">
                    <a:solidFill>
                      <a:schemeClr val="bg1"/>
                    </a:solidFill>
                    <a:latin typeface="Trebuchet MS"/>
                    <a:cs typeface="Trebuchet MS"/>
                  </a:rPr>
                  <a:t>Employees</a:t>
                </a:r>
                <a:endParaRPr lang="fr-BE" sz="1000" dirty="0">
                  <a:solidFill>
                    <a:schemeClr val="bg1"/>
                  </a:solidFill>
                  <a:latin typeface="Trebuchet MS"/>
                  <a:cs typeface="Trebuchet MS"/>
                </a:endParaRPr>
              </a:p>
            </p:txBody>
          </p:sp>
        </p:grpSp>
      </p:grpSp>
      <p:grpSp>
        <p:nvGrpSpPr>
          <p:cNvPr id="24" name="Groupe 114"/>
          <p:cNvGrpSpPr/>
          <p:nvPr/>
        </p:nvGrpSpPr>
        <p:grpSpPr>
          <a:xfrm>
            <a:off x="6594079" y="1389622"/>
            <a:ext cx="1856266" cy="3066268"/>
            <a:chOff x="6594079" y="1389620"/>
            <a:chExt cx="1856266" cy="3066268"/>
          </a:xfrm>
        </p:grpSpPr>
        <p:pic>
          <p:nvPicPr>
            <p:cNvPr id="116" name="Image 115"/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3" r="81412" b="77234"/>
            <a:stretch/>
          </p:blipFill>
          <p:spPr>
            <a:xfrm>
              <a:off x="6752427" y="2004636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17" name="Image 116"/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000" r="61925" b="77234"/>
            <a:stretch/>
          </p:blipFill>
          <p:spPr>
            <a:xfrm>
              <a:off x="7177517" y="1389620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18" name="Image 117"/>
            <p:cNvPicPr>
              <a:picLocks noChangeAspect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897" t="74087" r="21027" b="3147"/>
            <a:stretch/>
          </p:blipFill>
          <p:spPr>
            <a:xfrm>
              <a:off x="7967745" y="1678663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19" name="Image 118"/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462" t="76105" r="41462" b="1129"/>
            <a:stretch/>
          </p:blipFill>
          <p:spPr>
            <a:xfrm>
              <a:off x="7190682" y="2862674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20" name="Image 119"/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353" r="22572" b="77234"/>
            <a:stretch/>
          </p:blipFill>
          <p:spPr>
            <a:xfrm>
              <a:off x="7935878" y="3973288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21" name="Image 120"/>
            <p:cNvPicPr>
              <a:picLocks noChangeAspect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84" t="50000" r="62040" b="27234"/>
            <a:stretch/>
          </p:blipFill>
          <p:spPr>
            <a:xfrm>
              <a:off x="6594079" y="3731521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</p:grpSp>
      <p:grpSp>
        <p:nvGrpSpPr>
          <p:cNvPr id="25" name="Groupe 121"/>
          <p:cNvGrpSpPr/>
          <p:nvPr/>
        </p:nvGrpSpPr>
        <p:grpSpPr>
          <a:xfrm>
            <a:off x="1492845" y="1383526"/>
            <a:ext cx="1536834" cy="1129998"/>
            <a:chOff x="1492844" y="1383526"/>
            <a:chExt cx="1536834" cy="1129998"/>
          </a:xfrm>
        </p:grpSpPr>
        <p:pic>
          <p:nvPicPr>
            <p:cNvPr id="123" name="Image 122"/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3" r="81412" b="77234"/>
            <a:stretch/>
          </p:blipFill>
          <p:spPr>
            <a:xfrm>
              <a:off x="1758279" y="1383526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24" name="Image 123"/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000" r="61925" b="77234"/>
            <a:stretch/>
          </p:blipFill>
          <p:spPr>
            <a:xfrm>
              <a:off x="1492844" y="1682727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25" name="Image 124"/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353" r="22572" b="77234"/>
            <a:stretch/>
          </p:blipFill>
          <p:spPr>
            <a:xfrm>
              <a:off x="2157810" y="1621200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26" name="Image 125"/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462" t="76105" r="41462" b="1129"/>
            <a:stretch/>
          </p:blipFill>
          <p:spPr>
            <a:xfrm>
              <a:off x="2547078" y="1770297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27" name="Image 126"/>
            <p:cNvPicPr>
              <a:picLocks noChangeAspect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212" t="75348" r="21712" b="1886"/>
            <a:stretch/>
          </p:blipFill>
          <p:spPr>
            <a:xfrm>
              <a:off x="2214116" y="2030924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  <p:pic>
          <p:nvPicPr>
            <p:cNvPr id="128" name="Image 127"/>
            <p:cNvPicPr>
              <a:picLocks noChangeAspect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84" t="50000" r="62040" b="27234"/>
            <a:stretch/>
          </p:blipFill>
          <p:spPr>
            <a:xfrm>
              <a:off x="1824214" y="1912959"/>
              <a:ext cx="482600" cy="482600"/>
            </a:xfrm>
            <a:prstGeom prst="ellipse">
              <a:avLst/>
            </a:prstGeom>
            <a:ln w="6350">
              <a:solidFill>
                <a:schemeClr val="accent1"/>
              </a:solidFill>
            </a:ln>
          </p:spPr>
        </p:pic>
      </p:grpSp>
      <p:pic>
        <p:nvPicPr>
          <p:cNvPr id="142" name="Picture 4" descr="Afficher l'image d'origine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rcRect/>
          <a:stretch>
            <a:fillRect/>
          </a:stretch>
        </p:blipFill>
        <p:spPr bwMode="auto">
          <a:xfrm>
            <a:off x="8239140" y="1291559"/>
            <a:ext cx="556795" cy="273041"/>
          </a:xfrm>
          <a:prstGeom prst="rect">
            <a:avLst/>
          </a:prstGeom>
          <a:noFill/>
        </p:spPr>
      </p:pic>
      <p:grpSp>
        <p:nvGrpSpPr>
          <p:cNvPr id="30" name="Groupe 128"/>
          <p:cNvGrpSpPr/>
          <p:nvPr/>
        </p:nvGrpSpPr>
        <p:grpSpPr>
          <a:xfrm>
            <a:off x="3849791" y="1551053"/>
            <a:ext cx="1610341" cy="2966699"/>
            <a:chOff x="3771825" y="1551053"/>
            <a:chExt cx="1610341" cy="882886"/>
          </a:xfrm>
        </p:grpSpPr>
        <p:sp>
          <p:nvSpPr>
            <p:cNvPr id="130" name="Cylindre 129"/>
            <p:cNvSpPr/>
            <p:nvPr/>
          </p:nvSpPr>
          <p:spPr>
            <a:xfrm>
              <a:off x="3771825" y="1551053"/>
              <a:ext cx="1610341" cy="882886"/>
            </a:xfrm>
            <a:prstGeom prst="can">
              <a:avLst/>
            </a:prstGeom>
            <a:solidFill>
              <a:schemeClr val="bg1">
                <a:alpha val="70000"/>
              </a:schemeClr>
            </a:solidFill>
            <a:ln w="6350" cmpd="thickThin">
              <a:solidFill>
                <a:srgbClr val="00B9E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fr-FR" sz="1600" dirty="0">
                <a:latin typeface="Trebuchet MS"/>
                <a:cs typeface="Trebuchet MS"/>
              </a:endParaRPr>
            </a:p>
          </p:txBody>
        </p:sp>
        <p:sp>
          <p:nvSpPr>
            <p:cNvPr id="131" name="ZoneTexte 130"/>
            <p:cNvSpPr txBox="1"/>
            <p:nvPr/>
          </p:nvSpPr>
          <p:spPr>
            <a:xfrm>
              <a:off x="3781425" y="1714801"/>
              <a:ext cx="1578875" cy="7052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fr-BE" sz="1400" b="1" dirty="0" smtClean="0">
                <a:solidFill>
                  <a:srgbClr val="002060"/>
                </a:solidFill>
                <a:latin typeface="Trebuchet MS" pitchFamily="34" charset="0"/>
              </a:endParaRPr>
            </a:p>
            <a:p>
              <a:pPr algn="ctr"/>
              <a:endParaRPr lang="fr-BE" sz="1400" b="1" dirty="0" smtClean="0">
                <a:solidFill>
                  <a:srgbClr val="002060"/>
                </a:solidFill>
                <a:latin typeface="Trebuchet MS" pitchFamily="34" charset="0"/>
              </a:endParaRPr>
            </a:p>
            <a:p>
              <a:pPr algn="ctr"/>
              <a:r>
                <a:rPr lang="fr-BE" sz="1400" b="1" dirty="0" smtClean="0">
                  <a:solidFill>
                    <a:srgbClr val="002060"/>
                  </a:solidFill>
                  <a:latin typeface="Trebuchet MS" pitchFamily="34" charset="0"/>
                </a:rPr>
                <a:t>RELATIONSHIP MACHINE</a:t>
              </a:r>
              <a:endParaRPr lang="fr-BE" sz="1200" b="1" dirty="0" smtClean="0">
                <a:solidFill>
                  <a:srgbClr val="002060"/>
                </a:solidFill>
                <a:latin typeface="Trebuchet MS" pitchFamily="34" charset="0"/>
              </a:endParaRPr>
            </a:p>
            <a:p>
              <a:pPr algn="ctr"/>
              <a:endParaRPr lang="fr-BE" sz="1200" b="1" dirty="0" smtClean="0">
                <a:solidFill>
                  <a:schemeClr val="accent1">
                    <a:lumMod val="75000"/>
                  </a:schemeClr>
                </a:solidFill>
                <a:latin typeface="Trebuchet MS" pitchFamily="34" charset="0"/>
              </a:endParaRPr>
            </a:p>
            <a:p>
              <a:pPr algn="ctr"/>
              <a:endParaRPr lang="fr-BE" sz="1200" b="1" dirty="0" smtClean="0">
                <a:solidFill>
                  <a:schemeClr val="accent1">
                    <a:lumMod val="75000"/>
                  </a:schemeClr>
                </a:solidFill>
                <a:latin typeface="Trebuchet MS" pitchFamily="34" charset="0"/>
              </a:endParaRPr>
            </a:p>
            <a:p>
              <a:pPr algn="ctr"/>
              <a:endParaRPr lang="fr-BE" sz="1200" b="1" dirty="0">
                <a:solidFill>
                  <a:schemeClr val="accent1">
                    <a:lumMod val="75000"/>
                  </a:schemeClr>
                </a:solidFill>
                <a:latin typeface="Trebuchet MS" pitchFamily="34" charset="0"/>
              </a:endParaRPr>
            </a:p>
            <a:p>
              <a:pPr algn="ctr"/>
              <a:endParaRPr lang="fr-BE" sz="1600" dirty="0">
                <a:latin typeface="Trebuchet MS" pitchFamily="34" charset="0"/>
              </a:endParaRPr>
            </a:p>
          </p:txBody>
        </p:sp>
      </p:grpSp>
      <p:pic>
        <p:nvPicPr>
          <p:cNvPr id="141" name="Image 140" descr="256256.pn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4364611" y="1341589"/>
            <a:ext cx="605633" cy="590492"/>
          </a:xfrm>
          <a:prstGeom prst="rect">
            <a:avLst/>
          </a:prstGeom>
        </p:spPr>
      </p:pic>
      <p:sp>
        <p:nvSpPr>
          <p:cNvPr id="155" name="Freeform 6"/>
          <p:cNvSpPr>
            <a:spLocks noEditPoints="1"/>
          </p:cNvSpPr>
          <p:nvPr/>
        </p:nvSpPr>
        <p:spPr bwMode="auto">
          <a:xfrm>
            <a:off x="1854176" y="3844904"/>
            <a:ext cx="285843" cy="239182"/>
          </a:xfrm>
          <a:custGeom>
            <a:avLst/>
            <a:gdLst>
              <a:gd name="T0" fmla="*/ 508 w 4815"/>
              <a:gd name="T1" fmla="*/ 222 h 4030"/>
              <a:gd name="T2" fmla="*/ 406 w 4815"/>
              <a:gd name="T3" fmla="*/ 256 h 4030"/>
              <a:gd name="T4" fmla="*/ 320 w 4815"/>
              <a:gd name="T5" fmla="*/ 319 h 4030"/>
              <a:gd name="T6" fmla="*/ 257 w 4815"/>
              <a:gd name="T7" fmla="*/ 405 h 4030"/>
              <a:gd name="T8" fmla="*/ 222 w 4815"/>
              <a:gd name="T9" fmla="*/ 509 h 4030"/>
              <a:gd name="T10" fmla="*/ 217 w 4815"/>
              <a:gd name="T11" fmla="*/ 2579 h 4030"/>
              <a:gd name="T12" fmla="*/ 235 w 4815"/>
              <a:gd name="T13" fmla="*/ 2688 h 4030"/>
              <a:gd name="T14" fmla="*/ 285 w 4815"/>
              <a:gd name="T15" fmla="*/ 2783 h 4030"/>
              <a:gd name="T16" fmla="*/ 359 w 4815"/>
              <a:gd name="T17" fmla="*/ 2859 h 4030"/>
              <a:gd name="T18" fmla="*/ 456 w 4815"/>
              <a:gd name="T19" fmla="*/ 2909 h 4030"/>
              <a:gd name="T20" fmla="*/ 565 w 4815"/>
              <a:gd name="T21" fmla="*/ 2926 h 4030"/>
              <a:gd name="T22" fmla="*/ 1115 w 4815"/>
              <a:gd name="T23" fmla="*/ 2929 h 4030"/>
              <a:gd name="T24" fmla="*/ 1163 w 4815"/>
              <a:gd name="T25" fmla="*/ 2957 h 4030"/>
              <a:gd name="T26" fmla="*/ 1618 w 4815"/>
              <a:gd name="T27" fmla="*/ 3712 h 4030"/>
              <a:gd name="T28" fmla="*/ 2089 w 4815"/>
              <a:gd name="T29" fmla="*/ 2957 h 4030"/>
              <a:gd name="T30" fmla="*/ 2136 w 4815"/>
              <a:gd name="T31" fmla="*/ 2929 h 4030"/>
              <a:gd name="T32" fmla="*/ 4249 w 4815"/>
              <a:gd name="T33" fmla="*/ 2926 h 4030"/>
              <a:gd name="T34" fmla="*/ 4360 w 4815"/>
              <a:gd name="T35" fmla="*/ 2909 h 4030"/>
              <a:gd name="T36" fmla="*/ 4455 w 4815"/>
              <a:gd name="T37" fmla="*/ 2859 h 4030"/>
              <a:gd name="T38" fmla="*/ 4530 w 4815"/>
              <a:gd name="T39" fmla="*/ 2783 h 4030"/>
              <a:gd name="T40" fmla="*/ 4579 w 4815"/>
              <a:gd name="T41" fmla="*/ 2688 h 4030"/>
              <a:gd name="T42" fmla="*/ 4597 w 4815"/>
              <a:gd name="T43" fmla="*/ 2579 h 4030"/>
              <a:gd name="T44" fmla="*/ 4593 w 4815"/>
              <a:gd name="T45" fmla="*/ 509 h 4030"/>
              <a:gd name="T46" fmla="*/ 4559 w 4815"/>
              <a:gd name="T47" fmla="*/ 405 h 4030"/>
              <a:gd name="T48" fmla="*/ 4496 w 4815"/>
              <a:gd name="T49" fmla="*/ 319 h 4030"/>
              <a:gd name="T50" fmla="*/ 4410 w 4815"/>
              <a:gd name="T51" fmla="*/ 256 h 4030"/>
              <a:gd name="T52" fmla="*/ 4306 w 4815"/>
              <a:gd name="T53" fmla="*/ 222 h 4030"/>
              <a:gd name="T54" fmla="*/ 565 w 4815"/>
              <a:gd name="T55" fmla="*/ 218 h 4030"/>
              <a:gd name="T56" fmla="*/ 4249 w 4815"/>
              <a:gd name="T57" fmla="*/ 0 h 4030"/>
              <a:gd name="T58" fmla="*/ 4389 w 4815"/>
              <a:gd name="T59" fmla="*/ 16 h 4030"/>
              <a:gd name="T60" fmla="*/ 4515 w 4815"/>
              <a:gd name="T61" fmla="*/ 66 h 4030"/>
              <a:gd name="T62" fmla="*/ 4625 w 4815"/>
              <a:gd name="T63" fmla="*/ 142 h 4030"/>
              <a:gd name="T64" fmla="*/ 4714 w 4815"/>
              <a:gd name="T65" fmla="*/ 243 h 4030"/>
              <a:gd name="T66" fmla="*/ 4777 w 4815"/>
              <a:gd name="T67" fmla="*/ 361 h 4030"/>
              <a:gd name="T68" fmla="*/ 4810 w 4815"/>
              <a:gd name="T69" fmla="*/ 494 h 4030"/>
              <a:gd name="T70" fmla="*/ 4815 w 4815"/>
              <a:gd name="T71" fmla="*/ 2579 h 4030"/>
              <a:gd name="T72" fmla="*/ 4797 w 4815"/>
              <a:gd name="T73" fmla="*/ 2717 h 4030"/>
              <a:gd name="T74" fmla="*/ 4749 w 4815"/>
              <a:gd name="T75" fmla="*/ 2844 h 4030"/>
              <a:gd name="T76" fmla="*/ 4673 w 4815"/>
              <a:gd name="T77" fmla="*/ 2954 h 4030"/>
              <a:gd name="T78" fmla="*/ 4572 w 4815"/>
              <a:gd name="T79" fmla="*/ 3043 h 4030"/>
              <a:gd name="T80" fmla="*/ 4454 w 4815"/>
              <a:gd name="T81" fmla="*/ 3106 h 4030"/>
              <a:gd name="T82" fmla="*/ 4321 w 4815"/>
              <a:gd name="T83" fmla="*/ 3139 h 4030"/>
              <a:gd name="T84" fmla="*/ 2225 w 4815"/>
              <a:gd name="T85" fmla="*/ 3144 h 4030"/>
              <a:gd name="T86" fmla="*/ 1693 w 4815"/>
              <a:gd name="T87" fmla="*/ 4001 h 4030"/>
              <a:gd name="T88" fmla="*/ 1645 w 4815"/>
              <a:gd name="T89" fmla="*/ 4027 h 4030"/>
              <a:gd name="T90" fmla="*/ 1617 w 4815"/>
              <a:gd name="T91" fmla="*/ 4030 h 4030"/>
              <a:gd name="T92" fmla="*/ 1563 w 4815"/>
              <a:gd name="T93" fmla="*/ 4015 h 4030"/>
              <a:gd name="T94" fmla="*/ 1523 w 4815"/>
              <a:gd name="T95" fmla="*/ 3977 h 4030"/>
              <a:gd name="T96" fmla="*/ 565 w 4815"/>
              <a:gd name="T97" fmla="*/ 3144 h 4030"/>
              <a:gd name="T98" fmla="*/ 427 w 4815"/>
              <a:gd name="T99" fmla="*/ 3126 h 4030"/>
              <a:gd name="T100" fmla="*/ 299 w 4815"/>
              <a:gd name="T101" fmla="*/ 3078 h 4030"/>
              <a:gd name="T102" fmla="*/ 190 w 4815"/>
              <a:gd name="T103" fmla="*/ 3001 h 4030"/>
              <a:gd name="T104" fmla="*/ 100 w 4815"/>
              <a:gd name="T105" fmla="*/ 2901 h 4030"/>
              <a:gd name="T106" fmla="*/ 38 w 4815"/>
              <a:gd name="T107" fmla="*/ 2783 h 4030"/>
              <a:gd name="T108" fmla="*/ 4 w 4815"/>
              <a:gd name="T109" fmla="*/ 2650 h 4030"/>
              <a:gd name="T110" fmla="*/ 0 w 4815"/>
              <a:gd name="T111" fmla="*/ 564 h 4030"/>
              <a:gd name="T112" fmla="*/ 17 w 4815"/>
              <a:gd name="T113" fmla="*/ 425 h 4030"/>
              <a:gd name="T114" fmla="*/ 65 w 4815"/>
              <a:gd name="T115" fmla="*/ 300 h 4030"/>
              <a:gd name="T116" fmla="*/ 143 w 4815"/>
              <a:gd name="T117" fmla="*/ 190 h 4030"/>
              <a:gd name="T118" fmla="*/ 242 w 4815"/>
              <a:gd name="T119" fmla="*/ 101 h 4030"/>
              <a:gd name="T120" fmla="*/ 361 w 4815"/>
              <a:gd name="T121" fmla="*/ 38 h 4030"/>
              <a:gd name="T122" fmla="*/ 494 w 4815"/>
              <a:gd name="T123" fmla="*/ 5 h 4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15" h="4030">
                <a:moveTo>
                  <a:pt x="565" y="218"/>
                </a:moveTo>
                <a:lnTo>
                  <a:pt x="508" y="222"/>
                </a:lnTo>
                <a:lnTo>
                  <a:pt x="456" y="235"/>
                </a:lnTo>
                <a:lnTo>
                  <a:pt x="406" y="256"/>
                </a:lnTo>
                <a:lnTo>
                  <a:pt x="359" y="285"/>
                </a:lnTo>
                <a:lnTo>
                  <a:pt x="320" y="319"/>
                </a:lnTo>
                <a:lnTo>
                  <a:pt x="285" y="360"/>
                </a:lnTo>
                <a:lnTo>
                  <a:pt x="257" y="405"/>
                </a:lnTo>
                <a:lnTo>
                  <a:pt x="235" y="454"/>
                </a:lnTo>
                <a:lnTo>
                  <a:pt x="222" y="509"/>
                </a:lnTo>
                <a:lnTo>
                  <a:pt x="217" y="564"/>
                </a:lnTo>
                <a:lnTo>
                  <a:pt x="217" y="2579"/>
                </a:lnTo>
                <a:lnTo>
                  <a:pt x="222" y="2636"/>
                </a:lnTo>
                <a:lnTo>
                  <a:pt x="235" y="2688"/>
                </a:lnTo>
                <a:lnTo>
                  <a:pt x="257" y="2738"/>
                </a:lnTo>
                <a:lnTo>
                  <a:pt x="285" y="2783"/>
                </a:lnTo>
                <a:lnTo>
                  <a:pt x="320" y="2824"/>
                </a:lnTo>
                <a:lnTo>
                  <a:pt x="359" y="2859"/>
                </a:lnTo>
                <a:lnTo>
                  <a:pt x="406" y="2887"/>
                </a:lnTo>
                <a:lnTo>
                  <a:pt x="456" y="2909"/>
                </a:lnTo>
                <a:lnTo>
                  <a:pt x="508" y="2922"/>
                </a:lnTo>
                <a:lnTo>
                  <a:pt x="565" y="2926"/>
                </a:lnTo>
                <a:lnTo>
                  <a:pt x="1087" y="2926"/>
                </a:lnTo>
                <a:lnTo>
                  <a:pt x="1115" y="2929"/>
                </a:lnTo>
                <a:lnTo>
                  <a:pt x="1142" y="2941"/>
                </a:lnTo>
                <a:lnTo>
                  <a:pt x="1163" y="2957"/>
                </a:lnTo>
                <a:lnTo>
                  <a:pt x="1181" y="2979"/>
                </a:lnTo>
                <a:lnTo>
                  <a:pt x="1618" y="3712"/>
                </a:lnTo>
                <a:lnTo>
                  <a:pt x="2072" y="2977"/>
                </a:lnTo>
                <a:lnTo>
                  <a:pt x="2089" y="2957"/>
                </a:lnTo>
                <a:lnTo>
                  <a:pt x="2111" y="2939"/>
                </a:lnTo>
                <a:lnTo>
                  <a:pt x="2136" y="2929"/>
                </a:lnTo>
                <a:lnTo>
                  <a:pt x="2164" y="2926"/>
                </a:lnTo>
                <a:lnTo>
                  <a:pt x="4249" y="2926"/>
                </a:lnTo>
                <a:lnTo>
                  <a:pt x="4306" y="2922"/>
                </a:lnTo>
                <a:lnTo>
                  <a:pt x="4360" y="2909"/>
                </a:lnTo>
                <a:lnTo>
                  <a:pt x="4410" y="2887"/>
                </a:lnTo>
                <a:lnTo>
                  <a:pt x="4455" y="2859"/>
                </a:lnTo>
                <a:lnTo>
                  <a:pt x="4496" y="2824"/>
                </a:lnTo>
                <a:lnTo>
                  <a:pt x="4530" y="2783"/>
                </a:lnTo>
                <a:lnTo>
                  <a:pt x="4559" y="2738"/>
                </a:lnTo>
                <a:lnTo>
                  <a:pt x="4579" y="2688"/>
                </a:lnTo>
                <a:lnTo>
                  <a:pt x="4593" y="2636"/>
                </a:lnTo>
                <a:lnTo>
                  <a:pt x="4597" y="2579"/>
                </a:lnTo>
                <a:lnTo>
                  <a:pt x="4597" y="564"/>
                </a:lnTo>
                <a:lnTo>
                  <a:pt x="4593" y="509"/>
                </a:lnTo>
                <a:lnTo>
                  <a:pt x="4579" y="454"/>
                </a:lnTo>
                <a:lnTo>
                  <a:pt x="4559" y="405"/>
                </a:lnTo>
                <a:lnTo>
                  <a:pt x="4530" y="360"/>
                </a:lnTo>
                <a:lnTo>
                  <a:pt x="4496" y="319"/>
                </a:lnTo>
                <a:lnTo>
                  <a:pt x="4455" y="285"/>
                </a:lnTo>
                <a:lnTo>
                  <a:pt x="4410" y="256"/>
                </a:lnTo>
                <a:lnTo>
                  <a:pt x="4360" y="235"/>
                </a:lnTo>
                <a:lnTo>
                  <a:pt x="4306" y="222"/>
                </a:lnTo>
                <a:lnTo>
                  <a:pt x="4249" y="218"/>
                </a:lnTo>
                <a:lnTo>
                  <a:pt x="565" y="218"/>
                </a:lnTo>
                <a:close/>
                <a:moveTo>
                  <a:pt x="565" y="0"/>
                </a:moveTo>
                <a:lnTo>
                  <a:pt x="4249" y="0"/>
                </a:lnTo>
                <a:lnTo>
                  <a:pt x="4321" y="5"/>
                </a:lnTo>
                <a:lnTo>
                  <a:pt x="4389" y="16"/>
                </a:lnTo>
                <a:lnTo>
                  <a:pt x="4454" y="38"/>
                </a:lnTo>
                <a:lnTo>
                  <a:pt x="4515" y="66"/>
                </a:lnTo>
                <a:lnTo>
                  <a:pt x="4572" y="101"/>
                </a:lnTo>
                <a:lnTo>
                  <a:pt x="4625" y="142"/>
                </a:lnTo>
                <a:lnTo>
                  <a:pt x="4673" y="190"/>
                </a:lnTo>
                <a:lnTo>
                  <a:pt x="4714" y="243"/>
                </a:lnTo>
                <a:lnTo>
                  <a:pt x="4749" y="300"/>
                </a:lnTo>
                <a:lnTo>
                  <a:pt x="4777" y="361"/>
                </a:lnTo>
                <a:lnTo>
                  <a:pt x="4797" y="425"/>
                </a:lnTo>
                <a:lnTo>
                  <a:pt x="4810" y="494"/>
                </a:lnTo>
                <a:lnTo>
                  <a:pt x="4815" y="564"/>
                </a:lnTo>
                <a:lnTo>
                  <a:pt x="4815" y="2579"/>
                </a:lnTo>
                <a:lnTo>
                  <a:pt x="4810" y="2650"/>
                </a:lnTo>
                <a:lnTo>
                  <a:pt x="4797" y="2717"/>
                </a:lnTo>
                <a:lnTo>
                  <a:pt x="4777" y="2783"/>
                </a:lnTo>
                <a:lnTo>
                  <a:pt x="4749" y="2844"/>
                </a:lnTo>
                <a:lnTo>
                  <a:pt x="4714" y="2901"/>
                </a:lnTo>
                <a:lnTo>
                  <a:pt x="4673" y="2954"/>
                </a:lnTo>
                <a:lnTo>
                  <a:pt x="4625" y="3001"/>
                </a:lnTo>
                <a:lnTo>
                  <a:pt x="4572" y="3043"/>
                </a:lnTo>
                <a:lnTo>
                  <a:pt x="4515" y="3078"/>
                </a:lnTo>
                <a:lnTo>
                  <a:pt x="4454" y="3106"/>
                </a:lnTo>
                <a:lnTo>
                  <a:pt x="4389" y="3126"/>
                </a:lnTo>
                <a:lnTo>
                  <a:pt x="4321" y="3139"/>
                </a:lnTo>
                <a:lnTo>
                  <a:pt x="4249" y="3144"/>
                </a:lnTo>
                <a:lnTo>
                  <a:pt x="2225" y="3144"/>
                </a:lnTo>
                <a:lnTo>
                  <a:pt x="1710" y="3979"/>
                </a:lnTo>
                <a:lnTo>
                  <a:pt x="1693" y="4001"/>
                </a:lnTo>
                <a:lnTo>
                  <a:pt x="1671" y="4017"/>
                </a:lnTo>
                <a:lnTo>
                  <a:pt x="1645" y="4027"/>
                </a:lnTo>
                <a:lnTo>
                  <a:pt x="1617" y="4030"/>
                </a:lnTo>
                <a:lnTo>
                  <a:pt x="1617" y="4030"/>
                </a:lnTo>
                <a:lnTo>
                  <a:pt x="1589" y="4027"/>
                </a:lnTo>
                <a:lnTo>
                  <a:pt x="1563" y="4015"/>
                </a:lnTo>
                <a:lnTo>
                  <a:pt x="1541" y="3999"/>
                </a:lnTo>
                <a:lnTo>
                  <a:pt x="1523" y="3977"/>
                </a:lnTo>
                <a:lnTo>
                  <a:pt x="1026" y="3144"/>
                </a:lnTo>
                <a:lnTo>
                  <a:pt x="565" y="3144"/>
                </a:lnTo>
                <a:lnTo>
                  <a:pt x="494" y="3139"/>
                </a:lnTo>
                <a:lnTo>
                  <a:pt x="427" y="3126"/>
                </a:lnTo>
                <a:lnTo>
                  <a:pt x="361" y="3106"/>
                </a:lnTo>
                <a:lnTo>
                  <a:pt x="299" y="3078"/>
                </a:lnTo>
                <a:lnTo>
                  <a:pt x="242" y="3043"/>
                </a:lnTo>
                <a:lnTo>
                  <a:pt x="190" y="3001"/>
                </a:lnTo>
                <a:lnTo>
                  <a:pt x="143" y="2954"/>
                </a:lnTo>
                <a:lnTo>
                  <a:pt x="100" y="2901"/>
                </a:lnTo>
                <a:lnTo>
                  <a:pt x="65" y="2844"/>
                </a:lnTo>
                <a:lnTo>
                  <a:pt x="38" y="2783"/>
                </a:lnTo>
                <a:lnTo>
                  <a:pt x="17" y="2717"/>
                </a:lnTo>
                <a:lnTo>
                  <a:pt x="4" y="2650"/>
                </a:lnTo>
                <a:lnTo>
                  <a:pt x="0" y="2579"/>
                </a:lnTo>
                <a:lnTo>
                  <a:pt x="0" y="564"/>
                </a:lnTo>
                <a:lnTo>
                  <a:pt x="4" y="494"/>
                </a:lnTo>
                <a:lnTo>
                  <a:pt x="17" y="425"/>
                </a:lnTo>
                <a:lnTo>
                  <a:pt x="38" y="361"/>
                </a:lnTo>
                <a:lnTo>
                  <a:pt x="65" y="300"/>
                </a:lnTo>
                <a:lnTo>
                  <a:pt x="100" y="243"/>
                </a:lnTo>
                <a:lnTo>
                  <a:pt x="143" y="190"/>
                </a:lnTo>
                <a:lnTo>
                  <a:pt x="190" y="142"/>
                </a:lnTo>
                <a:lnTo>
                  <a:pt x="242" y="101"/>
                </a:lnTo>
                <a:lnTo>
                  <a:pt x="299" y="66"/>
                </a:lnTo>
                <a:lnTo>
                  <a:pt x="361" y="38"/>
                </a:lnTo>
                <a:lnTo>
                  <a:pt x="427" y="16"/>
                </a:lnTo>
                <a:lnTo>
                  <a:pt x="494" y="5"/>
                </a:lnTo>
                <a:lnTo>
                  <a:pt x="565" y="0"/>
                </a:lnTo>
                <a:close/>
              </a:path>
            </a:pathLst>
          </a:custGeom>
          <a:solidFill>
            <a:srgbClr val="00B9E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56" name="Rectangle 7"/>
          <p:cNvSpPr>
            <a:spLocks noChangeArrowheads="1"/>
          </p:cNvSpPr>
          <p:nvPr/>
        </p:nvSpPr>
        <p:spPr bwMode="auto">
          <a:xfrm>
            <a:off x="1889795" y="3890318"/>
            <a:ext cx="21549" cy="94747"/>
          </a:xfrm>
          <a:prstGeom prst="rect">
            <a:avLst/>
          </a:prstGeom>
          <a:solidFill>
            <a:srgbClr val="00B9E1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57" name="Freeform 8"/>
          <p:cNvSpPr>
            <a:spLocks noEditPoints="1"/>
          </p:cNvSpPr>
          <p:nvPr/>
        </p:nvSpPr>
        <p:spPr bwMode="auto">
          <a:xfrm>
            <a:off x="1936991" y="3888893"/>
            <a:ext cx="91007" cy="97775"/>
          </a:xfrm>
          <a:custGeom>
            <a:avLst/>
            <a:gdLst>
              <a:gd name="T0" fmla="*/ 716 w 1533"/>
              <a:gd name="T1" fmla="*/ 289 h 1646"/>
              <a:gd name="T2" fmla="*/ 624 w 1533"/>
              <a:gd name="T3" fmla="*/ 317 h 1646"/>
              <a:gd name="T4" fmla="*/ 546 w 1533"/>
              <a:gd name="T5" fmla="*/ 368 h 1646"/>
              <a:gd name="T6" fmla="*/ 482 w 1533"/>
              <a:gd name="T7" fmla="*/ 441 h 1646"/>
              <a:gd name="T8" fmla="*/ 432 w 1533"/>
              <a:gd name="T9" fmla="*/ 532 h 1646"/>
              <a:gd name="T10" fmla="*/ 399 w 1533"/>
              <a:gd name="T11" fmla="*/ 641 h 1646"/>
              <a:gd name="T12" fmla="*/ 383 w 1533"/>
              <a:gd name="T13" fmla="*/ 762 h 1646"/>
              <a:gd name="T14" fmla="*/ 383 w 1533"/>
              <a:gd name="T15" fmla="*/ 898 h 1646"/>
              <a:gd name="T16" fmla="*/ 403 w 1533"/>
              <a:gd name="T17" fmla="*/ 1026 h 1646"/>
              <a:gd name="T18" fmla="*/ 443 w 1533"/>
              <a:gd name="T19" fmla="*/ 1139 h 1646"/>
              <a:gd name="T20" fmla="*/ 500 w 1533"/>
              <a:gd name="T21" fmla="*/ 1231 h 1646"/>
              <a:gd name="T22" fmla="*/ 574 w 1533"/>
              <a:gd name="T23" fmla="*/ 1301 h 1646"/>
              <a:gd name="T24" fmla="*/ 663 w 1533"/>
              <a:gd name="T25" fmla="*/ 1345 h 1646"/>
              <a:gd name="T26" fmla="*/ 769 w 1533"/>
              <a:gd name="T27" fmla="*/ 1359 h 1646"/>
              <a:gd name="T28" fmla="*/ 867 w 1533"/>
              <a:gd name="T29" fmla="*/ 1346 h 1646"/>
              <a:gd name="T30" fmla="*/ 951 w 1533"/>
              <a:gd name="T31" fmla="*/ 1307 h 1646"/>
              <a:gd name="T32" fmla="*/ 1022 w 1533"/>
              <a:gd name="T33" fmla="*/ 1244 h 1646"/>
              <a:gd name="T34" fmla="*/ 1079 w 1533"/>
              <a:gd name="T35" fmla="*/ 1161 h 1646"/>
              <a:gd name="T36" fmla="*/ 1118 w 1533"/>
              <a:gd name="T37" fmla="*/ 1060 h 1646"/>
              <a:gd name="T38" fmla="*/ 1144 w 1533"/>
              <a:gd name="T39" fmla="*/ 945 h 1646"/>
              <a:gd name="T40" fmla="*/ 1152 w 1533"/>
              <a:gd name="T41" fmla="*/ 818 h 1646"/>
              <a:gd name="T42" fmla="*/ 1144 w 1533"/>
              <a:gd name="T43" fmla="*/ 698 h 1646"/>
              <a:gd name="T44" fmla="*/ 1120 w 1533"/>
              <a:gd name="T45" fmla="*/ 587 h 1646"/>
              <a:gd name="T46" fmla="*/ 1079 w 1533"/>
              <a:gd name="T47" fmla="*/ 488 h 1646"/>
              <a:gd name="T48" fmla="*/ 1023 w 1533"/>
              <a:gd name="T49" fmla="*/ 405 h 1646"/>
              <a:gd name="T50" fmla="*/ 951 w 1533"/>
              <a:gd name="T51" fmla="*/ 342 h 1646"/>
              <a:gd name="T52" fmla="*/ 867 w 1533"/>
              <a:gd name="T53" fmla="*/ 301 h 1646"/>
              <a:gd name="T54" fmla="*/ 766 w 1533"/>
              <a:gd name="T55" fmla="*/ 286 h 1646"/>
              <a:gd name="T56" fmla="*/ 855 w 1533"/>
              <a:gd name="T57" fmla="*/ 3 h 1646"/>
              <a:gd name="T58" fmla="*/ 1003 w 1533"/>
              <a:gd name="T59" fmla="*/ 29 h 1646"/>
              <a:gd name="T60" fmla="*/ 1131 w 1533"/>
              <a:gd name="T61" fmla="*/ 77 h 1646"/>
              <a:gd name="T62" fmla="*/ 1244 w 1533"/>
              <a:gd name="T63" fmla="*/ 149 h 1646"/>
              <a:gd name="T64" fmla="*/ 1339 w 1533"/>
              <a:gd name="T65" fmla="*/ 238 h 1646"/>
              <a:gd name="T66" fmla="*/ 1415 w 1533"/>
              <a:gd name="T67" fmla="*/ 343 h 1646"/>
              <a:gd name="T68" fmla="*/ 1472 w 1533"/>
              <a:gd name="T69" fmla="*/ 463 h 1646"/>
              <a:gd name="T70" fmla="*/ 1512 w 1533"/>
              <a:gd name="T71" fmla="*/ 593 h 1646"/>
              <a:gd name="T72" fmla="*/ 1531 w 1533"/>
              <a:gd name="T73" fmla="*/ 733 h 1646"/>
              <a:gd name="T74" fmla="*/ 1531 w 1533"/>
              <a:gd name="T75" fmla="*/ 897 h 1646"/>
              <a:gd name="T76" fmla="*/ 1506 w 1533"/>
              <a:gd name="T77" fmla="*/ 1063 h 1646"/>
              <a:gd name="T78" fmla="*/ 1456 w 1533"/>
              <a:gd name="T79" fmla="*/ 1210 h 1646"/>
              <a:gd name="T80" fmla="*/ 1384 w 1533"/>
              <a:gd name="T81" fmla="*/ 1339 h 1646"/>
              <a:gd name="T82" fmla="*/ 1292 w 1533"/>
              <a:gd name="T83" fmla="*/ 1447 h 1646"/>
              <a:gd name="T84" fmla="*/ 1181 w 1533"/>
              <a:gd name="T85" fmla="*/ 1532 h 1646"/>
              <a:gd name="T86" fmla="*/ 1052 w 1533"/>
              <a:gd name="T87" fmla="*/ 1594 h 1646"/>
              <a:gd name="T88" fmla="*/ 908 w 1533"/>
              <a:gd name="T89" fmla="*/ 1632 h 1646"/>
              <a:gd name="T90" fmla="*/ 750 w 1533"/>
              <a:gd name="T91" fmla="*/ 1646 h 1646"/>
              <a:gd name="T92" fmla="*/ 590 w 1533"/>
              <a:gd name="T93" fmla="*/ 1631 h 1646"/>
              <a:gd name="T94" fmla="*/ 448 w 1533"/>
              <a:gd name="T95" fmla="*/ 1590 h 1646"/>
              <a:gd name="T96" fmla="*/ 326 w 1533"/>
              <a:gd name="T97" fmla="*/ 1523 h 1646"/>
              <a:gd name="T98" fmla="*/ 220 w 1533"/>
              <a:gd name="T99" fmla="*/ 1435 h 1646"/>
              <a:gd name="T100" fmla="*/ 134 w 1533"/>
              <a:gd name="T101" fmla="*/ 1327 h 1646"/>
              <a:gd name="T102" fmla="*/ 68 w 1533"/>
              <a:gd name="T103" fmla="*/ 1203 h 1646"/>
              <a:gd name="T104" fmla="*/ 24 w 1533"/>
              <a:gd name="T105" fmla="*/ 1064 h 1646"/>
              <a:gd name="T106" fmla="*/ 2 w 1533"/>
              <a:gd name="T107" fmla="*/ 914 h 1646"/>
              <a:gd name="T108" fmla="*/ 2 w 1533"/>
              <a:gd name="T109" fmla="*/ 752 h 1646"/>
              <a:gd name="T110" fmla="*/ 27 w 1533"/>
              <a:gd name="T111" fmla="*/ 594 h 1646"/>
              <a:gd name="T112" fmla="*/ 74 w 1533"/>
              <a:gd name="T113" fmla="*/ 450 h 1646"/>
              <a:gd name="T114" fmla="*/ 144 w 1533"/>
              <a:gd name="T115" fmla="*/ 323 h 1646"/>
              <a:gd name="T116" fmla="*/ 235 w 1533"/>
              <a:gd name="T117" fmla="*/ 212 h 1646"/>
              <a:gd name="T118" fmla="*/ 345 w 1533"/>
              <a:gd name="T119" fmla="*/ 123 h 1646"/>
              <a:gd name="T120" fmla="*/ 472 w 1533"/>
              <a:gd name="T121" fmla="*/ 56 h 1646"/>
              <a:gd name="T122" fmla="*/ 617 w 1533"/>
              <a:gd name="T123" fmla="*/ 15 h 1646"/>
              <a:gd name="T124" fmla="*/ 776 w 1533"/>
              <a:gd name="T125" fmla="*/ 0 h 1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33" h="1646">
                <a:moveTo>
                  <a:pt x="766" y="286"/>
                </a:moveTo>
                <a:lnTo>
                  <a:pt x="716" y="289"/>
                </a:lnTo>
                <a:lnTo>
                  <a:pt x="668" y="299"/>
                </a:lnTo>
                <a:lnTo>
                  <a:pt x="624" y="317"/>
                </a:lnTo>
                <a:lnTo>
                  <a:pt x="583" y="339"/>
                </a:lnTo>
                <a:lnTo>
                  <a:pt x="546" y="368"/>
                </a:lnTo>
                <a:lnTo>
                  <a:pt x="511" y="402"/>
                </a:lnTo>
                <a:lnTo>
                  <a:pt x="482" y="441"/>
                </a:lnTo>
                <a:lnTo>
                  <a:pt x="456" y="483"/>
                </a:lnTo>
                <a:lnTo>
                  <a:pt x="432" y="532"/>
                </a:lnTo>
                <a:lnTo>
                  <a:pt x="415" y="584"/>
                </a:lnTo>
                <a:lnTo>
                  <a:pt x="399" y="641"/>
                </a:lnTo>
                <a:lnTo>
                  <a:pt x="388" y="699"/>
                </a:lnTo>
                <a:lnTo>
                  <a:pt x="383" y="762"/>
                </a:lnTo>
                <a:lnTo>
                  <a:pt x="380" y="828"/>
                </a:lnTo>
                <a:lnTo>
                  <a:pt x="383" y="898"/>
                </a:lnTo>
                <a:lnTo>
                  <a:pt x="390" y="964"/>
                </a:lnTo>
                <a:lnTo>
                  <a:pt x="403" y="1026"/>
                </a:lnTo>
                <a:lnTo>
                  <a:pt x="421" y="1085"/>
                </a:lnTo>
                <a:lnTo>
                  <a:pt x="443" y="1139"/>
                </a:lnTo>
                <a:lnTo>
                  <a:pt x="469" y="1189"/>
                </a:lnTo>
                <a:lnTo>
                  <a:pt x="500" y="1231"/>
                </a:lnTo>
                <a:lnTo>
                  <a:pt x="535" y="1269"/>
                </a:lnTo>
                <a:lnTo>
                  <a:pt x="574" y="1301"/>
                </a:lnTo>
                <a:lnTo>
                  <a:pt x="617" y="1326"/>
                </a:lnTo>
                <a:lnTo>
                  <a:pt x="663" y="1345"/>
                </a:lnTo>
                <a:lnTo>
                  <a:pt x="715" y="1355"/>
                </a:lnTo>
                <a:lnTo>
                  <a:pt x="769" y="1359"/>
                </a:lnTo>
                <a:lnTo>
                  <a:pt x="820" y="1356"/>
                </a:lnTo>
                <a:lnTo>
                  <a:pt x="867" y="1346"/>
                </a:lnTo>
                <a:lnTo>
                  <a:pt x="911" y="1329"/>
                </a:lnTo>
                <a:lnTo>
                  <a:pt x="951" y="1307"/>
                </a:lnTo>
                <a:lnTo>
                  <a:pt x="988" y="1278"/>
                </a:lnTo>
                <a:lnTo>
                  <a:pt x="1022" y="1244"/>
                </a:lnTo>
                <a:lnTo>
                  <a:pt x="1052" y="1205"/>
                </a:lnTo>
                <a:lnTo>
                  <a:pt x="1079" y="1161"/>
                </a:lnTo>
                <a:lnTo>
                  <a:pt x="1101" y="1113"/>
                </a:lnTo>
                <a:lnTo>
                  <a:pt x="1118" y="1060"/>
                </a:lnTo>
                <a:lnTo>
                  <a:pt x="1133" y="1005"/>
                </a:lnTo>
                <a:lnTo>
                  <a:pt x="1144" y="945"/>
                </a:lnTo>
                <a:lnTo>
                  <a:pt x="1150" y="883"/>
                </a:lnTo>
                <a:lnTo>
                  <a:pt x="1152" y="818"/>
                </a:lnTo>
                <a:lnTo>
                  <a:pt x="1150" y="758"/>
                </a:lnTo>
                <a:lnTo>
                  <a:pt x="1144" y="698"/>
                </a:lnTo>
                <a:lnTo>
                  <a:pt x="1134" y="641"/>
                </a:lnTo>
                <a:lnTo>
                  <a:pt x="1120" y="587"/>
                </a:lnTo>
                <a:lnTo>
                  <a:pt x="1101" y="536"/>
                </a:lnTo>
                <a:lnTo>
                  <a:pt x="1079" y="488"/>
                </a:lnTo>
                <a:lnTo>
                  <a:pt x="1052" y="444"/>
                </a:lnTo>
                <a:lnTo>
                  <a:pt x="1023" y="405"/>
                </a:lnTo>
                <a:lnTo>
                  <a:pt x="989" y="371"/>
                </a:lnTo>
                <a:lnTo>
                  <a:pt x="951" y="342"/>
                </a:lnTo>
                <a:lnTo>
                  <a:pt x="911" y="318"/>
                </a:lnTo>
                <a:lnTo>
                  <a:pt x="867" y="301"/>
                </a:lnTo>
                <a:lnTo>
                  <a:pt x="818" y="289"/>
                </a:lnTo>
                <a:lnTo>
                  <a:pt x="766" y="286"/>
                </a:lnTo>
                <a:close/>
                <a:moveTo>
                  <a:pt x="776" y="0"/>
                </a:moveTo>
                <a:lnTo>
                  <a:pt x="855" y="3"/>
                </a:lnTo>
                <a:lnTo>
                  <a:pt x="931" y="13"/>
                </a:lnTo>
                <a:lnTo>
                  <a:pt x="1003" y="29"/>
                </a:lnTo>
                <a:lnTo>
                  <a:pt x="1068" y="51"/>
                </a:lnTo>
                <a:lnTo>
                  <a:pt x="1131" y="77"/>
                </a:lnTo>
                <a:lnTo>
                  <a:pt x="1190" y="111"/>
                </a:lnTo>
                <a:lnTo>
                  <a:pt x="1244" y="149"/>
                </a:lnTo>
                <a:lnTo>
                  <a:pt x="1294" y="191"/>
                </a:lnTo>
                <a:lnTo>
                  <a:pt x="1339" y="238"/>
                </a:lnTo>
                <a:lnTo>
                  <a:pt x="1378" y="289"/>
                </a:lnTo>
                <a:lnTo>
                  <a:pt x="1415" y="343"/>
                </a:lnTo>
                <a:lnTo>
                  <a:pt x="1446" y="402"/>
                </a:lnTo>
                <a:lnTo>
                  <a:pt x="1472" y="463"/>
                </a:lnTo>
                <a:lnTo>
                  <a:pt x="1494" y="527"/>
                </a:lnTo>
                <a:lnTo>
                  <a:pt x="1512" y="593"/>
                </a:lnTo>
                <a:lnTo>
                  <a:pt x="1523" y="663"/>
                </a:lnTo>
                <a:lnTo>
                  <a:pt x="1531" y="733"/>
                </a:lnTo>
                <a:lnTo>
                  <a:pt x="1533" y="806"/>
                </a:lnTo>
                <a:lnTo>
                  <a:pt x="1531" y="897"/>
                </a:lnTo>
                <a:lnTo>
                  <a:pt x="1520" y="981"/>
                </a:lnTo>
                <a:lnTo>
                  <a:pt x="1506" y="1063"/>
                </a:lnTo>
                <a:lnTo>
                  <a:pt x="1484" y="1139"/>
                </a:lnTo>
                <a:lnTo>
                  <a:pt x="1456" y="1210"/>
                </a:lnTo>
                <a:lnTo>
                  <a:pt x="1422" y="1278"/>
                </a:lnTo>
                <a:lnTo>
                  <a:pt x="1384" y="1339"/>
                </a:lnTo>
                <a:lnTo>
                  <a:pt x="1340" y="1396"/>
                </a:lnTo>
                <a:lnTo>
                  <a:pt x="1292" y="1447"/>
                </a:lnTo>
                <a:lnTo>
                  <a:pt x="1238" y="1492"/>
                </a:lnTo>
                <a:lnTo>
                  <a:pt x="1181" y="1532"/>
                </a:lnTo>
                <a:lnTo>
                  <a:pt x="1118" y="1567"/>
                </a:lnTo>
                <a:lnTo>
                  <a:pt x="1052" y="1594"/>
                </a:lnTo>
                <a:lnTo>
                  <a:pt x="982" y="1616"/>
                </a:lnTo>
                <a:lnTo>
                  <a:pt x="908" y="1632"/>
                </a:lnTo>
                <a:lnTo>
                  <a:pt x="830" y="1643"/>
                </a:lnTo>
                <a:lnTo>
                  <a:pt x="750" y="1646"/>
                </a:lnTo>
                <a:lnTo>
                  <a:pt x="668" y="1641"/>
                </a:lnTo>
                <a:lnTo>
                  <a:pt x="590" y="1631"/>
                </a:lnTo>
                <a:lnTo>
                  <a:pt x="517" y="1613"/>
                </a:lnTo>
                <a:lnTo>
                  <a:pt x="448" y="1590"/>
                </a:lnTo>
                <a:lnTo>
                  <a:pt x="384" y="1559"/>
                </a:lnTo>
                <a:lnTo>
                  <a:pt x="326" y="1523"/>
                </a:lnTo>
                <a:lnTo>
                  <a:pt x="270" y="1482"/>
                </a:lnTo>
                <a:lnTo>
                  <a:pt x="220" y="1435"/>
                </a:lnTo>
                <a:lnTo>
                  <a:pt x="175" y="1384"/>
                </a:lnTo>
                <a:lnTo>
                  <a:pt x="134" y="1327"/>
                </a:lnTo>
                <a:lnTo>
                  <a:pt x="99" y="1267"/>
                </a:lnTo>
                <a:lnTo>
                  <a:pt x="68" y="1203"/>
                </a:lnTo>
                <a:lnTo>
                  <a:pt x="43" y="1136"/>
                </a:lnTo>
                <a:lnTo>
                  <a:pt x="24" y="1064"/>
                </a:lnTo>
                <a:lnTo>
                  <a:pt x="10" y="990"/>
                </a:lnTo>
                <a:lnTo>
                  <a:pt x="2" y="914"/>
                </a:lnTo>
                <a:lnTo>
                  <a:pt x="0" y="834"/>
                </a:lnTo>
                <a:lnTo>
                  <a:pt x="2" y="752"/>
                </a:lnTo>
                <a:lnTo>
                  <a:pt x="11" y="672"/>
                </a:lnTo>
                <a:lnTo>
                  <a:pt x="27" y="594"/>
                </a:lnTo>
                <a:lnTo>
                  <a:pt x="48" y="520"/>
                </a:lnTo>
                <a:lnTo>
                  <a:pt x="74" y="450"/>
                </a:lnTo>
                <a:lnTo>
                  <a:pt x="106" y="384"/>
                </a:lnTo>
                <a:lnTo>
                  <a:pt x="144" y="323"/>
                </a:lnTo>
                <a:lnTo>
                  <a:pt x="187" y="264"/>
                </a:lnTo>
                <a:lnTo>
                  <a:pt x="235" y="212"/>
                </a:lnTo>
                <a:lnTo>
                  <a:pt x="288" y="165"/>
                </a:lnTo>
                <a:lnTo>
                  <a:pt x="345" y="123"/>
                </a:lnTo>
                <a:lnTo>
                  <a:pt x="406" y="86"/>
                </a:lnTo>
                <a:lnTo>
                  <a:pt x="472" y="56"/>
                </a:lnTo>
                <a:lnTo>
                  <a:pt x="542" y="32"/>
                </a:lnTo>
                <a:lnTo>
                  <a:pt x="617" y="15"/>
                </a:lnTo>
                <a:lnTo>
                  <a:pt x="694" y="3"/>
                </a:lnTo>
                <a:lnTo>
                  <a:pt x="776" y="0"/>
                </a:lnTo>
                <a:close/>
              </a:path>
            </a:pathLst>
          </a:custGeom>
          <a:solidFill>
            <a:srgbClr val="00B9E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58" name="Freeform 9"/>
          <p:cNvSpPr>
            <a:spLocks/>
          </p:cNvSpPr>
          <p:nvPr/>
        </p:nvSpPr>
        <p:spPr bwMode="auto">
          <a:xfrm>
            <a:off x="2042245" y="3890318"/>
            <a:ext cx="72841" cy="94747"/>
          </a:xfrm>
          <a:custGeom>
            <a:avLst/>
            <a:gdLst>
              <a:gd name="T0" fmla="*/ 0 w 1227"/>
              <a:gd name="T1" fmla="*/ 0 h 1594"/>
              <a:gd name="T2" fmla="*/ 1227 w 1227"/>
              <a:gd name="T3" fmla="*/ 0 h 1594"/>
              <a:gd name="T4" fmla="*/ 1227 w 1227"/>
              <a:gd name="T5" fmla="*/ 304 h 1594"/>
              <a:gd name="T6" fmla="*/ 791 w 1227"/>
              <a:gd name="T7" fmla="*/ 304 h 1594"/>
              <a:gd name="T8" fmla="*/ 791 w 1227"/>
              <a:gd name="T9" fmla="*/ 1594 h 1594"/>
              <a:gd name="T10" fmla="*/ 428 w 1227"/>
              <a:gd name="T11" fmla="*/ 1594 h 1594"/>
              <a:gd name="T12" fmla="*/ 428 w 1227"/>
              <a:gd name="T13" fmla="*/ 304 h 1594"/>
              <a:gd name="T14" fmla="*/ 0 w 1227"/>
              <a:gd name="T15" fmla="*/ 304 h 1594"/>
              <a:gd name="T16" fmla="*/ 0 w 1227"/>
              <a:gd name="T17" fmla="*/ 0 h 15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27" h="1594">
                <a:moveTo>
                  <a:pt x="0" y="0"/>
                </a:moveTo>
                <a:lnTo>
                  <a:pt x="1227" y="0"/>
                </a:lnTo>
                <a:lnTo>
                  <a:pt x="1227" y="304"/>
                </a:lnTo>
                <a:lnTo>
                  <a:pt x="791" y="304"/>
                </a:lnTo>
                <a:lnTo>
                  <a:pt x="791" y="1594"/>
                </a:lnTo>
                <a:lnTo>
                  <a:pt x="428" y="1594"/>
                </a:lnTo>
                <a:lnTo>
                  <a:pt x="428" y="304"/>
                </a:lnTo>
                <a:lnTo>
                  <a:pt x="0" y="304"/>
                </a:lnTo>
                <a:lnTo>
                  <a:pt x="0" y="0"/>
                </a:lnTo>
                <a:close/>
              </a:path>
            </a:pathLst>
          </a:custGeom>
          <a:solidFill>
            <a:srgbClr val="00B9E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59" name="Freeform 6"/>
          <p:cNvSpPr>
            <a:spLocks noEditPoints="1"/>
          </p:cNvSpPr>
          <p:nvPr/>
        </p:nvSpPr>
        <p:spPr bwMode="auto">
          <a:xfrm>
            <a:off x="2178500" y="4015922"/>
            <a:ext cx="285843" cy="239182"/>
          </a:xfrm>
          <a:custGeom>
            <a:avLst/>
            <a:gdLst>
              <a:gd name="T0" fmla="*/ 508 w 4815"/>
              <a:gd name="T1" fmla="*/ 222 h 4030"/>
              <a:gd name="T2" fmla="*/ 406 w 4815"/>
              <a:gd name="T3" fmla="*/ 256 h 4030"/>
              <a:gd name="T4" fmla="*/ 320 w 4815"/>
              <a:gd name="T5" fmla="*/ 319 h 4030"/>
              <a:gd name="T6" fmla="*/ 257 w 4815"/>
              <a:gd name="T7" fmla="*/ 405 h 4030"/>
              <a:gd name="T8" fmla="*/ 222 w 4815"/>
              <a:gd name="T9" fmla="*/ 509 h 4030"/>
              <a:gd name="T10" fmla="*/ 217 w 4815"/>
              <a:gd name="T11" fmla="*/ 2579 h 4030"/>
              <a:gd name="T12" fmla="*/ 235 w 4815"/>
              <a:gd name="T13" fmla="*/ 2688 h 4030"/>
              <a:gd name="T14" fmla="*/ 285 w 4815"/>
              <a:gd name="T15" fmla="*/ 2783 h 4030"/>
              <a:gd name="T16" fmla="*/ 359 w 4815"/>
              <a:gd name="T17" fmla="*/ 2859 h 4030"/>
              <a:gd name="T18" fmla="*/ 456 w 4815"/>
              <a:gd name="T19" fmla="*/ 2909 h 4030"/>
              <a:gd name="T20" fmla="*/ 565 w 4815"/>
              <a:gd name="T21" fmla="*/ 2926 h 4030"/>
              <a:gd name="T22" fmla="*/ 1115 w 4815"/>
              <a:gd name="T23" fmla="*/ 2929 h 4030"/>
              <a:gd name="T24" fmla="*/ 1163 w 4815"/>
              <a:gd name="T25" fmla="*/ 2957 h 4030"/>
              <a:gd name="T26" fmla="*/ 1618 w 4815"/>
              <a:gd name="T27" fmla="*/ 3712 h 4030"/>
              <a:gd name="T28" fmla="*/ 2089 w 4815"/>
              <a:gd name="T29" fmla="*/ 2957 h 4030"/>
              <a:gd name="T30" fmla="*/ 2136 w 4815"/>
              <a:gd name="T31" fmla="*/ 2929 h 4030"/>
              <a:gd name="T32" fmla="*/ 4249 w 4815"/>
              <a:gd name="T33" fmla="*/ 2926 h 4030"/>
              <a:gd name="T34" fmla="*/ 4360 w 4815"/>
              <a:gd name="T35" fmla="*/ 2909 h 4030"/>
              <a:gd name="T36" fmla="*/ 4455 w 4815"/>
              <a:gd name="T37" fmla="*/ 2859 h 4030"/>
              <a:gd name="T38" fmla="*/ 4530 w 4815"/>
              <a:gd name="T39" fmla="*/ 2783 h 4030"/>
              <a:gd name="T40" fmla="*/ 4579 w 4815"/>
              <a:gd name="T41" fmla="*/ 2688 h 4030"/>
              <a:gd name="T42" fmla="*/ 4597 w 4815"/>
              <a:gd name="T43" fmla="*/ 2579 h 4030"/>
              <a:gd name="T44" fmla="*/ 4593 w 4815"/>
              <a:gd name="T45" fmla="*/ 509 h 4030"/>
              <a:gd name="T46" fmla="*/ 4559 w 4815"/>
              <a:gd name="T47" fmla="*/ 405 h 4030"/>
              <a:gd name="T48" fmla="*/ 4496 w 4815"/>
              <a:gd name="T49" fmla="*/ 319 h 4030"/>
              <a:gd name="T50" fmla="*/ 4410 w 4815"/>
              <a:gd name="T51" fmla="*/ 256 h 4030"/>
              <a:gd name="T52" fmla="*/ 4306 w 4815"/>
              <a:gd name="T53" fmla="*/ 222 h 4030"/>
              <a:gd name="T54" fmla="*/ 565 w 4815"/>
              <a:gd name="T55" fmla="*/ 218 h 4030"/>
              <a:gd name="T56" fmla="*/ 4249 w 4815"/>
              <a:gd name="T57" fmla="*/ 0 h 4030"/>
              <a:gd name="T58" fmla="*/ 4389 w 4815"/>
              <a:gd name="T59" fmla="*/ 16 h 4030"/>
              <a:gd name="T60" fmla="*/ 4515 w 4815"/>
              <a:gd name="T61" fmla="*/ 66 h 4030"/>
              <a:gd name="T62" fmla="*/ 4625 w 4815"/>
              <a:gd name="T63" fmla="*/ 142 h 4030"/>
              <a:gd name="T64" fmla="*/ 4714 w 4815"/>
              <a:gd name="T65" fmla="*/ 243 h 4030"/>
              <a:gd name="T66" fmla="*/ 4777 w 4815"/>
              <a:gd name="T67" fmla="*/ 361 h 4030"/>
              <a:gd name="T68" fmla="*/ 4810 w 4815"/>
              <a:gd name="T69" fmla="*/ 494 h 4030"/>
              <a:gd name="T70" fmla="*/ 4815 w 4815"/>
              <a:gd name="T71" fmla="*/ 2579 h 4030"/>
              <a:gd name="T72" fmla="*/ 4797 w 4815"/>
              <a:gd name="T73" fmla="*/ 2717 h 4030"/>
              <a:gd name="T74" fmla="*/ 4749 w 4815"/>
              <a:gd name="T75" fmla="*/ 2844 h 4030"/>
              <a:gd name="T76" fmla="*/ 4673 w 4815"/>
              <a:gd name="T77" fmla="*/ 2954 h 4030"/>
              <a:gd name="T78" fmla="*/ 4572 w 4815"/>
              <a:gd name="T79" fmla="*/ 3043 h 4030"/>
              <a:gd name="T80" fmla="*/ 4454 w 4815"/>
              <a:gd name="T81" fmla="*/ 3106 h 4030"/>
              <a:gd name="T82" fmla="*/ 4321 w 4815"/>
              <a:gd name="T83" fmla="*/ 3139 h 4030"/>
              <a:gd name="T84" fmla="*/ 2225 w 4815"/>
              <a:gd name="T85" fmla="*/ 3144 h 4030"/>
              <a:gd name="T86" fmla="*/ 1693 w 4815"/>
              <a:gd name="T87" fmla="*/ 4001 h 4030"/>
              <a:gd name="T88" fmla="*/ 1645 w 4815"/>
              <a:gd name="T89" fmla="*/ 4027 h 4030"/>
              <a:gd name="T90" fmla="*/ 1617 w 4815"/>
              <a:gd name="T91" fmla="*/ 4030 h 4030"/>
              <a:gd name="T92" fmla="*/ 1563 w 4815"/>
              <a:gd name="T93" fmla="*/ 4015 h 4030"/>
              <a:gd name="T94" fmla="*/ 1523 w 4815"/>
              <a:gd name="T95" fmla="*/ 3977 h 4030"/>
              <a:gd name="T96" fmla="*/ 565 w 4815"/>
              <a:gd name="T97" fmla="*/ 3144 h 4030"/>
              <a:gd name="T98" fmla="*/ 427 w 4815"/>
              <a:gd name="T99" fmla="*/ 3126 h 4030"/>
              <a:gd name="T100" fmla="*/ 299 w 4815"/>
              <a:gd name="T101" fmla="*/ 3078 h 4030"/>
              <a:gd name="T102" fmla="*/ 190 w 4815"/>
              <a:gd name="T103" fmla="*/ 3001 h 4030"/>
              <a:gd name="T104" fmla="*/ 100 w 4815"/>
              <a:gd name="T105" fmla="*/ 2901 h 4030"/>
              <a:gd name="T106" fmla="*/ 38 w 4815"/>
              <a:gd name="T107" fmla="*/ 2783 h 4030"/>
              <a:gd name="T108" fmla="*/ 4 w 4815"/>
              <a:gd name="T109" fmla="*/ 2650 h 4030"/>
              <a:gd name="T110" fmla="*/ 0 w 4815"/>
              <a:gd name="T111" fmla="*/ 564 h 4030"/>
              <a:gd name="T112" fmla="*/ 17 w 4815"/>
              <a:gd name="T113" fmla="*/ 425 h 4030"/>
              <a:gd name="T114" fmla="*/ 65 w 4815"/>
              <a:gd name="T115" fmla="*/ 300 h 4030"/>
              <a:gd name="T116" fmla="*/ 143 w 4815"/>
              <a:gd name="T117" fmla="*/ 190 h 4030"/>
              <a:gd name="T118" fmla="*/ 242 w 4815"/>
              <a:gd name="T119" fmla="*/ 101 h 4030"/>
              <a:gd name="T120" fmla="*/ 361 w 4815"/>
              <a:gd name="T121" fmla="*/ 38 h 4030"/>
              <a:gd name="T122" fmla="*/ 494 w 4815"/>
              <a:gd name="T123" fmla="*/ 5 h 4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15" h="4030">
                <a:moveTo>
                  <a:pt x="565" y="218"/>
                </a:moveTo>
                <a:lnTo>
                  <a:pt x="508" y="222"/>
                </a:lnTo>
                <a:lnTo>
                  <a:pt x="456" y="235"/>
                </a:lnTo>
                <a:lnTo>
                  <a:pt x="406" y="256"/>
                </a:lnTo>
                <a:lnTo>
                  <a:pt x="359" y="285"/>
                </a:lnTo>
                <a:lnTo>
                  <a:pt x="320" y="319"/>
                </a:lnTo>
                <a:lnTo>
                  <a:pt x="285" y="360"/>
                </a:lnTo>
                <a:lnTo>
                  <a:pt x="257" y="405"/>
                </a:lnTo>
                <a:lnTo>
                  <a:pt x="235" y="454"/>
                </a:lnTo>
                <a:lnTo>
                  <a:pt x="222" y="509"/>
                </a:lnTo>
                <a:lnTo>
                  <a:pt x="217" y="564"/>
                </a:lnTo>
                <a:lnTo>
                  <a:pt x="217" y="2579"/>
                </a:lnTo>
                <a:lnTo>
                  <a:pt x="222" y="2636"/>
                </a:lnTo>
                <a:lnTo>
                  <a:pt x="235" y="2688"/>
                </a:lnTo>
                <a:lnTo>
                  <a:pt x="257" y="2738"/>
                </a:lnTo>
                <a:lnTo>
                  <a:pt x="285" y="2783"/>
                </a:lnTo>
                <a:lnTo>
                  <a:pt x="320" y="2824"/>
                </a:lnTo>
                <a:lnTo>
                  <a:pt x="359" y="2859"/>
                </a:lnTo>
                <a:lnTo>
                  <a:pt x="406" y="2887"/>
                </a:lnTo>
                <a:lnTo>
                  <a:pt x="456" y="2909"/>
                </a:lnTo>
                <a:lnTo>
                  <a:pt x="508" y="2922"/>
                </a:lnTo>
                <a:lnTo>
                  <a:pt x="565" y="2926"/>
                </a:lnTo>
                <a:lnTo>
                  <a:pt x="1087" y="2926"/>
                </a:lnTo>
                <a:lnTo>
                  <a:pt x="1115" y="2929"/>
                </a:lnTo>
                <a:lnTo>
                  <a:pt x="1142" y="2941"/>
                </a:lnTo>
                <a:lnTo>
                  <a:pt x="1163" y="2957"/>
                </a:lnTo>
                <a:lnTo>
                  <a:pt x="1181" y="2979"/>
                </a:lnTo>
                <a:lnTo>
                  <a:pt x="1618" y="3712"/>
                </a:lnTo>
                <a:lnTo>
                  <a:pt x="2072" y="2977"/>
                </a:lnTo>
                <a:lnTo>
                  <a:pt x="2089" y="2957"/>
                </a:lnTo>
                <a:lnTo>
                  <a:pt x="2111" y="2939"/>
                </a:lnTo>
                <a:lnTo>
                  <a:pt x="2136" y="2929"/>
                </a:lnTo>
                <a:lnTo>
                  <a:pt x="2164" y="2926"/>
                </a:lnTo>
                <a:lnTo>
                  <a:pt x="4249" y="2926"/>
                </a:lnTo>
                <a:lnTo>
                  <a:pt x="4306" y="2922"/>
                </a:lnTo>
                <a:lnTo>
                  <a:pt x="4360" y="2909"/>
                </a:lnTo>
                <a:lnTo>
                  <a:pt x="4410" y="2887"/>
                </a:lnTo>
                <a:lnTo>
                  <a:pt x="4455" y="2859"/>
                </a:lnTo>
                <a:lnTo>
                  <a:pt x="4496" y="2824"/>
                </a:lnTo>
                <a:lnTo>
                  <a:pt x="4530" y="2783"/>
                </a:lnTo>
                <a:lnTo>
                  <a:pt x="4559" y="2738"/>
                </a:lnTo>
                <a:lnTo>
                  <a:pt x="4579" y="2688"/>
                </a:lnTo>
                <a:lnTo>
                  <a:pt x="4593" y="2636"/>
                </a:lnTo>
                <a:lnTo>
                  <a:pt x="4597" y="2579"/>
                </a:lnTo>
                <a:lnTo>
                  <a:pt x="4597" y="564"/>
                </a:lnTo>
                <a:lnTo>
                  <a:pt x="4593" y="509"/>
                </a:lnTo>
                <a:lnTo>
                  <a:pt x="4579" y="454"/>
                </a:lnTo>
                <a:lnTo>
                  <a:pt x="4559" y="405"/>
                </a:lnTo>
                <a:lnTo>
                  <a:pt x="4530" y="360"/>
                </a:lnTo>
                <a:lnTo>
                  <a:pt x="4496" y="319"/>
                </a:lnTo>
                <a:lnTo>
                  <a:pt x="4455" y="285"/>
                </a:lnTo>
                <a:lnTo>
                  <a:pt x="4410" y="256"/>
                </a:lnTo>
                <a:lnTo>
                  <a:pt x="4360" y="235"/>
                </a:lnTo>
                <a:lnTo>
                  <a:pt x="4306" y="222"/>
                </a:lnTo>
                <a:lnTo>
                  <a:pt x="4249" y="218"/>
                </a:lnTo>
                <a:lnTo>
                  <a:pt x="565" y="218"/>
                </a:lnTo>
                <a:close/>
                <a:moveTo>
                  <a:pt x="565" y="0"/>
                </a:moveTo>
                <a:lnTo>
                  <a:pt x="4249" y="0"/>
                </a:lnTo>
                <a:lnTo>
                  <a:pt x="4321" y="5"/>
                </a:lnTo>
                <a:lnTo>
                  <a:pt x="4389" y="16"/>
                </a:lnTo>
                <a:lnTo>
                  <a:pt x="4454" y="38"/>
                </a:lnTo>
                <a:lnTo>
                  <a:pt x="4515" y="66"/>
                </a:lnTo>
                <a:lnTo>
                  <a:pt x="4572" y="101"/>
                </a:lnTo>
                <a:lnTo>
                  <a:pt x="4625" y="142"/>
                </a:lnTo>
                <a:lnTo>
                  <a:pt x="4673" y="190"/>
                </a:lnTo>
                <a:lnTo>
                  <a:pt x="4714" y="243"/>
                </a:lnTo>
                <a:lnTo>
                  <a:pt x="4749" y="300"/>
                </a:lnTo>
                <a:lnTo>
                  <a:pt x="4777" y="361"/>
                </a:lnTo>
                <a:lnTo>
                  <a:pt x="4797" y="425"/>
                </a:lnTo>
                <a:lnTo>
                  <a:pt x="4810" y="494"/>
                </a:lnTo>
                <a:lnTo>
                  <a:pt x="4815" y="564"/>
                </a:lnTo>
                <a:lnTo>
                  <a:pt x="4815" y="2579"/>
                </a:lnTo>
                <a:lnTo>
                  <a:pt x="4810" y="2650"/>
                </a:lnTo>
                <a:lnTo>
                  <a:pt x="4797" y="2717"/>
                </a:lnTo>
                <a:lnTo>
                  <a:pt x="4777" y="2783"/>
                </a:lnTo>
                <a:lnTo>
                  <a:pt x="4749" y="2844"/>
                </a:lnTo>
                <a:lnTo>
                  <a:pt x="4714" y="2901"/>
                </a:lnTo>
                <a:lnTo>
                  <a:pt x="4673" y="2954"/>
                </a:lnTo>
                <a:lnTo>
                  <a:pt x="4625" y="3001"/>
                </a:lnTo>
                <a:lnTo>
                  <a:pt x="4572" y="3043"/>
                </a:lnTo>
                <a:lnTo>
                  <a:pt x="4515" y="3078"/>
                </a:lnTo>
                <a:lnTo>
                  <a:pt x="4454" y="3106"/>
                </a:lnTo>
                <a:lnTo>
                  <a:pt x="4389" y="3126"/>
                </a:lnTo>
                <a:lnTo>
                  <a:pt x="4321" y="3139"/>
                </a:lnTo>
                <a:lnTo>
                  <a:pt x="4249" y="3144"/>
                </a:lnTo>
                <a:lnTo>
                  <a:pt x="2225" y="3144"/>
                </a:lnTo>
                <a:lnTo>
                  <a:pt x="1710" y="3979"/>
                </a:lnTo>
                <a:lnTo>
                  <a:pt x="1693" y="4001"/>
                </a:lnTo>
                <a:lnTo>
                  <a:pt x="1671" y="4017"/>
                </a:lnTo>
                <a:lnTo>
                  <a:pt x="1645" y="4027"/>
                </a:lnTo>
                <a:lnTo>
                  <a:pt x="1617" y="4030"/>
                </a:lnTo>
                <a:lnTo>
                  <a:pt x="1617" y="4030"/>
                </a:lnTo>
                <a:lnTo>
                  <a:pt x="1589" y="4027"/>
                </a:lnTo>
                <a:lnTo>
                  <a:pt x="1563" y="4015"/>
                </a:lnTo>
                <a:lnTo>
                  <a:pt x="1541" y="3999"/>
                </a:lnTo>
                <a:lnTo>
                  <a:pt x="1523" y="3977"/>
                </a:lnTo>
                <a:lnTo>
                  <a:pt x="1026" y="3144"/>
                </a:lnTo>
                <a:lnTo>
                  <a:pt x="565" y="3144"/>
                </a:lnTo>
                <a:lnTo>
                  <a:pt x="494" y="3139"/>
                </a:lnTo>
                <a:lnTo>
                  <a:pt x="427" y="3126"/>
                </a:lnTo>
                <a:lnTo>
                  <a:pt x="361" y="3106"/>
                </a:lnTo>
                <a:lnTo>
                  <a:pt x="299" y="3078"/>
                </a:lnTo>
                <a:lnTo>
                  <a:pt x="242" y="3043"/>
                </a:lnTo>
                <a:lnTo>
                  <a:pt x="190" y="3001"/>
                </a:lnTo>
                <a:lnTo>
                  <a:pt x="143" y="2954"/>
                </a:lnTo>
                <a:lnTo>
                  <a:pt x="100" y="2901"/>
                </a:lnTo>
                <a:lnTo>
                  <a:pt x="65" y="2844"/>
                </a:lnTo>
                <a:lnTo>
                  <a:pt x="38" y="2783"/>
                </a:lnTo>
                <a:lnTo>
                  <a:pt x="17" y="2717"/>
                </a:lnTo>
                <a:lnTo>
                  <a:pt x="4" y="2650"/>
                </a:lnTo>
                <a:lnTo>
                  <a:pt x="0" y="2579"/>
                </a:lnTo>
                <a:lnTo>
                  <a:pt x="0" y="564"/>
                </a:lnTo>
                <a:lnTo>
                  <a:pt x="4" y="494"/>
                </a:lnTo>
                <a:lnTo>
                  <a:pt x="17" y="425"/>
                </a:lnTo>
                <a:lnTo>
                  <a:pt x="38" y="361"/>
                </a:lnTo>
                <a:lnTo>
                  <a:pt x="65" y="300"/>
                </a:lnTo>
                <a:lnTo>
                  <a:pt x="100" y="243"/>
                </a:lnTo>
                <a:lnTo>
                  <a:pt x="143" y="190"/>
                </a:lnTo>
                <a:lnTo>
                  <a:pt x="190" y="142"/>
                </a:lnTo>
                <a:lnTo>
                  <a:pt x="242" y="101"/>
                </a:lnTo>
                <a:lnTo>
                  <a:pt x="299" y="66"/>
                </a:lnTo>
                <a:lnTo>
                  <a:pt x="361" y="38"/>
                </a:lnTo>
                <a:lnTo>
                  <a:pt x="427" y="16"/>
                </a:lnTo>
                <a:lnTo>
                  <a:pt x="494" y="5"/>
                </a:lnTo>
                <a:lnTo>
                  <a:pt x="565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60" name="Rectangle 7"/>
          <p:cNvSpPr>
            <a:spLocks noChangeArrowheads="1"/>
          </p:cNvSpPr>
          <p:nvPr/>
        </p:nvSpPr>
        <p:spPr bwMode="auto">
          <a:xfrm>
            <a:off x="2214118" y="4061336"/>
            <a:ext cx="21549" cy="94747"/>
          </a:xfrm>
          <a:prstGeom prst="rect">
            <a:avLst/>
          </a:prstGeom>
          <a:solidFill>
            <a:schemeClr val="accent6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61" name="Freeform 8"/>
          <p:cNvSpPr>
            <a:spLocks noEditPoints="1"/>
          </p:cNvSpPr>
          <p:nvPr/>
        </p:nvSpPr>
        <p:spPr bwMode="auto">
          <a:xfrm>
            <a:off x="2261314" y="4059912"/>
            <a:ext cx="91007" cy="97775"/>
          </a:xfrm>
          <a:custGeom>
            <a:avLst/>
            <a:gdLst>
              <a:gd name="T0" fmla="*/ 716 w 1533"/>
              <a:gd name="T1" fmla="*/ 289 h 1646"/>
              <a:gd name="T2" fmla="*/ 624 w 1533"/>
              <a:gd name="T3" fmla="*/ 317 h 1646"/>
              <a:gd name="T4" fmla="*/ 546 w 1533"/>
              <a:gd name="T5" fmla="*/ 368 h 1646"/>
              <a:gd name="T6" fmla="*/ 482 w 1533"/>
              <a:gd name="T7" fmla="*/ 441 h 1646"/>
              <a:gd name="T8" fmla="*/ 432 w 1533"/>
              <a:gd name="T9" fmla="*/ 532 h 1646"/>
              <a:gd name="T10" fmla="*/ 399 w 1533"/>
              <a:gd name="T11" fmla="*/ 641 h 1646"/>
              <a:gd name="T12" fmla="*/ 383 w 1533"/>
              <a:gd name="T13" fmla="*/ 762 h 1646"/>
              <a:gd name="T14" fmla="*/ 383 w 1533"/>
              <a:gd name="T15" fmla="*/ 898 h 1646"/>
              <a:gd name="T16" fmla="*/ 403 w 1533"/>
              <a:gd name="T17" fmla="*/ 1026 h 1646"/>
              <a:gd name="T18" fmla="*/ 443 w 1533"/>
              <a:gd name="T19" fmla="*/ 1139 h 1646"/>
              <a:gd name="T20" fmla="*/ 500 w 1533"/>
              <a:gd name="T21" fmla="*/ 1231 h 1646"/>
              <a:gd name="T22" fmla="*/ 574 w 1533"/>
              <a:gd name="T23" fmla="*/ 1301 h 1646"/>
              <a:gd name="T24" fmla="*/ 663 w 1533"/>
              <a:gd name="T25" fmla="*/ 1345 h 1646"/>
              <a:gd name="T26" fmla="*/ 769 w 1533"/>
              <a:gd name="T27" fmla="*/ 1359 h 1646"/>
              <a:gd name="T28" fmla="*/ 867 w 1533"/>
              <a:gd name="T29" fmla="*/ 1346 h 1646"/>
              <a:gd name="T30" fmla="*/ 951 w 1533"/>
              <a:gd name="T31" fmla="*/ 1307 h 1646"/>
              <a:gd name="T32" fmla="*/ 1022 w 1533"/>
              <a:gd name="T33" fmla="*/ 1244 h 1646"/>
              <a:gd name="T34" fmla="*/ 1079 w 1533"/>
              <a:gd name="T35" fmla="*/ 1161 h 1646"/>
              <a:gd name="T36" fmla="*/ 1118 w 1533"/>
              <a:gd name="T37" fmla="*/ 1060 h 1646"/>
              <a:gd name="T38" fmla="*/ 1144 w 1533"/>
              <a:gd name="T39" fmla="*/ 945 h 1646"/>
              <a:gd name="T40" fmla="*/ 1152 w 1533"/>
              <a:gd name="T41" fmla="*/ 818 h 1646"/>
              <a:gd name="T42" fmla="*/ 1144 w 1533"/>
              <a:gd name="T43" fmla="*/ 698 h 1646"/>
              <a:gd name="T44" fmla="*/ 1120 w 1533"/>
              <a:gd name="T45" fmla="*/ 587 h 1646"/>
              <a:gd name="T46" fmla="*/ 1079 w 1533"/>
              <a:gd name="T47" fmla="*/ 488 h 1646"/>
              <a:gd name="T48" fmla="*/ 1023 w 1533"/>
              <a:gd name="T49" fmla="*/ 405 h 1646"/>
              <a:gd name="T50" fmla="*/ 951 w 1533"/>
              <a:gd name="T51" fmla="*/ 342 h 1646"/>
              <a:gd name="T52" fmla="*/ 867 w 1533"/>
              <a:gd name="T53" fmla="*/ 301 h 1646"/>
              <a:gd name="T54" fmla="*/ 766 w 1533"/>
              <a:gd name="T55" fmla="*/ 286 h 1646"/>
              <a:gd name="T56" fmla="*/ 855 w 1533"/>
              <a:gd name="T57" fmla="*/ 3 h 1646"/>
              <a:gd name="T58" fmla="*/ 1003 w 1533"/>
              <a:gd name="T59" fmla="*/ 29 h 1646"/>
              <a:gd name="T60" fmla="*/ 1131 w 1533"/>
              <a:gd name="T61" fmla="*/ 77 h 1646"/>
              <a:gd name="T62" fmla="*/ 1244 w 1533"/>
              <a:gd name="T63" fmla="*/ 149 h 1646"/>
              <a:gd name="T64" fmla="*/ 1339 w 1533"/>
              <a:gd name="T65" fmla="*/ 238 h 1646"/>
              <a:gd name="T66" fmla="*/ 1415 w 1533"/>
              <a:gd name="T67" fmla="*/ 343 h 1646"/>
              <a:gd name="T68" fmla="*/ 1472 w 1533"/>
              <a:gd name="T69" fmla="*/ 463 h 1646"/>
              <a:gd name="T70" fmla="*/ 1512 w 1533"/>
              <a:gd name="T71" fmla="*/ 593 h 1646"/>
              <a:gd name="T72" fmla="*/ 1531 w 1533"/>
              <a:gd name="T73" fmla="*/ 733 h 1646"/>
              <a:gd name="T74" fmla="*/ 1531 w 1533"/>
              <a:gd name="T75" fmla="*/ 897 h 1646"/>
              <a:gd name="T76" fmla="*/ 1506 w 1533"/>
              <a:gd name="T77" fmla="*/ 1063 h 1646"/>
              <a:gd name="T78" fmla="*/ 1456 w 1533"/>
              <a:gd name="T79" fmla="*/ 1210 h 1646"/>
              <a:gd name="T80" fmla="*/ 1384 w 1533"/>
              <a:gd name="T81" fmla="*/ 1339 h 1646"/>
              <a:gd name="T82" fmla="*/ 1292 w 1533"/>
              <a:gd name="T83" fmla="*/ 1447 h 1646"/>
              <a:gd name="T84" fmla="*/ 1181 w 1533"/>
              <a:gd name="T85" fmla="*/ 1532 h 1646"/>
              <a:gd name="T86" fmla="*/ 1052 w 1533"/>
              <a:gd name="T87" fmla="*/ 1594 h 1646"/>
              <a:gd name="T88" fmla="*/ 908 w 1533"/>
              <a:gd name="T89" fmla="*/ 1632 h 1646"/>
              <a:gd name="T90" fmla="*/ 750 w 1533"/>
              <a:gd name="T91" fmla="*/ 1646 h 1646"/>
              <a:gd name="T92" fmla="*/ 590 w 1533"/>
              <a:gd name="T93" fmla="*/ 1631 h 1646"/>
              <a:gd name="T94" fmla="*/ 448 w 1533"/>
              <a:gd name="T95" fmla="*/ 1590 h 1646"/>
              <a:gd name="T96" fmla="*/ 326 w 1533"/>
              <a:gd name="T97" fmla="*/ 1523 h 1646"/>
              <a:gd name="T98" fmla="*/ 220 w 1533"/>
              <a:gd name="T99" fmla="*/ 1435 h 1646"/>
              <a:gd name="T100" fmla="*/ 134 w 1533"/>
              <a:gd name="T101" fmla="*/ 1327 h 1646"/>
              <a:gd name="T102" fmla="*/ 68 w 1533"/>
              <a:gd name="T103" fmla="*/ 1203 h 1646"/>
              <a:gd name="T104" fmla="*/ 24 w 1533"/>
              <a:gd name="T105" fmla="*/ 1064 h 1646"/>
              <a:gd name="T106" fmla="*/ 2 w 1533"/>
              <a:gd name="T107" fmla="*/ 914 h 1646"/>
              <a:gd name="T108" fmla="*/ 2 w 1533"/>
              <a:gd name="T109" fmla="*/ 752 h 1646"/>
              <a:gd name="T110" fmla="*/ 27 w 1533"/>
              <a:gd name="T111" fmla="*/ 594 h 1646"/>
              <a:gd name="T112" fmla="*/ 74 w 1533"/>
              <a:gd name="T113" fmla="*/ 450 h 1646"/>
              <a:gd name="T114" fmla="*/ 144 w 1533"/>
              <a:gd name="T115" fmla="*/ 323 h 1646"/>
              <a:gd name="T116" fmla="*/ 235 w 1533"/>
              <a:gd name="T117" fmla="*/ 212 h 1646"/>
              <a:gd name="T118" fmla="*/ 345 w 1533"/>
              <a:gd name="T119" fmla="*/ 123 h 1646"/>
              <a:gd name="T120" fmla="*/ 472 w 1533"/>
              <a:gd name="T121" fmla="*/ 56 h 1646"/>
              <a:gd name="T122" fmla="*/ 617 w 1533"/>
              <a:gd name="T123" fmla="*/ 15 h 1646"/>
              <a:gd name="T124" fmla="*/ 776 w 1533"/>
              <a:gd name="T125" fmla="*/ 0 h 1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33" h="1646">
                <a:moveTo>
                  <a:pt x="766" y="286"/>
                </a:moveTo>
                <a:lnTo>
                  <a:pt x="716" y="289"/>
                </a:lnTo>
                <a:lnTo>
                  <a:pt x="668" y="299"/>
                </a:lnTo>
                <a:lnTo>
                  <a:pt x="624" y="317"/>
                </a:lnTo>
                <a:lnTo>
                  <a:pt x="583" y="339"/>
                </a:lnTo>
                <a:lnTo>
                  <a:pt x="546" y="368"/>
                </a:lnTo>
                <a:lnTo>
                  <a:pt x="511" y="402"/>
                </a:lnTo>
                <a:lnTo>
                  <a:pt x="482" y="441"/>
                </a:lnTo>
                <a:lnTo>
                  <a:pt x="456" y="483"/>
                </a:lnTo>
                <a:lnTo>
                  <a:pt x="432" y="532"/>
                </a:lnTo>
                <a:lnTo>
                  <a:pt x="415" y="584"/>
                </a:lnTo>
                <a:lnTo>
                  <a:pt x="399" y="641"/>
                </a:lnTo>
                <a:lnTo>
                  <a:pt x="388" y="699"/>
                </a:lnTo>
                <a:lnTo>
                  <a:pt x="383" y="762"/>
                </a:lnTo>
                <a:lnTo>
                  <a:pt x="380" y="828"/>
                </a:lnTo>
                <a:lnTo>
                  <a:pt x="383" y="898"/>
                </a:lnTo>
                <a:lnTo>
                  <a:pt x="390" y="964"/>
                </a:lnTo>
                <a:lnTo>
                  <a:pt x="403" y="1026"/>
                </a:lnTo>
                <a:lnTo>
                  <a:pt x="421" y="1085"/>
                </a:lnTo>
                <a:lnTo>
                  <a:pt x="443" y="1139"/>
                </a:lnTo>
                <a:lnTo>
                  <a:pt x="469" y="1189"/>
                </a:lnTo>
                <a:lnTo>
                  <a:pt x="500" y="1231"/>
                </a:lnTo>
                <a:lnTo>
                  <a:pt x="535" y="1269"/>
                </a:lnTo>
                <a:lnTo>
                  <a:pt x="574" y="1301"/>
                </a:lnTo>
                <a:lnTo>
                  <a:pt x="617" y="1326"/>
                </a:lnTo>
                <a:lnTo>
                  <a:pt x="663" y="1345"/>
                </a:lnTo>
                <a:lnTo>
                  <a:pt x="715" y="1355"/>
                </a:lnTo>
                <a:lnTo>
                  <a:pt x="769" y="1359"/>
                </a:lnTo>
                <a:lnTo>
                  <a:pt x="820" y="1356"/>
                </a:lnTo>
                <a:lnTo>
                  <a:pt x="867" y="1346"/>
                </a:lnTo>
                <a:lnTo>
                  <a:pt x="911" y="1329"/>
                </a:lnTo>
                <a:lnTo>
                  <a:pt x="951" y="1307"/>
                </a:lnTo>
                <a:lnTo>
                  <a:pt x="988" y="1278"/>
                </a:lnTo>
                <a:lnTo>
                  <a:pt x="1022" y="1244"/>
                </a:lnTo>
                <a:lnTo>
                  <a:pt x="1052" y="1205"/>
                </a:lnTo>
                <a:lnTo>
                  <a:pt x="1079" y="1161"/>
                </a:lnTo>
                <a:lnTo>
                  <a:pt x="1101" y="1113"/>
                </a:lnTo>
                <a:lnTo>
                  <a:pt x="1118" y="1060"/>
                </a:lnTo>
                <a:lnTo>
                  <a:pt x="1133" y="1005"/>
                </a:lnTo>
                <a:lnTo>
                  <a:pt x="1144" y="945"/>
                </a:lnTo>
                <a:lnTo>
                  <a:pt x="1150" y="883"/>
                </a:lnTo>
                <a:lnTo>
                  <a:pt x="1152" y="818"/>
                </a:lnTo>
                <a:lnTo>
                  <a:pt x="1150" y="758"/>
                </a:lnTo>
                <a:lnTo>
                  <a:pt x="1144" y="698"/>
                </a:lnTo>
                <a:lnTo>
                  <a:pt x="1134" y="641"/>
                </a:lnTo>
                <a:lnTo>
                  <a:pt x="1120" y="587"/>
                </a:lnTo>
                <a:lnTo>
                  <a:pt x="1101" y="536"/>
                </a:lnTo>
                <a:lnTo>
                  <a:pt x="1079" y="488"/>
                </a:lnTo>
                <a:lnTo>
                  <a:pt x="1052" y="444"/>
                </a:lnTo>
                <a:lnTo>
                  <a:pt x="1023" y="405"/>
                </a:lnTo>
                <a:lnTo>
                  <a:pt x="989" y="371"/>
                </a:lnTo>
                <a:lnTo>
                  <a:pt x="951" y="342"/>
                </a:lnTo>
                <a:lnTo>
                  <a:pt x="911" y="318"/>
                </a:lnTo>
                <a:lnTo>
                  <a:pt x="867" y="301"/>
                </a:lnTo>
                <a:lnTo>
                  <a:pt x="818" y="289"/>
                </a:lnTo>
                <a:lnTo>
                  <a:pt x="766" y="286"/>
                </a:lnTo>
                <a:close/>
                <a:moveTo>
                  <a:pt x="776" y="0"/>
                </a:moveTo>
                <a:lnTo>
                  <a:pt x="855" y="3"/>
                </a:lnTo>
                <a:lnTo>
                  <a:pt x="931" y="13"/>
                </a:lnTo>
                <a:lnTo>
                  <a:pt x="1003" y="29"/>
                </a:lnTo>
                <a:lnTo>
                  <a:pt x="1068" y="51"/>
                </a:lnTo>
                <a:lnTo>
                  <a:pt x="1131" y="77"/>
                </a:lnTo>
                <a:lnTo>
                  <a:pt x="1190" y="111"/>
                </a:lnTo>
                <a:lnTo>
                  <a:pt x="1244" y="149"/>
                </a:lnTo>
                <a:lnTo>
                  <a:pt x="1294" y="191"/>
                </a:lnTo>
                <a:lnTo>
                  <a:pt x="1339" y="238"/>
                </a:lnTo>
                <a:lnTo>
                  <a:pt x="1378" y="289"/>
                </a:lnTo>
                <a:lnTo>
                  <a:pt x="1415" y="343"/>
                </a:lnTo>
                <a:lnTo>
                  <a:pt x="1446" y="402"/>
                </a:lnTo>
                <a:lnTo>
                  <a:pt x="1472" y="463"/>
                </a:lnTo>
                <a:lnTo>
                  <a:pt x="1494" y="527"/>
                </a:lnTo>
                <a:lnTo>
                  <a:pt x="1512" y="593"/>
                </a:lnTo>
                <a:lnTo>
                  <a:pt x="1523" y="663"/>
                </a:lnTo>
                <a:lnTo>
                  <a:pt x="1531" y="733"/>
                </a:lnTo>
                <a:lnTo>
                  <a:pt x="1533" y="806"/>
                </a:lnTo>
                <a:lnTo>
                  <a:pt x="1531" y="897"/>
                </a:lnTo>
                <a:lnTo>
                  <a:pt x="1520" y="981"/>
                </a:lnTo>
                <a:lnTo>
                  <a:pt x="1506" y="1063"/>
                </a:lnTo>
                <a:lnTo>
                  <a:pt x="1484" y="1139"/>
                </a:lnTo>
                <a:lnTo>
                  <a:pt x="1456" y="1210"/>
                </a:lnTo>
                <a:lnTo>
                  <a:pt x="1422" y="1278"/>
                </a:lnTo>
                <a:lnTo>
                  <a:pt x="1384" y="1339"/>
                </a:lnTo>
                <a:lnTo>
                  <a:pt x="1340" y="1396"/>
                </a:lnTo>
                <a:lnTo>
                  <a:pt x="1292" y="1447"/>
                </a:lnTo>
                <a:lnTo>
                  <a:pt x="1238" y="1492"/>
                </a:lnTo>
                <a:lnTo>
                  <a:pt x="1181" y="1532"/>
                </a:lnTo>
                <a:lnTo>
                  <a:pt x="1118" y="1567"/>
                </a:lnTo>
                <a:lnTo>
                  <a:pt x="1052" y="1594"/>
                </a:lnTo>
                <a:lnTo>
                  <a:pt x="982" y="1616"/>
                </a:lnTo>
                <a:lnTo>
                  <a:pt x="908" y="1632"/>
                </a:lnTo>
                <a:lnTo>
                  <a:pt x="830" y="1643"/>
                </a:lnTo>
                <a:lnTo>
                  <a:pt x="750" y="1646"/>
                </a:lnTo>
                <a:lnTo>
                  <a:pt x="668" y="1641"/>
                </a:lnTo>
                <a:lnTo>
                  <a:pt x="590" y="1631"/>
                </a:lnTo>
                <a:lnTo>
                  <a:pt x="517" y="1613"/>
                </a:lnTo>
                <a:lnTo>
                  <a:pt x="448" y="1590"/>
                </a:lnTo>
                <a:lnTo>
                  <a:pt x="384" y="1559"/>
                </a:lnTo>
                <a:lnTo>
                  <a:pt x="326" y="1523"/>
                </a:lnTo>
                <a:lnTo>
                  <a:pt x="270" y="1482"/>
                </a:lnTo>
                <a:lnTo>
                  <a:pt x="220" y="1435"/>
                </a:lnTo>
                <a:lnTo>
                  <a:pt x="175" y="1384"/>
                </a:lnTo>
                <a:lnTo>
                  <a:pt x="134" y="1327"/>
                </a:lnTo>
                <a:lnTo>
                  <a:pt x="99" y="1267"/>
                </a:lnTo>
                <a:lnTo>
                  <a:pt x="68" y="1203"/>
                </a:lnTo>
                <a:lnTo>
                  <a:pt x="43" y="1136"/>
                </a:lnTo>
                <a:lnTo>
                  <a:pt x="24" y="1064"/>
                </a:lnTo>
                <a:lnTo>
                  <a:pt x="10" y="990"/>
                </a:lnTo>
                <a:lnTo>
                  <a:pt x="2" y="914"/>
                </a:lnTo>
                <a:lnTo>
                  <a:pt x="0" y="834"/>
                </a:lnTo>
                <a:lnTo>
                  <a:pt x="2" y="752"/>
                </a:lnTo>
                <a:lnTo>
                  <a:pt x="11" y="672"/>
                </a:lnTo>
                <a:lnTo>
                  <a:pt x="27" y="594"/>
                </a:lnTo>
                <a:lnTo>
                  <a:pt x="48" y="520"/>
                </a:lnTo>
                <a:lnTo>
                  <a:pt x="74" y="450"/>
                </a:lnTo>
                <a:lnTo>
                  <a:pt x="106" y="384"/>
                </a:lnTo>
                <a:lnTo>
                  <a:pt x="144" y="323"/>
                </a:lnTo>
                <a:lnTo>
                  <a:pt x="187" y="264"/>
                </a:lnTo>
                <a:lnTo>
                  <a:pt x="235" y="212"/>
                </a:lnTo>
                <a:lnTo>
                  <a:pt x="288" y="165"/>
                </a:lnTo>
                <a:lnTo>
                  <a:pt x="345" y="123"/>
                </a:lnTo>
                <a:lnTo>
                  <a:pt x="406" y="86"/>
                </a:lnTo>
                <a:lnTo>
                  <a:pt x="472" y="56"/>
                </a:lnTo>
                <a:lnTo>
                  <a:pt x="542" y="32"/>
                </a:lnTo>
                <a:lnTo>
                  <a:pt x="617" y="15"/>
                </a:lnTo>
                <a:lnTo>
                  <a:pt x="694" y="3"/>
                </a:lnTo>
                <a:lnTo>
                  <a:pt x="776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62" name="Freeform 9"/>
          <p:cNvSpPr>
            <a:spLocks/>
          </p:cNvSpPr>
          <p:nvPr/>
        </p:nvSpPr>
        <p:spPr bwMode="auto">
          <a:xfrm>
            <a:off x="2366569" y="4061336"/>
            <a:ext cx="72841" cy="94747"/>
          </a:xfrm>
          <a:custGeom>
            <a:avLst/>
            <a:gdLst>
              <a:gd name="T0" fmla="*/ 0 w 1227"/>
              <a:gd name="T1" fmla="*/ 0 h 1594"/>
              <a:gd name="T2" fmla="*/ 1227 w 1227"/>
              <a:gd name="T3" fmla="*/ 0 h 1594"/>
              <a:gd name="T4" fmla="*/ 1227 w 1227"/>
              <a:gd name="T5" fmla="*/ 304 h 1594"/>
              <a:gd name="T6" fmla="*/ 791 w 1227"/>
              <a:gd name="T7" fmla="*/ 304 h 1594"/>
              <a:gd name="T8" fmla="*/ 791 w 1227"/>
              <a:gd name="T9" fmla="*/ 1594 h 1594"/>
              <a:gd name="T10" fmla="*/ 428 w 1227"/>
              <a:gd name="T11" fmla="*/ 1594 h 1594"/>
              <a:gd name="T12" fmla="*/ 428 w 1227"/>
              <a:gd name="T13" fmla="*/ 304 h 1594"/>
              <a:gd name="T14" fmla="*/ 0 w 1227"/>
              <a:gd name="T15" fmla="*/ 304 h 1594"/>
              <a:gd name="T16" fmla="*/ 0 w 1227"/>
              <a:gd name="T17" fmla="*/ 0 h 15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27" h="1594">
                <a:moveTo>
                  <a:pt x="0" y="0"/>
                </a:moveTo>
                <a:lnTo>
                  <a:pt x="1227" y="0"/>
                </a:lnTo>
                <a:lnTo>
                  <a:pt x="1227" y="304"/>
                </a:lnTo>
                <a:lnTo>
                  <a:pt x="791" y="304"/>
                </a:lnTo>
                <a:lnTo>
                  <a:pt x="791" y="1594"/>
                </a:lnTo>
                <a:lnTo>
                  <a:pt x="428" y="1594"/>
                </a:lnTo>
                <a:lnTo>
                  <a:pt x="428" y="304"/>
                </a:lnTo>
                <a:lnTo>
                  <a:pt x="0" y="30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63" name="Freeform 6"/>
          <p:cNvSpPr>
            <a:spLocks noEditPoints="1"/>
          </p:cNvSpPr>
          <p:nvPr/>
        </p:nvSpPr>
        <p:spPr bwMode="auto">
          <a:xfrm>
            <a:off x="1895943" y="4205326"/>
            <a:ext cx="285843" cy="239181"/>
          </a:xfrm>
          <a:custGeom>
            <a:avLst/>
            <a:gdLst>
              <a:gd name="T0" fmla="*/ 508 w 4815"/>
              <a:gd name="T1" fmla="*/ 222 h 4030"/>
              <a:gd name="T2" fmla="*/ 406 w 4815"/>
              <a:gd name="T3" fmla="*/ 256 h 4030"/>
              <a:gd name="T4" fmla="*/ 320 w 4815"/>
              <a:gd name="T5" fmla="*/ 319 h 4030"/>
              <a:gd name="T6" fmla="*/ 257 w 4815"/>
              <a:gd name="T7" fmla="*/ 405 h 4030"/>
              <a:gd name="T8" fmla="*/ 222 w 4815"/>
              <a:gd name="T9" fmla="*/ 509 h 4030"/>
              <a:gd name="T10" fmla="*/ 217 w 4815"/>
              <a:gd name="T11" fmla="*/ 2579 h 4030"/>
              <a:gd name="T12" fmla="*/ 235 w 4815"/>
              <a:gd name="T13" fmla="*/ 2688 h 4030"/>
              <a:gd name="T14" fmla="*/ 285 w 4815"/>
              <a:gd name="T15" fmla="*/ 2783 h 4030"/>
              <a:gd name="T16" fmla="*/ 359 w 4815"/>
              <a:gd name="T17" fmla="*/ 2859 h 4030"/>
              <a:gd name="T18" fmla="*/ 456 w 4815"/>
              <a:gd name="T19" fmla="*/ 2909 h 4030"/>
              <a:gd name="T20" fmla="*/ 565 w 4815"/>
              <a:gd name="T21" fmla="*/ 2926 h 4030"/>
              <a:gd name="T22" fmla="*/ 1115 w 4815"/>
              <a:gd name="T23" fmla="*/ 2929 h 4030"/>
              <a:gd name="T24" fmla="*/ 1163 w 4815"/>
              <a:gd name="T25" fmla="*/ 2957 h 4030"/>
              <a:gd name="T26" fmla="*/ 1618 w 4815"/>
              <a:gd name="T27" fmla="*/ 3712 h 4030"/>
              <a:gd name="T28" fmla="*/ 2089 w 4815"/>
              <a:gd name="T29" fmla="*/ 2957 h 4030"/>
              <a:gd name="T30" fmla="*/ 2136 w 4815"/>
              <a:gd name="T31" fmla="*/ 2929 h 4030"/>
              <a:gd name="T32" fmla="*/ 4249 w 4815"/>
              <a:gd name="T33" fmla="*/ 2926 h 4030"/>
              <a:gd name="T34" fmla="*/ 4360 w 4815"/>
              <a:gd name="T35" fmla="*/ 2909 h 4030"/>
              <a:gd name="T36" fmla="*/ 4455 w 4815"/>
              <a:gd name="T37" fmla="*/ 2859 h 4030"/>
              <a:gd name="T38" fmla="*/ 4530 w 4815"/>
              <a:gd name="T39" fmla="*/ 2783 h 4030"/>
              <a:gd name="T40" fmla="*/ 4579 w 4815"/>
              <a:gd name="T41" fmla="*/ 2688 h 4030"/>
              <a:gd name="T42" fmla="*/ 4597 w 4815"/>
              <a:gd name="T43" fmla="*/ 2579 h 4030"/>
              <a:gd name="T44" fmla="*/ 4593 w 4815"/>
              <a:gd name="T45" fmla="*/ 509 h 4030"/>
              <a:gd name="T46" fmla="*/ 4559 w 4815"/>
              <a:gd name="T47" fmla="*/ 405 h 4030"/>
              <a:gd name="T48" fmla="*/ 4496 w 4815"/>
              <a:gd name="T49" fmla="*/ 319 h 4030"/>
              <a:gd name="T50" fmla="*/ 4410 w 4815"/>
              <a:gd name="T51" fmla="*/ 256 h 4030"/>
              <a:gd name="T52" fmla="*/ 4306 w 4815"/>
              <a:gd name="T53" fmla="*/ 222 h 4030"/>
              <a:gd name="T54" fmla="*/ 565 w 4815"/>
              <a:gd name="T55" fmla="*/ 218 h 4030"/>
              <a:gd name="T56" fmla="*/ 4249 w 4815"/>
              <a:gd name="T57" fmla="*/ 0 h 4030"/>
              <a:gd name="T58" fmla="*/ 4389 w 4815"/>
              <a:gd name="T59" fmla="*/ 16 h 4030"/>
              <a:gd name="T60" fmla="*/ 4515 w 4815"/>
              <a:gd name="T61" fmla="*/ 66 h 4030"/>
              <a:gd name="T62" fmla="*/ 4625 w 4815"/>
              <a:gd name="T63" fmla="*/ 142 h 4030"/>
              <a:gd name="T64" fmla="*/ 4714 w 4815"/>
              <a:gd name="T65" fmla="*/ 243 h 4030"/>
              <a:gd name="T66" fmla="*/ 4777 w 4815"/>
              <a:gd name="T67" fmla="*/ 361 h 4030"/>
              <a:gd name="T68" fmla="*/ 4810 w 4815"/>
              <a:gd name="T69" fmla="*/ 494 h 4030"/>
              <a:gd name="T70" fmla="*/ 4815 w 4815"/>
              <a:gd name="T71" fmla="*/ 2579 h 4030"/>
              <a:gd name="T72" fmla="*/ 4797 w 4815"/>
              <a:gd name="T73" fmla="*/ 2717 h 4030"/>
              <a:gd name="T74" fmla="*/ 4749 w 4815"/>
              <a:gd name="T75" fmla="*/ 2844 h 4030"/>
              <a:gd name="T76" fmla="*/ 4673 w 4815"/>
              <a:gd name="T77" fmla="*/ 2954 h 4030"/>
              <a:gd name="T78" fmla="*/ 4572 w 4815"/>
              <a:gd name="T79" fmla="*/ 3043 h 4030"/>
              <a:gd name="T80" fmla="*/ 4454 w 4815"/>
              <a:gd name="T81" fmla="*/ 3106 h 4030"/>
              <a:gd name="T82" fmla="*/ 4321 w 4815"/>
              <a:gd name="T83" fmla="*/ 3139 h 4030"/>
              <a:gd name="T84" fmla="*/ 2225 w 4815"/>
              <a:gd name="T85" fmla="*/ 3144 h 4030"/>
              <a:gd name="T86" fmla="*/ 1693 w 4815"/>
              <a:gd name="T87" fmla="*/ 4001 h 4030"/>
              <a:gd name="T88" fmla="*/ 1645 w 4815"/>
              <a:gd name="T89" fmla="*/ 4027 h 4030"/>
              <a:gd name="T90" fmla="*/ 1617 w 4815"/>
              <a:gd name="T91" fmla="*/ 4030 h 4030"/>
              <a:gd name="T92" fmla="*/ 1563 w 4815"/>
              <a:gd name="T93" fmla="*/ 4015 h 4030"/>
              <a:gd name="T94" fmla="*/ 1523 w 4815"/>
              <a:gd name="T95" fmla="*/ 3977 h 4030"/>
              <a:gd name="T96" fmla="*/ 565 w 4815"/>
              <a:gd name="T97" fmla="*/ 3144 h 4030"/>
              <a:gd name="T98" fmla="*/ 427 w 4815"/>
              <a:gd name="T99" fmla="*/ 3126 h 4030"/>
              <a:gd name="T100" fmla="*/ 299 w 4815"/>
              <a:gd name="T101" fmla="*/ 3078 h 4030"/>
              <a:gd name="T102" fmla="*/ 190 w 4815"/>
              <a:gd name="T103" fmla="*/ 3001 h 4030"/>
              <a:gd name="T104" fmla="*/ 100 w 4815"/>
              <a:gd name="T105" fmla="*/ 2901 h 4030"/>
              <a:gd name="T106" fmla="*/ 38 w 4815"/>
              <a:gd name="T107" fmla="*/ 2783 h 4030"/>
              <a:gd name="T108" fmla="*/ 4 w 4815"/>
              <a:gd name="T109" fmla="*/ 2650 h 4030"/>
              <a:gd name="T110" fmla="*/ 0 w 4815"/>
              <a:gd name="T111" fmla="*/ 564 h 4030"/>
              <a:gd name="T112" fmla="*/ 17 w 4815"/>
              <a:gd name="T113" fmla="*/ 425 h 4030"/>
              <a:gd name="T114" fmla="*/ 65 w 4815"/>
              <a:gd name="T115" fmla="*/ 300 h 4030"/>
              <a:gd name="T116" fmla="*/ 143 w 4815"/>
              <a:gd name="T117" fmla="*/ 190 h 4030"/>
              <a:gd name="T118" fmla="*/ 242 w 4815"/>
              <a:gd name="T119" fmla="*/ 101 h 4030"/>
              <a:gd name="T120" fmla="*/ 361 w 4815"/>
              <a:gd name="T121" fmla="*/ 38 h 4030"/>
              <a:gd name="T122" fmla="*/ 494 w 4815"/>
              <a:gd name="T123" fmla="*/ 5 h 4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15" h="4030">
                <a:moveTo>
                  <a:pt x="565" y="218"/>
                </a:moveTo>
                <a:lnTo>
                  <a:pt x="508" y="222"/>
                </a:lnTo>
                <a:lnTo>
                  <a:pt x="456" y="235"/>
                </a:lnTo>
                <a:lnTo>
                  <a:pt x="406" y="256"/>
                </a:lnTo>
                <a:lnTo>
                  <a:pt x="359" y="285"/>
                </a:lnTo>
                <a:lnTo>
                  <a:pt x="320" y="319"/>
                </a:lnTo>
                <a:lnTo>
                  <a:pt x="285" y="360"/>
                </a:lnTo>
                <a:lnTo>
                  <a:pt x="257" y="405"/>
                </a:lnTo>
                <a:lnTo>
                  <a:pt x="235" y="454"/>
                </a:lnTo>
                <a:lnTo>
                  <a:pt x="222" y="509"/>
                </a:lnTo>
                <a:lnTo>
                  <a:pt x="217" y="564"/>
                </a:lnTo>
                <a:lnTo>
                  <a:pt x="217" y="2579"/>
                </a:lnTo>
                <a:lnTo>
                  <a:pt x="222" y="2636"/>
                </a:lnTo>
                <a:lnTo>
                  <a:pt x="235" y="2688"/>
                </a:lnTo>
                <a:lnTo>
                  <a:pt x="257" y="2738"/>
                </a:lnTo>
                <a:lnTo>
                  <a:pt x="285" y="2783"/>
                </a:lnTo>
                <a:lnTo>
                  <a:pt x="320" y="2824"/>
                </a:lnTo>
                <a:lnTo>
                  <a:pt x="359" y="2859"/>
                </a:lnTo>
                <a:lnTo>
                  <a:pt x="406" y="2887"/>
                </a:lnTo>
                <a:lnTo>
                  <a:pt x="456" y="2909"/>
                </a:lnTo>
                <a:lnTo>
                  <a:pt x="508" y="2922"/>
                </a:lnTo>
                <a:lnTo>
                  <a:pt x="565" y="2926"/>
                </a:lnTo>
                <a:lnTo>
                  <a:pt x="1087" y="2926"/>
                </a:lnTo>
                <a:lnTo>
                  <a:pt x="1115" y="2929"/>
                </a:lnTo>
                <a:lnTo>
                  <a:pt x="1142" y="2941"/>
                </a:lnTo>
                <a:lnTo>
                  <a:pt x="1163" y="2957"/>
                </a:lnTo>
                <a:lnTo>
                  <a:pt x="1181" y="2979"/>
                </a:lnTo>
                <a:lnTo>
                  <a:pt x="1618" y="3712"/>
                </a:lnTo>
                <a:lnTo>
                  <a:pt x="2072" y="2977"/>
                </a:lnTo>
                <a:lnTo>
                  <a:pt x="2089" y="2957"/>
                </a:lnTo>
                <a:lnTo>
                  <a:pt x="2111" y="2939"/>
                </a:lnTo>
                <a:lnTo>
                  <a:pt x="2136" y="2929"/>
                </a:lnTo>
                <a:lnTo>
                  <a:pt x="2164" y="2926"/>
                </a:lnTo>
                <a:lnTo>
                  <a:pt x="4249" y="2926"/>
                </a:lnTo>
                <a:lnTo>
                  <a:pt x="4306" y="2922"/>
                </a:lnTo>
                <a:lnTo>
                  <a:pt x="4360" y="2909"/>
                </a:lnTo>
                <a:lnTo>
                  <a:pt x="4410" y="2887"/>
                </a:lnTo>
                <a:lnTo>
                  <a:pt x="4455" y="2859"/>
                </a:lnTo>
                <a:lnTo>
                  <a:pt x="4496" y="2824"/>
                </a:lnTo>
                <a:lnTo>
                  <a:pt x="4530" y="2783"/>
                </a:lnTo>
                <a:lnTo>
                  <a:pt x="4559" y="2738"/>
                </a:lnTo>
                <a:lnTo>
                  <a:pt x="4579" y="2688"/>
                </a:lnTo>
                <a:lnTo>
                  <a:pt x="4593" y="2636"/>
                </a:lnTo>
                <a:lnTo>
                  <a:pt x="4597" y="2579"/>
                </a:lnTo>
                <a:lnTo>
                  <a:pt x="4597" y="564"/>
                </a:lnTo>
                <a:lnTo>
                  <a:pt x="4593" y="509"/>
                </a:lnTo>
                <a:lnTo>
                  <a:pt x="4579" y="454"/>
                </a:lnTo>
                <a:lnTo>
                  <a:pt x="4559" y="405"/>
                </a:lnTo>
                <a:lnTo>
                  <a:pt x="4530" y="360"/>
                </a:lnTo>
                <a:lnTo>
                  <a:pt x="4496" y="319"/>
                </a:lnTo>
                <a:lnTo>
                  <a:pt x="4455" y="285"/>
                </a:lnTo>
                <a:lnTo>
                  <a:pt x="4410" y="256"/>
                </a:lnTo>
                <a:lnTo>
                  <a:pt x="4360" y="235"/>
                </a:lnTo>
                <a:lnTo>
                  <a:pt x="4306" y="222"/>
                </a:lnTo>
                <a:lnTo>
                  <a:pt x="4249" y="218"/>
                </a:lnTo>
                <a:lnTo>
                  <a:pt x="565" y="218"/>
                </a:lnTo>
                <a:close/>
                <a:moveTo>
                  <a:pt x="565" y="0"/>
                </a:moveTo>
                <a:lnTo>
                  <a:pt x="4249" y="0"/>
                </a:lnTo>
                <a:lnTo>
                  <a:pt x="4321" y="5"/>
                </a:lnTo>
                <a:lnTo>
                  <a:pt x="4389" y="16"/>
                </a:lnTo>
                <a:lnTo>
                  <a:pt x="4454" y="38"/>
                </a:lnTo>
                <a:lnTo>
                  <a:pt x="4515" y="66"/>
                </a:lnTo>
                <a:lnTo>
                  <a:pt x="4572" y="101"/>
                </a:lnTo>
                <a:lnTo>
                  <a:pt x="4625" y="142"/>
                </a:lnTo>
                <a:lnTo>
                  <a:pt x="4673" y="190"/>
                </a:lnTo>
                <a:lnTo>
                  <a:pt x="4714" y="243"/>
                </a:lnTo>
                <a:lnTo>
                  <a:pt x="4749" y="300"/>
                </a:lnTo>
                <a:lnTo>
                  <a:pt x="4777" y="361"/>
                </a:lnTo>
                <a:lnTo>
                  <a:pt x="4797" y="425"/>
                </a:lnTo>
                <a:lnTo>
                  <a:pt x="4810" y="494"/>
                </a:lnTo>
                <a:lnTo>
                  <a:pt x="4815" y="564"/>
                </a:lnTo>
                <a:lnTo>
                  <a:pt x="4815" y="2579"/>
                </a:lnTo>
                <a:lnTo>
                  <a:pt x="4810" y="2650"/>
                </a:lnTo>
                <a:lnTo>
                  <a:pt x="4797" y="2717"/>
                </a:lnTo>
                <a:lnTo>
                  <a:pt x="4777" y="2783"/>
                </a:lnTo>
                <a:lnTo>
                  <a:pt x="4749" y="2844"/>
                </a:lnTo>
                <a:lnTo>
                  <a:pt x="4714" y="2901"/>
                </a:lnTo>
                <a:lnTo>
                  <a:pt x="4673" y="2954"/>
                </a:lnTo>
                <a:lnTo>
                  <a:pt x="4625" y="3001"/>
                </a:lnTo>
                <a:lnTo>
                  <a:pt x="4572" y="3043"/>
                </a:lnTo>
                <a:lnTo>
                  <a:pt x="4515" y="3078"/>
                </a:lnTo>
                <a:lnTo>
                  <a:pt x="4454" y="3106"/>
                </a:lnTo>
                <a:lnTo>
                  <a:pt x="4389" y="3126"/>
                </a:lnTo>
                <a:lnTo>
                  <a:pt x="4321" y="3139"/>
                </a:lnTo>
                <a:lnTo>
                  <a:pt x="4249" y="3144"/>
                </a:lnTo>
                <a:lnTo>
                  <a:pt x="2225" y="3144"/>
                </a:lnTo>
                <a:lnTo>
                  <a:pt x="1710" y="3979"/>
                </a:lnTo>
                <a:lnTo>
                  <a:pt x="1693" y="4001"/>
                </a:lnTo>
                <a:lnTo>
                  <a:pt x="1671" y="4017"/>
                </a:lnTo>
                <a:lnTo>
                  <a:pt x="1645" y="4027"/>
                </a:lnTo>
                <a:lnTo>
                  <a:pt x="1617" y="4030"/>
                </a:lnTo>
                <a:lnTo>
                  <a:pt x="1617" y="4030"/>
                </a:lnTo>
                <a:lnTo>
                  <a:pt x="1589" y="4027"/>
                </a:lnTo>
                <a:lnTo>
                  <a:pt x="1563" y="4015"/>
                </a:lnTo>
                <a:lnTo>
                  <a:pt x="1541" y="3999"/>
                </a:lnTo>
                <a:lnTo>
                  <a:pt x="1523" y="3977"/>
                </a:lnTo>
                <a:lnTo>
                  <a:pt x="1026" y="3144"/>
                </a:lnTo>
                <a:lnTo>
                  <a:pt x="565" y="3144"/>
                </a:lnTo>
                <a:lnTo>
                  <a:pt x="494" y="3139"/>
                </a:lnTo>
                <a:lnTo>
                  <a:pt x="427" y="3126"/>
                </a:lnTo>
                <a:lnTo>
                  <a:pt x="361" y="3106"/>
                </a:lnTo>
                <a:lnTo>
                  <a:pt x="299" y="3078"/>
                </a:lnTo>
                <a:lnTo>
                  <a:pt x="242" y="3043"/>
                </a:lnTo>
                <a:lnTo>
                  <a:pt x="190" y="3001"/>
                </a:lnTo>
                <a:lnTo>
                  <a:pt x="143" y="2954"/>
                </a:lnTo>
                <a:lnTo>
                  <a:pt x="100" y="2901"/>
                </a:lnTo>
                <a:lnTo>
                  <a:pt x="65" y="2844"/>
                </a:lnTo>
                <a:lnTo>
                  <a:pt x="38" y="2783"/>
                </a:lnTo>
                <a:lnTo>
                  <a:pt x="17" y="2717"/>
                </a:lnTo>
                <a:lnTo>
                  <a:pt x="4" y="2650"/>
                </a:lnTo>
                <a:lnTo>
                  <a:pt x="0" y="2579"/>
                </a:lnTo>
                <a:lnTo>
                  <a:pt x="0" y="564"/>
                </a:lnTo>
                <a:lnTo>
                  <a:pt x="4" y="494"/>
                </a:lnTo>
                <a:lnTo>
                  <a:pt x="17" y="425"/>
                </a:lnTo>
                <a:lnTo>
                  <a:pt x="38" y="361"/>
                </a:lnTo>
                <a:lnTo>
                  <a:pt x="65" y="300"/>
                </a:lnTo>
                <a:lnTo>
                  <a:pt x="100" y="243"/>
                </a:lnTo>
                <a:lnTo>
                  <a:pt x="143" y="190"/>
                </a:lnTo>
                <a:lnTo>
                  <a:pt x="190" y="142"/>
                </a:lnTo>
                <a:lnTo>
                  <a:pt x="242" y="101"/>
                </a:lnTo>
                <a:lnTo>
                  <a:pt x="299" y="66"/>
                </a:lnTo>
                <a:lnTo>
                  <a:pt x="361" y="38"/>
                </a:lnTo>
                <a:lnTo>
                  <a:pt x="427" y="16"/>
                </a:lnTo>
                <a:lnTo>
                  <a:pt x="494" y="5"/>
                </a:lnTo>
                <a:lnTo>
                  <a:pt x="565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64" name="Rectangle 7"/>
          <p:cNvSpPr>
            <a:spLocks noChangeArrowheads="1"/>
          </p:cNvSpPr>
          <p:nvPr/>
        </p:nvSpPr>
        <p:spPr bwMode="auto">
          <a:xfrm>
            <a:off x="1931562" y="4245575"/>
            <a:ext cx="21549" cy="94747"/>
          </a:xfrm>
          <a:prstGeom prst="rect">
            <a:avLst/>
          </a:prstGeom>
          <a:solidFill>
            <a:schemeClr val="bg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65" name="Freeform 8"/>
          <p:cNvSpPr>
            <a:spLocks noEditPoints="1"/>
          </p:cNvSpPr>
          <p:nvPr/>
        </p:nvSpPr>
        <p:spPr bwMode="auto">
          <a:xfrm>
            <a:off x="1978757" y="4244151"/>
            <a:ext cx="91007" cy="97774"/>
          </a:xfrm>
          <a:custGeom>
            <a:avLst/>
            <a:gdLst>
              <a:gd name="T0" fmla="*/ 716 w 1533"/>
              <a:gd name="T1" fmla="*/ 289 h 1646"/>
              <a:gd name="T2" fmla="*/ 624 w 1533"/>
              <a:gd name="T3" fmla="*/ 317 h 1646"/>
              <a:gd name="T4" fmla="*/ 546 w 1533"/>
              <a:gd name="T5" fmla="*/ 368 h 1646"/>
              <a:gd name="T6" fmla="*/ 482 w 1533"/>
              <a:gd name="T7" fmla="*/ 441 h 1646"/>
              <a:gd name="T8" fmla="*/ 432 w 1533"/>
              <a:gd name="T9" fmla="*/ 532 h 1646"/>
              <a:gd name="T10" fmla="*/ 399 w 1533"/>
              <a:gd name="T11" fmla="*/ 641 h 1646"/>
              <a:gd name="T12" fmla="*/ 383 w 1533"/>
              <a:gd name="T13" fmla="*/ 762 h 1646"/>
              <a:gd name="T14" fmla="*/ 383 w 1533"/>
              <a:gd name="T15" fmla="*/ 898 h 1646"/>
              <a:gd name="T16" fmla="*/ 403 w 1533"/>
              <a:gd name="T17" fmla="*/ 1026 h 1646"/>
              <a:gd name="T18" fmla="*/ 443 w 1533"/>
              <a:gd name="T19" fmla="*/ 1139 h 1646"/>
              <a:gd name="T20" fmla="*/ 500 w 1533"/>
              <a:gd name="T21" fmla="*/ 1231 h 1646"/>
              <a:gd name="T22" fmla="*/ 574 w 1533"/>
              <a:gd name="T23" fmla="*/ 1301 h 1646"/>
              <a:gd name="T24" fmla="*/ 663 w 1533"/>
              <a:gd name="T25" fmla="*/ 1345 h 1646"/>
              <a:gd name="T26" fmla="*/ 769 w 1533"/>
              <a:gd name="T27" fmla="*/ 1359 h 1646"/>
              <a:gd name="T28" fmla="*/ 867 w 1533"/>
              <a:gd name="T29" fmla="*/ 1346 h 1646"/>
              <a:gd name="T30" fmla="*/ 951 w 1533"/>
              <a:gd name="T31" fmla="*/ 1307 h 1646"/>
              <a:gd name="T32" fmla="*/ 1022 w 1533"/>
              <a:gd name="T33" fmla="*/ 1244 h 1646"/>
              <a:gd name="T34" fmla="*/ 1079 w 1533"/>
              <a:gd name="T35" fmla="*/ 1161 h 1646"/>
              <a:gd name="T36" fmla="*/ 1118 w 1533"/>
              <a:gd name="T37" fmla="*/ 1060 h 1646"/>
              <a:gd name="T38" fmla="*/ 1144 w 1533"/>
              <a:gd name="T39" fmla="*/ 945 h 1646"/>
              <a:gd name="T40" fmla="*/ 1152 w 1533"/>
              <a:gd name="T41" fmla="*/ 818 h 1646"/>
              <a:gd name="T42" fmla="*/ 1144 w 1533"/>
              <a:gd name="T43" fmla="*/ 698 h 1646"/>
              <a:gd name="T44" fmla="*/ 1120 w 1533"/>
              <a:gd name="T45" fmla="*/ 587 h 1646"/>
              <a:gd name="T46" fmla="*/ 1079 w 1533"/>
              <a:gd name="T47" fmla="*/ 488 h 1646"/>
              <a:gd name="T48" fmla="*/ 1023 w 1533"/>
              <a:gd name="T49" fmla="*/ 405 h 1646"/>
              <a:gd name="T50" fmla="*/ 951 w 1533"/>
              <a:gd name="T51" fmla="*/ 342 h 1646"/>
              <a:gd name="T52" fmla="*/ 867 w 1533"/>
              <a:gd name="T53" fmla="*/ 301 h 1646"/>
              <a:gd name="T54" fmla="*/ 766 w 1533"/>
              <a:gd name="T55" fmla="*/ 286 h 1646"/>
              <a:gd name="T56" fmla="*/ 855 w 1533"/>
              <a:gd name="T57" fmla="*/ 3 h 1646"/>
              <a:gd name="T58" fmla="*/ 1003 w 1533"/>
              <a:gd name="T59" fmla="*/ 29 h 1646"/>
              <a:gd name="T60" fmla="*/ 1131 w 1533"/>
              <a:gd name="T61" fmla="*/ 77 h 1646"/>
              <a:gd name="T62" fmla="*/ 1244 w 1533"/>
              <a:gd name="T63" fmla="*/ 149 h 1646"/>
              <a:gd name="T64" fmla="*/ 1339 w 1533"/>
              <a:gd name="T65" fmla="*/ 238 h 1646"/>
              <a:gd name="T66" fmla="*/ 1415 w 1533"/>
              <a:gd name="T67" fmla="*/ 343 h 1646"/>
              <a:gd name="T68" fmla="*/ 1472 w 1533"/>
              <a:gd name="T69" fmla="*/ 463 h 1646"/>
              <a:gd name="T70" fmla="*/ 1512 w 1533"/>
              <a:gd name="T71" fmla="*/ 593 h 1646"/>
              <a:gd name="T72" fmla="*/ 1531 w 1533"/>
              <a:gd name="T73" fmla="*/ 733 h 1646"/>
              <a:gd name="T74" fmla="*/ 1531 w 1533"/>
              <a:gd name="T75" fmla="*/ 897 h 1646"/>
              <a:gd name="T76" fmla="*/ 1506 w 1533"/>
              <a:gd name="T77" fmla="*/ 1063 h 1646"/>
              <a:gd name="T78" fmla="*/ 1456 w 1533"/>
              <a:gd name="T79" fmla="*/ 1210 h 1646"/>
              <a:gd name="T80" fmla="*/ 1384 w 1533"/>
              <a:gd name="T81" fmla="*/ 1339 h 1646"/>
              <a:gd name="T82" fmla="*/ 1292 w 1533"/>
              <a:gd name="T83" fmla="*/ 1447 h 1646"/>
              <a:gd name="T84" fmla="*/ 1181 w 1533"/>
              <a:gd name="T85" fmla="*/ 1532 h 1646"/>
              <a:gd name="T86" fmla="*/ 1052 w 1533"/>
              <a:gd name="T87" fmla="*/ 1594 h 1646"/>
              <a:gd name="T88" fmla="*/ 908 w 1533"/>
              <a:gd name="T89" fmla="*/ 1632 h 1646"/>
              <a:gd name="T90" fmla="*/ 750 w 1533"/>
              <a:gd name="T91" fmla="*/ 1646 h 1646"/>
              <a:gd name="T92" fmla="*/ 590 w 1533"/>
              <a:gd name="T93" fmla="*/ 1631 h 1646"/>
              <a:gd name="T94" fmla="*/ 448 w 1533"/>
              <a:gd name="T95" fmla="*/ 1590 h 1646"/>
              <a:gd name="T96" fmla="*/ 326 w 1533"/>
              <a:gd name="T97" fmla="*/ 1523 h 1646"/>
              <a:gd name="T98" fmla="*/ 220 w 1533"/>
              <a:gd name="T99" fmla="*/ 1435 h 1646"/>
              <a:gd name="T100" fmla="*/ 134 w 1533"/>
              <a:gd name="T101" fmla="*/ 1327 h 1646"/>
              <a:gd name="T102" fmla="*/ 68 w 1533"/>
              <a:gd name="T103" fmla="*/ 1203 h 1646"/>
              <a:gd name="T104" fmla="*/ 24 w 1533"/>
              <a:gd name="T105" fmla="*/ 1064 h 1646"/>
              <a:gd name="T106" fmla="*/ 2 w 1533"/>
              <a:gd name="T107" fmla="*/ 914 h 1646"/>
              <a:gd name="T108" fmla="*/ 2 w 1533"/>
              <a:gd name="T109" fmla="*/ 752 h 1646"/>
              <a:gd name="T110" fmla="*/ 27 w 1533"/>
              <a:gd name="T111" fmla="*/ 594 h 1646"/>
              <a:gd name="T112" fmla="*/ 74 w 1533"/>
              <a:gd name="T113" fmla="*/ 450 h 1646"/>
              <a:gd name="T114" fmla="*/ 144 w 1533"/>
              <a:gd name="T115" fmla="*/ 323 h 1646"/>
              <a:gd name="T116" fmla="*/ 235 w 1533"/>
              <a:gd name="T117" fmla="*/ 212 h 1646"/>
              <a:gd name="T118" fmla="*/ 345 w 1533"/>
              <a:gd name="T119" fmla="*/ 123 h 1646"/>
              <a:gd name="T120" fmla="*/ 472 w 1533"/>
              <a:gd name="T121" fmla="*/ 56 h 1646"/>
              <a:gd name="T122" fmla="*/ 617 w 1533"/>
              <a:gd name="T123" fmla="*/ 15 h 1646"/>
              <a:gd name="T124" fmla="*/ 776 w 1533"/>
              <a:gd name="T125" fmla="*/ 0 h 1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33" h="1646">
                <a:moveTo>
                  <a:pt x="766" y="286"/>
                </a:moveTo>
                <a:lnTo>
                  <a:pt x="716" y="289"/>
                </a:lnTo>
                <a:lnTo>
                  <a:pt x="668" y="299"/>
                </a:lnTo>
                <a:lnTo>
                  <a:pt x="624" y="317"/>
                </a:lnTo>
                <a:lnTo>
                  <a:pt x="583" y="339"/>
                </a:lnTo>
                <a:lnTo>
                  <a:pt x="546" y="368"/>
                </a:lnTo>
                <a:lnTo>
                  <a:pt x="511" y="402"/>
                </a:lnTo>
                <a:lnTo>
                  <a:pt x="482" y="441"/>
                </a:lnTo>
                <a:lnTo>
                  <a:pt x="456" y="483"/>
                </a:lnTo>
                <a:lnTo>
                  <a:pt x="432" y="532"/>
                </a:lnTo>
                <a:lnTo>
                  <a:pt x="415" y="584"/>
                </a:lnTo>
                <a:lnTo>
                  <a:pt x="399" y="641"/>
                </a:lnTo>
                <a:lnTo>
                  <a:pt x="388" y="699"/>
                </a:lnTo>
                <a:lnTo>
                  <a:pt x="383" y="762"/>
                </a:lnTo>
                <a:lnTo>
                  <a:pt x="380" y="828"/>
                </a:lnTo>
                <a:lnTo>
                  <a:pt x="383" y="898"/>
                </a:lnTo>
                <a:lnTo>
                  <a:pt x="390" y="964"/>
                </a:lnTo>
                <a:lnTo>
                  <a:pt x="403" y="1026"/>
                </a:lnTo>
                <a:lnTo>
                  <a:pt x="421" y="1085"/>
                </a:lnTo>
                <a:lnTo>
                  <a:pt x="443" y="1139"/>
                </a:lnTo>
                <a:lnTo>
                  <a:pt x="469" y="1189"/>
                </a:lnTo>
                <a:lnTo>
                  <a:pt x="500" y="1231"/>
                </a:lnTo>
                <a:lnTo>
                  <a:pt x="535" y="1269"/>
                </a:lnTo>
                <a:lnTo>
                  <a:pt x="574" y="1301"/>
                </a:lnTo>
                <a:lnTo>
                  <a:pt x="617" y="1326"/>
                </a:lnTo>
                <a:lnTo>
                  <a:pt x="663" y="1345"/>
                </a:lnTo>
                <a:lnTo>
                  <a:pt x="715" y="1355"/>
                </a:lnTo>
                <a:lnTo>
                  <a:pt x="769" y="1359"/>
                </a:lnTo>
                <a:lnTo>
                  <a:pt x="820" y="1356"/>
                </a:lnTo>
                <a:lnTo>
                  <a:pt x="867" y="1346"/>
                </a:lnTo>
                <a:lnTo>
                  <a:pt x="911" y="1329"/>
                </a:lnTo>
                <a:lnTo>
                  <a:pt x="951" y="1307"/>
                </a:lnTo>
                <a:lnTo>
                  <a:pt x="988" y="1278"/>
                </a:lnTo>
                <a:lnTo>
                  <a:pt x="1022" y="1244"/>
                </a:lnTo>
                <a:lnTo>
                  <a:pt x="1052" y="1205"/>
                </a:lnTo>
                <a:lnTo>
                  <a:pt x="1079" y="1161"/>
                </a:lnTo>
                <a:lnTo>
                  <a:pt x="1101" y="1113"/>
                </a:lnTo>
                <a:lnTo>
                  <a:pt x="1118" y="1060"/>
                </a:lnTo>
                <a:lnTo>
                  <a:pt x="1133" y="1005"/>
                </a:lnTo>
                <a:lnTo>
                  <a:pt x="1144" y="945"/>
                </a:lnTo>
                <a:lnTo>
                  <a:pt x="1150" y="883"/>
                </a:lnTo>
                <a:lnTo>
                  <a:pt x="1152" y="818"/>
                </a:lnTo>
                <a:lnTo>
                  <a:pt x="1150" y="758"/>
                </a:lnTo>
                <a:lnTo>
                  <a:pt x="1144" y="698"/>
                </a:lnTo>
                <a:lnTo>
                  <a:pt x="1134" y="641"/>
                </a:lnTo>
                <a:lnTo>
                  <a:pt x="1120" y="587"/>
                </a:lnTo>
                <a:lnTo>
                  <a:pt x="1101" y="536"/>
                </a:lnTo>
                <a:lnTo>
                  <a:pt x="1079" y="488"/>
                </a:lnTo>
                <a:lnTo>
                  <a:pt x="1052" y="444"/>
                </a:lnTo>
                <a:lnTo>
                  <a:pt x="1023" y="405"/>
                </a:lnTo>
                <a:lnTo>
                  <a:pt x="989" y="371"/>
                </a:lnTo>
                <a:lnTo>
                  <a:pt x="951" y="342"/>
                </a:lnTo>
                <a:lnTo>
                  <a:pt x="911" y="318"/>
                </a:lnTo>
                <a:lnTo>
                  <a:pt x="867" y="301"/>
                </a:lnTo>
                <a:lnTo>
                  <a:pt x="818" y="289"/>
                </a:lnTo>
                <a:lnTo>
                  <a:pt x="766" y="286"/>
                </a:lnTo>
                <a:close/>
                <a:moveTo>
                  <a:pt x="776" y="0"/>
                </a:moveTo>
                <a:lnTo>
                  <a:pt x="855" y="3"/>
                </a:lnTo>
                <a:lnTo>
                  <a:pt x="931" y="13"/>
                </a:lnTo>
                <a:lnTo>
                  <a:pt x="1003" y="29"/>
                </a:lnTo>
                <a:lnTo>
                  <a:pt x="1068" y="51"/>
                </a:lnTo>
                <a:lnTo>
                  <a:pt x="1131" y="77"/>
                </a:lnTo>
                <a:lnTo>
                  <a:pt x="1190" y="111"/>
                </a:lnTo>
                <a:lnTo>
                  <a:pt x="1244" y="149"/>
                </a:lnTo>
                <a:lnTo>
                  <a:pt x="1294" y="191"/>
                </a:lnTo>
                <a:lnTo>
                  <a:pt x="1339" y="238"/>
                </a:lnTo>
                <a:lnTo>
                  <a:pt x="1378" y="289"/>
                </a:lnTo>
                <a:lnTo>
                  <a:pt x="1415" y="343"/>
                </a:lnTo>
                <a:lnTo>
                  <a:pt x="1446" y="402"/>
                </a:lnTo>
                <a:lnTo>
                  <a:pt x="1472" y="463"/>
                </a:lnTo>
                <a:lnTo>
                  <a:pt x="1494" y="527"/>
                </a:lnTo>
                <a:lnTo>
                  <a:pt x="1512" y="593"/>
                </a:lnTo>
                <a:lnTo>
                  <a:pt x="1523" y="663"/>
                </a:lnTo>
                <a:lnTo>
                  <a:pt x="1531" y="733"/>
                </a:lnTo>
                <a:lnTo>
                  <a:pt x="1533" y="806"/>
                </a:lnTo>
                <a:lnTo>
                  <a:pt x="1531" y="897"/>
                </a:lnTo>
                <a:lnTo>
                  <a:pt x="1520" y="981"/>
                </a:lnTo>
                <a:lnTo>
                  <a:pt x="1506" y="1063"/>
                </a:lnTo>
                <a:lnTo>
                  <a:pt x="1484" y="1139"/>
                </a:lnTo>
                <a:lnTo>
                  <a:pt x="1456" y="1210"/>
                </a:lnTo>
                <a:lnTo>
                  <a:pt x="1422" y="1278"/>
                </a:lnTo>
                <a:lnTo>
                  <a:pt x="1384" y="1339"/>
                </a:lnTo>
                <a:lnTo>
                  <a:pt x="1340" y="1396"/>
                </a:lnTo>
                <a:lnTo>
                  <a:pt x="1292" y="1447"/>
                </a:lnTo>
                <a:lnTo>
                  <a:pt x="1238" y="1492"/>
                </a:lnTo>
                <a:lnTo>
                  <a:pt x="1181" y="1532"/>
                </a:lnTo>
                <a:lnTo>
                  <a:pt x="1118" y="1567"/>
                </a:lnTo>
                <a:lnTo>
                  <a:pt x="1052" y="1594"/>
                </a:lnTo>
                <a:lnTo>
                  <a:pt x="982" y="1616"/>
                </a:lnTo>
                <a:lnTo>
                  <a:pt x="908" y="1632"/>
                </a:lnTo>
                <a:lnTo>
                  <a:pt x="830" y="1643"/>
                </a:lnTo>
                <a:lnTo>
                  <a:pt x="750" y="1646"/>
                </a:lnTo>
                <a:lnTo>
                  <a:pt x="668" y="1641"/>
                </a:lnTo>
                <a:lnTo>
                  <a:pt x="590" y="1631"/>
                </a:lnTo>
                <a:lnTo>
                  <a:pt x="517" y="1613"/>
                </a:lnTo>
                <a:lnTo>
                  <a:pt x="448" y="1590"/>
                </a:lnTo>
                <a:lnTo>
                  <a:pt x="384" y="1559"/>
                </a:lnTo>
                <a:lnTo>
                  <a:pt x="326" y="1523"/>
                </a:lnTo>
                <a:lnTo>
                  <a:pt x="270" y="1482"/>
                </a:lnTo>
                <a:lnTo>
                  <a:pt x="220" y="1435"/>
                </a:lnTo>
                <a:lnTo>
                  <a:pt x="175" y="1384"/>
                </a:lnTo>
                <a:lnTo>
                  <a:pt x="134" y="1327"/>
                </a:lnTo>
                <a:lnTo>
                  <a:pt x="99" y="1267"/>
                </a:lnTo>
                <a:lnTo>
                  <a:pt x="68" y="1203"/>
                </a:lnTo>
                <a:lnTo>
                  <a:pt x="43" y="1136"/>
                </a:lnTo>
                <a:lnTo>
                  <a:pt x="24" y="1064"/>
                </a:lnTo>
                <a:lnTo>
                  <a:pt x="10" y="990"/>
                </a:lnTo>
                <a:lnTo>
                  <a:pt x="2" y="914"/>
                </a:lnTo>
                <a:lnTo>
                  <a:pt x="0" y="834"/>
                </a:lnTo>
                <a:lnTo>
                  <a:pt x="2" y="752"/>
                </a:lnTo>
                <a:lnTo>
                  <a:pt x="11" y="672"/>
                </a:lnTo>
                <a:lnTo>
                  <a:pt x="27" y="594"/>
                </a:lnTo>
                <a:lnTo>
                  <a:pt x="48" y="520"/>
                </a:lnTo>
                <a:lnTo>
                  <a:pt x="74" y="450"/>
                </a:lnTo>
                <a:lnTo>
                  <a:pt x="106" y="384"/>
                </a:lnTo>
                <a:lnTo>
                  <a:pt x="144" y="323"/>
                </a:lnTo>
                <a:lnTo>
                  <a:pt x="187" y="264"/>
                </a:lnTo>
                <a:lnTo>
                  <a:pt x="235" y="212"/>
                </a:lnTo>
                <a:lnTo>
                  <a:pt x="288" y="165"/>
                </a:lnTo>
                <a:lnTo>
                  <a:pt x="345" y="123"/>
                </a:lnTo>
                <a:lnTo>
                  <a:pt x="406" y="86"/>
                </a:lnTo>
                <a:lnTo>
                  <a:pt x="472" y="56"/>
                </a:lnTo>
                <a:lnTo>
                  <a:pt x="542" y="32"/>
                </a:lnTo>
                <a:lnTo>
                  <a:pt x="617" y="15"/>
                </a:lnTo>
                <a:lnTo>
                  <a:pt x="694" y="3"/>
                </a:lnTo>
                <a:lnTo>
                  <a:pt x="776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166" name="Freeform 9"/>
          <p:cNvSpPr>
            <a:spLocks/>
          </p:cNvSpPr>
          <p:nvPr/>
        </p:nvSpPr>
        <p:spPr bwMode="auto">
          <a:xfrm>
            <a:off x="2084012" y="4245575"/>
            <a:ext cx="72841" cy="94747"/>
          </a:xfrm>
          <a:custGeom>
            <a:avLst/>
            <a:gdLst>
              <a:gd name="T0" fmla="*/ 0 w 1227"/>
              <a:gd name="T1" fmla="*/ 0 h 1594"/>
              <a:gd name="T2" fmla="*/ 1227 w 1227"/>
              <a:gd name="T3" fmla="*/ 0 h 1594"/>
              <a:gd name="T4" fmla="*/ 1227 w 1227"/>
              <a:gd name="T5" fmla="*/ 304 h 1594"/>
              <a:gd name="T6" fmla="*/ 791 w 1227"/>
              <a:gd name="T7" fmla="*/ 304 h 1594"/>
              <a:gd name="T8" fmla="*/ 791 w 1227"/>
              <a:gd name="T9" fmla="*/ 1594 h 1594"/>
              <a:gd name="T10" fmla="*/ 428 w 1227"/>
              <a:gd name="T11" fmla="*/ 1594 h 1594"/>
              <a:gd name="T12" fmla="*/ 428 w 1227"/>
              <a:gd name="T13" fmla="*/ 304 h 1594"/>
              <a:gd name="T14" fmla="*/ 0 w 1227"/>
              <a:gd name="T15" fmla="*/ 304 h 1594"/>
              <a:gd name="T16" fmla="*/ 0 w 1227"/>
              <a:gd name="T17" fmla="*/ 0 h 15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27" h="1594">
                <a:moveTo>
                  <a:pt x="0" y="0"/>
                </a:moveTo>
                <a:lnTo>
                  <a:pt x="1227" y="0"/>
                </a:lnTo>
                <a:lnTo>
                  <a:pt x="1227" y="304"/>
                </a:lnTo>
                <a:lnTo>
                  <a:pt x="791" y="304"/>
                </a:lnTo>
                <a:lnTo>
                  <a:pt x="791" y="1594"/>
                </a:lnTo>
                <a:lnTo>
                  <a:pt x="428" y="1594"/>
                </a:lnTo>
                <a:lnTo>
                  <a:pt x="428" y="304"/>
                </a:lnTo>
                <a:lnTo>
                  <a:pt x="0" y="304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0530716"/>
      </p:ext>
    </p:extLst>
  </p:cSld>
  <p:clrMapOvr>
    <a:masterClrMapping/>
  </p:clrMapOvr>
  <p:transition spd="med" advTm="279120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r>
              <a:rPr lang="fr-FR" sz="1800" b="0" dirty="0" smtClean="0">
                <a:solidFill>
                  <a:srgbClr val="FFFFFF"/>
                </a:solidFill>
              </a:rPr>
              <a:t>RAINBOW AT THE CORE OF THE OUR CPAAS PLATFORM</a:t>
            </a:r>
            <a:endParaRPr lang="fr-FR" sz="1800" b="0" dirty="0"/>
          </a:p>
        </p:txBody>
      </p:sp>
      <p:sp>
        <p:nvSpPr>
          <p:cNvPr id="369" name="Arc plein 368"/>
          <p:cNvSpPr/>
          <p:nvPr/>
        </p:nvSpPr>
        <p:spPr bwMode="auto">
          <a:xfrm>
            <a:off x="1935286" y="736231"/>
            <a:ext cx="3807543" cy="3761167"/>
          </a:xfrm>
          <a:prstGeom prst="blockArc">
            <a:avLst>
              <a:gd name="adj1" fmla="val 12889108"/>
              <a:gd name="adj2" fmla="val 8429517"/>
              <a:gd name="adj3" fmla="val 28520"/>
            </a:avLst>
          </a:prstGeom>
          <a:solidFill>
            <a:srgbClr val="1C588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6" tIns="45702" rIns="91406" bIns="45702" numCol="1" anchor="t" anchorCtr="0" compatLnSpc="1">
            <a:prstTxWarp prst="textNoShape">
              <a:avLst/>
            </a:prstTxWarp>
          </a:bodyPr>
          <a:lstStyle/>
          <a:p>
            <a:pPr defTabSz="696602"/>
            <a:endParaRPr lang="fr-FR" dirty="0"/>
          </a:p>
        </p:txBody>
      </p:sp>
      <p:sp>
        <p:nvSpPr>
          <p:cNvPr id="370" name="Arc plein 369"/>
          <p:cNvSpPr/>
          <p:nvPr/>
        </p:nvSpPr>
        <p:spPr bwMode="auto">
          <a:xfrm>
            <a:off x="2173333" y="406891"/>
            <a:ext cx="4922295" cy="4610495"/>
          </a:xfrm>
          <a:prstGeom prst="blockArc">
            <a:avLst>
              <a:gd name="adj1" fmla="val 1429297"/>
              <a:gd name="adj2" fmla="val 3424596"/>
              <a:gd name="adj3" fmla="val 8275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69660" tIns="34831" rIns="69660" bIns="34831" numCol="1" rtlCol="0" anchor="ctr" anchorCtr="0" compatLnSpc="1">
            <a:prstTxWarp prst="textNoShape">
              <a:avLst/>
            </a:prstTxWarp>
            <a:normAutofit/>
          </a:bodyPr>
          <a:lstStyle/>
          <a:p>
            <a:pPr defTabSz="696602"/>
            <a:endParaRPr lang="fr-FR" sz="140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71" name="Arc plein 370"/>
          <p:cNvSpPr/>
          <p:nvPr/>
        </p:nvSpPr>
        <p:spPr bwMode="auto">
          <a:xfrm>
            <a:off x="2110714" y="48129"/>
            <a:ext cx="4922295" cy="4610495"/>
          </a:xfrm>
          <a:prstGeom prst="blockArc">
            <a:avLst>
              <a:gd name="adj1" fmla="val 18511233"/>
              <a:gd name="adj2" fmla="val 20665309"/>
              <a:gd name="adj3" fmla="val 851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69660" tIns="34831" rIns="69660" bIns="34831" numCol="1" rtlCol="0" anchor="ctr" anchorCtr="0" compatLnSpc="1">
            <a:prstTxWarp prst="textNoShape">
              <a:avLst/>
            </a:prstTxWarp>
            <a:normAutofit/>
          </a:bodyPr>
          <a:lstStyle/>
          <a:p>
            <a:pPr defTabSz="696602"/>
            <a:endParaRPr lang="fr-FR" sz="140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72" name="Arc plein 371"/>
          <p:cNvSpPr/>
          <p:nvPr/>
        </p:nvSpPr>
        <p:spPr bwMode="auto">
          <a:xfrm>
            <a:off x="2026714" y="651892"/>
            <a:ext cx="4125525" cy="3864196"/>
          </a:xfrm>
          <a:prstGeom prst="blockArc">
            <a:avLst>
              <a:gd name="adj1" fmla="val 20801403"/>
              <a:gd name="adj2" fmla="val 1307585"/>
              <a:gd name="adj3" fmla="val 27792"/>
            </a:avLst>
          </a:pr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06" tIns="45702" rIns="91406" bIns="45702" numCol="1" anchor="t" anchorCtr="0" compatLnSpc="1">
            <a:prstTxWarp prst="textNoShape">
              <a:avLst/>
            </a:prstTxWarp>
          </a:bodyPr>
          <a:lstStyle/>
          <a:p>
            <a:pPr defTabSz="696602"/>
            <a:endParaRPr lang="fr-FR" dirty="0"/>
          </a:p>
        </p:txBody>
      </p:sp>
      <p:sp>
        <p:nvSpPr>
          <p:cNvPr id="373" name="Arc plein 372"/>
          <p:cNvSpPr/>
          <p:nvPr/>
        </p:nvSpPr>
        <p:spPr bwMode="auto">
          <a:xfrm>
            <a:off x="2039624" y="661246"/>
            <a:ext cx="4104560" cy="3844558"/>
          </a:xfrm>
          <a:prstGeom prst="blockArc">
            <a:avLst>
              <a:gd name="adj1" fmla="val 1436770"/>
              <a:gd name="adj2" fmla="val 3435230"/>
              <a:gd name="adj3" fmla="val 28188"/>
            </a:avLst>
          </a:pr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06" tIns="45702" rIns="91406" bIns="45702" numCol="1" anchor="t" anchorCtr="0" compatLnSpc="1">
            <a:prstTxWarp prst="textNoShape">
              <a:avLst/>
            </a:prstTxWarp>
          </a:bodyPr>
          <a:lstStyle/>
          <a:p>
            <a:pPr defTabSz="696602"/>
            <a:endParaRPr lang="fr-FR" dirty="0"/>
          </a:p>
        </p:txBody>
      </p:sp>
      <p:sp>
        <p:nvSpPr>
          <p:cNvPr id="374" name="Arc plein 373"/>
          <p:cNvSpPr/>
          <p:nvPr/>
        </p:nvSpPr>
        <p:spPr bwMode="auto">
          <a:xfrm>
            <a:off x="2172882" y="219849"/>
            <a:ext cx="4922295" cy="4610495"/>
          </a:xfrm>
          <a:prstGeom prst="blockArc">
            <a:avLst>
              <a:gd name="adj1" fmla="val 20801403"/>
              <a:gd name="adj2" fmla="val 1317359"/>
              <a:gd name="adj3" fmla="val 8556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69660" tIns="34831" rIns="69660" bIns="34831" numCol="1" rtlCol="0" anchor="ctr" anchorCtr="0" compatLnSpc="1">
            <a:prstTxWarp prst="textNoShape">
              <a:avLst/>
            </a:prstTxWarp>
            <a:normAutofit/>
          </a:bodyPr>
          <a:lstStyle/>
          <a:p>
            <a:pPr defTabSz="696602"/>
            <a:endParaRPr lang="fr-FR" sz="1400" dirty="0">
              <a:solidFill>
                <a:schemeClr val="bg1"/>
              </a:solidFill>
              <a:latin typeface="Trebuchet MS" pitchFamily="34" charset="0"/>
            </a:endParaRPr>
          </a:p>
        </p:txBody>
      </p:sp>
      <p:grpSp>
        <p:nvGrpSpPr>
          <p:cNvPr id="375" name="Groupe 2991"/>
          <p:cNvGrpSpPr/>
          <p:nvPr/>
        </p:nvGrpSpPr>
        <p:grpSpPr>
          <a:xfrm>
            <a:off x="6549513" y="4308587"/>
            <a:ext cx="396785" cy="777497"/>
            <a:chOff x="2094041" y="5269433"/>
            <a:chExt cx="589739" cy="1155433"/>
          </a:xfrm>
        </p:grpSpPr>
        <p:grpSp>
          <p:nvGrpSpPr>
            <p:cNvPr id="376" name="Groupe 38"/>
            <p:cNvGrpSpPr/>
            <p:nvPr/>
          </p:nvGrpSpPr>
          <p:grpSpPr>
            <a:xfrm>
              <a:off x="2094041" y="5269433"/>
              <a:ext cx="589739" cy="589739"/>
              <a:chOff x="2330283" y="5269433"/>
              <a:chExt cx="589739" cy="589739"/>
            </a:xfrm>
          </p:grpSpPr>
          <p:sp>
            <p:nvSpPr>
              <p:cNvPr id="378" name="Ellipse 377"/>
              <p:cNvSpPr/>
              <p:nvPr/>
            </p:nvSpPr>
            <p:spPr>
              <a:xfrm>
                <a:off x="2330283" y="5269433"/>
                <a:ext cx="589739" cy="589739"/>
              </a:xfrm>
              <a:prstGeom prst="ellipse">
                <a:avLst/>
              </a:prstGeom>
              <a:solidFill>
                <a:srgbClr val="1289B4"/>
              </a:solidFill>
              <a:ln w="38100">
                <a:solidFill>
                  <a:srgbClr val="29DBFF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fr-BE" dirty="0"/>
              </a:p>
            </p:txBody>
          </p:sp>
          <p:grpSp>
            <p:nvGrpSpPr>
              <p:cNvPr id="379" name="Group 11"/>
              <p:cNvGrpSpPr>
                <a:grpSpLocks noChangeAspect="1"/>
              </p:cNvGrpSpPr>
              <p:nvPr/>
            </p:nvGrpSpPr>
            <p:grpSpPr bwMode="auto">
              <a:xfrm>
                <a:off x="2486811" y="5376439"/>
                <a:ext cx="296335" cy="388901"/>
                <a:chOff x="-2992" y="312"/>
                <a:chExt cx="3291" cy="4319"/>
              </a:xfrm>
              <a:solidFill>
                <a:schemeClr val="bg1"/>
              </a:solidFill>
            </p:grpSpPr>
            <p:sp>
              <p:nvSpPr>
                <p:cNvPr id="380" name="Freeform 13"/>
                <p:cNvSpPr>
                  <a:spLocks/>
                </p:cNvSpPr>
                <p:nvPr/>
              </p:nvSpPr>
              <p:spPr bwMode="auto">
                <a:xfrm>
                  <a:off x="279" y="3470"/>
                  <a:ext cx="16" cy="179"/>
                </a:xfrm>
                <a:custGeom>
                  <a:avLst/>
                  <a:gdLst>
                    <a:gd name="T0" fmla="*/ 0 w 16"/>
                    <a:gd name="T1" fmla="*/ 0 h 179"/>
                    <a:gd name="T2" fmla="*/ 0 w 16"/>
                    <a:gd name="T3" fmla="*/ 1 h 179"/>
                    <a:gd name="T4" fmla="*/ 0 w 16"/>
                    <a:gd name="T5" fmla="*/ 3 h 179"/>
                    <a:gd name="T6" fmla="*/ 0 w 16"/>
                    <a:gd name="T7" fmla="*/ 6 h 179"/>
                    <a:gd name="T8" fmla="*/ 0 w 16"/>
                    <a:gd name="T9" fmla="*/ 10 h 179"/>
                    <a:gd name="T10" fmla="*/ 2 w 16"/>
                    <a:gd name="T11" fmla="*/ 15 h 179"/>
                    <a:gd name="T12" fmla="*/ 2 w 16"/>
                    <a:gd name="T13" fmla="*/ 20 h 179"/>
                    <a:gd name="T14" fmla="*/ 3 w 16"/>
                    <a:gd name="T15" fmla="*/ 27 h 179"/>
                    <a:gd name="T16" fmla="*/ 3 w 16"/>
                    <a:gd name="T17" fmla="*/ 35 h 179"/>
                    <a:gd name="T18" fmla="*/ 4 w 16"/>
                    <a:gd name="T19" fmla="*/ 43 h 179"/>
                    <a:gd name="T20" fmla="*/ 4 w 16"/>
                    <a:gd name="T21" fmla="*/ 51 h 179"/>
                    <a:gd name="T22" fmla="*/ 6 w 16"/>
                    <a:gd name="T23" fmla="*/ 58 h 179"/>
                    <a:gd name="T24" fmla="*/ 6 w 16"/>
                    <a:gd name="T25" fmla="*/ 68 h 179"/>
                    <a:gd name="T26" fmla="*/ 7 w 16"/>
                    <a:gd name="T27" fmla="*/ 77 h 179"/>
                    <a:gd name="T28" fmla="*/ 8 w 16"/>
                    <a:gd name="T29" fmla="*/ 86 h 179"/>
                    <a:gd name="T30" fmla="*/ 8 w 16"/>
                    <a:gd name="T31" fmla="*/ 95 h 179"/>
                    <a:gd name="T32" fmla="*/ 10 w 16"/>
                    <a:gd name="T33" fmla="*/ 104 h 179"/>
                    <a:gd name="T34" fmla="*/ 11 w 16"/>
                    <a:gd name="T35" fmla="*/ 113 h 179"/>
                    <a:gd name="T36" fmla="*/ 11 w 16"/>
                    <a:gd name="T37" fmla="*/ 121 h 179"/>
                    <a:gd name="T38" fmla="*/ 12 w 16"/>
                    <a:gd name="T39" fmla="*/ 130 h 179"/>
                    <a:gd name="T40" fmla="*/ 12 w 16"/>
                    <a:gd name="T41" fmla="*/ 138 h 179"/>
                    <a:gd name="T42" fmla="*/ 13 w 16"/>
                    <a:gd name="T43" fmla="*/ 146 h 179"/>
                    <a:gd name="T44" fmla="*/ 13 w 16"/>
                    <a:gd name="T45" fmla="*/ 153 h 179"/>
                    <a:gd name="T46" fmla="*/ 15 w 16"/>
                    <a:gd name="T47" fmla="*/ 159 h 179"/>
                    <a:gd name="T48" fmla="*/ 15 w 16"/>
                    <a:gd name="T49" fmla="*/ 164 h 179"/>
                    <a:gd name="T50" fmla="*/ 15 w 16"/>
                    <a:gd name="T51" fmla="*/ 170 h 179"/>
                    <a:gd name="T52" fmla="*/ 16 w 16"/>
                    <a:gd name="T53" fmla="*/ 174 h 179"/>
                    <a:gd name="T54" fmla="*/ 16 w 16"/>
                    <a:gd name="T55" fmla="*/ 176 h 179"/>
                    <a:gd name="T56" fmla="*/ 16 w 16"/>
                    <a:gd name="T57" fmla="*/ 178 h 179"/>
                    <a:gd name="T58" fmla="*/ 16 w 16"/>
                    <a:gd name="T59" fmla="*/ 179 h 179"/>
                    <a:gd name="T60" fmla="*/ 16 w 16"/>
                    <a:gd name="T61" fmla="*/ 178 h 179"/>
                    <a:gd name="T62" fmla="*/ 16 w 16"/>
                    <a:gd name="T63" fmla="*/ 175 h 179"/>
                    <a:gd name="T64" fmla="*/ 16 w 16"/>
                    <a:gd name="T65" fmla="*/ 172 h 179"/>
                    <a:gd name="T66" fmla="*/ 15 w 16"/>
                    <a:gd name="T67" fmla="*/ 167 h 179"/>
                    <a:gd name="T68" fmla="*/ 15 w 16"/>
                    <a:gd name="T69" fmla="*/ 161 h 179"/>
                    <a:gd name="T70" fmla="*/ 13 w 16"/>
                    <a:gd name="T71" fmla="*/ 153 h 179"/>
                    <a:gd name="T72" fmla="*/ 12 w 16"/>
                    <a:gd name="T73" fmla="*/ 142 h 179"/>
                    <a:gd name="T74" fmla="*/ 12 w 16"/>
                    <a:gd name="T75" fmla="*/ 130 h 179"/>
                    <a:gd name="T76" fmla="*/ 10 w 16"/>
                    <a:gd name="T77" fmla="*/ 108 h 179"/>
                    <a:gd name="T78" fmla="*/ 8 w 16"/>
                    <a:gd name="T79" fmla="*/ 90 h 179"/>
                    <a:gd name="T80" fmla="*/ 7 w 16"/>
                    <a:gd name="T81" fmla="*/ 72 h 179"/>
                    <a:gd name="T82" fmla="*/ 6 w 16"/>
                    <a:gd name="T83" fmla="*/ 57 h 179"/>
                    <a:gd name="T84" fmla="*/ 4 w 16"/>
                    <a:gd name="T85" fmla="*/ 44 h 179"/>
                    <a:gd name="T86" fmla="*/ 3 w 16"/>
                    <a:gd name="T87" fmla="*/ 32 h 179"/>
                    <a:gd name="T88" fmla="*/ 2 w 16"/>
                    <a:gd name="T89" fmla="*/ 23 h 179"/>
                    <a:gd name="T90" fmla="*/ 2 w 16"/>
                    <a:gd name="T91" fmla="*/ 15 h 179"/>
                    <a:gd name="T92" fmla="*/ 0 w 16"/>
                    <a:gd name="T93" fmla="*/ 9 h 179"/>
                    <a:gd name="T94" fmla="*/ 0 w 16"/>
                    <a:gd name="T95" fmla="*/ 5 h 179"/>
                    <a:gd name="T96" fmla="*/ 0 w 16"/>
                    <a:gd name="T97" fmla="*/ 2 h 179"/>
                    <a:gd name="T98" fmla="*/ 0 w 16"/>
                    <a:gd name="T99" fmla="*/ 0 h 179"/>
                    <a:gd name="T100" fmla="*/ 0 w 16"/>
                    <a:gd name="T101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6" h="179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2" y="15"/>
                      </a:lnTo>
                      <a:lnTo>
                        <a:pt x="2" y="20"/>
                      </a:lnTo>
                      <a:lnTo>
                        <a:pt x="3" y="27"/>
                      </a:lnTo>
                      <a:lnTo>
                        <a:pt x="3" y="35"/>
                      </a:lnTo>
                      <a:lnTo>
                        <a:pt x="4" y="43"/>
                      </a:lnTo>
                      <a:lnTo>
                        <a:pt x="4" y="51"/>
                      </a:lnTo>
                      <a:lnTo>
                        <a:pt x="6" y="58"/>
                      </a:lnTo>
                      <a:lnTo>
                        <a:pt x="6" y="68"/>
                      </a:lnTo>
                      <a:lnTo>
                        <a:pt x="7" y="77"/>
                      </a:lnTo>
                      <a:lnTo>
                        <a:pt x="8" y="86"/>
                      </a:lnTo>
                      <a:lnTo>
                        <a:pt x="8" y="95"/>
                      </a:lnTo>
                      <a:lnTo>
                        <a:pt x="10" y="104"/>
                      </a:lnTo>
                      <a:lnTo>
                        <a:pt x="11" y="113"/>
                      </a:lnTo>
                      <a:lnTo>
                        <a:pt x="11" y="121"/>
                      </a:lnTo>
                      <a:lnTo>
                        <a:pt x="12" y="130"/>
                      </a:lnTo>
                      <a:lnTo>
                        <a:pt x="12" y="138"/>
                      </a:lnTo>
                      <a:lnTo>
                        <a:pt x="13" y="146"/>
                      </a:lnTo>
                      <a:lnTo>
                        <a:pt x="13" y="153"/>
                      </a:lnTo>
                      <a:lnTo>
                        <a:pt x="15" y="159"/>
                      </a:lnTo>
                      <a:lnTo>
                        <a:pt x="15" y="164"/>
                      </a:lnTo>
                      <a:lnTo>
                        <a:pt x="15" y="170"/>
                      </a:lnTo>
                      <a:lnTo>
                        <a:pt x="16" y="174"/>
                      </a:lnTo>
                      <a:lnTo>
                        <a:pt x="16" y="176"/>
                      </a:lnTo>
                      <a:lnTo>
                        <a:pt x="16" y="178"/>
                      </a:lnTo>
                      <a:lnTo>
                        <a:pt x="16" y="179"/>
                      </a:lnTo>
                      <a:lnTo>
                        <a:pt x="16" y="178"/>
                      </a:lnTo>
                      <a:lnTo>
                        <a:pt x="16" y="175"/>
                      </a:lnTo>
                      <a:lnTo>
                        <a:pt x="16" y="172"/>
                      </a:lnTo>
                      <a:lnTo>
                        <a:pt x="15" y="167"/>
                      </a:lnTo>
                      <a:lnTo>
                        <a:pt x="15" y="161"/>
                      </a:lnTo>
                      <a:lnTo>
                        <a:pt x="13" y="153"/>
                      </a:lnTo>
                      <a:lnTo>
                        <a:pt x="12" y="142"/>
                      </a:lnTo>
                      <a:lnTo>
                        <a:pt x="12" y="130"/>
                      </a:lnTo>
                      <a:lnTo>
                        <a:pt x="10" y="108"/>
                      </a:lnTo>
                      <a:lnTo>
                        <a:pt x="8" y="90"/>
                      </a:lnTo>
                      <a:lnTo>
                        <a:pt x="7" y="72"/>
                      </a:lnTo>
                      <a:lnTo>
                        <a:pt x="6" y="57"/>
                      </a:lnTo>
                      <a:lnTo>
                        <a:pt x="4" y="44"/>
                      </a:lnTo>
                      <a:lnTo>
                        <a:pt x="3" y="32"/>
                      </a:lnTo>
                      <a:lnTo>
                        <a:pt x="2" y="23"/>
                      </a:lnTo>
                      <a:lnTo>
                        <a:pt x="2" y="15"/>
                      </a:lnTo>
                      <a:lnTo>
                        <a:pt x="0" y="9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381" name="Freeform 14"/>
                <p:cNvSpPr>
                  <a:spLocks/>
                </p:cNvSpPr>
                <p:nvPr/>
              </p:nvSpPr>
              <p:spPr bwMode="auto">
                <a:xfrm>
                  <a:off x="-2281" y="312"/>
                  <a:ext cx="1770" cy="1117"/>
                </a:xfrm>
                <a:custGeom>
                  <a:avLst/>
                  <a:gdLst>
                    <a:gd name="T0" fmla="*/ 860 w 1770"/>
                    <a:gd name="T1" fmla="*/ 1 h 1117"/>
                    <a:gd name="T2" fmla="*/ 920 w 1770"/>
                    <a:gd name="T3" fmla="*/ 9 h 1117"/>
                    <a:gd name="T4" fmla="*/ 972 w 1770"/>
                    <a:gd name="T5" fmla="*/ 31 h 1117"/>
                    <a:gd name="T6" fmla="*/ 1018 w 1770"/>
                    <a:gd name="T7" fmla="*/ 69 h 1117"/>
                    <a:gd name="T8" fmla="*/ 1051 w 1770"/>
                    <a:gd name="T9" fmla="*/ 117 h 1117"/>
                    <a:gd name="T10" fmla="*/ 1073 w 1770"/>
                    <a:gd name="T11" fmla="*/ 168 h 1117"/>
                    <a:gd name="T12" fmla="*/ 1089 w 1770"/>
                    <a:gd name="T13" fmla="*/ 219 h 1117"/>
                    <a:gd name="T14" fmla="*/ 1098 w 1770"/>
                    <a:gd name="T15" fmla="*/ 263 h 1117"/>
                    <a:gd name="T16" fmla="*/ 1106 w 1770"/>
                    <a:gd name="T17" fmla="*/ 298 h 1117"/>
                    <a:gd name="T18" fmla="*/ 1113 w 1770"/>
                    <a:gd name="T19" fmla="*/ 317 h 1117"/>
                    <a:gd name="T20" fmla="*/ 1122 w 1770"/>
                    <a:gd name="T21" fmla="*/ 315 h 1117"/>
                    <a:gd name="T22" fmla="*/ 1136 w 1770"/>
                    <a:gd name="T23" fmla="*/ 288 h 1117"/>
                    <a:gd name="T24" fmla="*/ 1158 w 1770"/>
                    <a:gd name="T25" fmla="*/ 240 h 1117"/>
                    <a:gd name="T26" fmla="*/ 1199 w 1770"/>
                    <a:gd name="T27" fmla="*/ 202 h 1117"/>
                    <a:gd name="T28" fmla="*/ 1257 w 1770"/>
                    <a:gd name="T29" fmla="*/ 177 h 1117"/>
                    <a:gd name="T30" fmla="*/ 1327 w 1770"/>
                    <a:gd name="T31" fmla="*/ 162 h 1117"/>
                    <a:gd name="T32" fmla="*/ 1404 w 1770"/>
                    <a:gd name="T33" fmla="*/ 157 h 1117"/>
                    <a:gd name="T34" fmla="*/ 1484 w 1770"/>
                    <a:gd name="T35" fmla="*/ 158 h 1117"/>
                    <a:gd name="T36" fmla="*/ 1563 w 1770"/>
                    <a:gd name="T37" fmla="*/ 164 h 1117"/>
                    <a:gd name="T38" fmla="*/ 1635 w 1770"/>
                    <a:gd name="T39" fmla="*/ 173 h 1117"/>
                    <a:gd name="T40" fmla="*/ 1696 w 1770"/>
                    <a:gd name="T41" fmla="*/ 182 h 1117"/>
                    <a:gd name="T42" fmla="*/ 1741 w 1770"/>
                    <a:gd name="T43" fmla="*/ 190 h 1117"/>
                    <a:gd name="T44" fmla="*/ 1766 w 1770"/>
                    <a:gd name="T45" fmla="*/ 195 h 1117"/>
                    <a:gd name="T46" fmla="*/ 1480 w 1770"/>
                    <a:gd name="T47" fmla="*/ 1034 h 1117"/>
                    <a:gd name="T48" fmla="*/ 1308 w 1770"/>
                    <a:gd name="T49" fmla="*/ 1079 h 1117"/>
                    <a:gd name="T50" fmla="*/ 1124 w 1770"/>
                    <a:gd name="T51" fmla="*/ 1107 h 1117"/>
                    <a:gd name="T52" fmla="*/ 933 w 1770"/>
                    <a:gd name="T53" fmla="*/ 1117 h 1117"/>
                    <a:gd name="T54" fmla="*/ 725 w 1770"/>
                    <a:gd name="T55" fmla="*/ 1105 h 1117"/>
                    <a:gd name="T56" fmla="*/ 526 w 1770"/>
                    <a:gd name="T57" fmla="*/ 1072 h 1117"/>
                    <a:gd name="T58" fmla="*/ 340 w 1770"/>
                    <a:gd name="T59" fmla="*/ 1017 h 1117"/>
                    <a:gd name="T60" fmla="*/ 35 w 1770"/>
                    <a:gd name="T61" fmla="*/ 183 h 1117"/>
                    <a:gd name="T62" fmla="*/ 115 w 1770"/>
                    <a:gd name="T63" fmla="*/ 173 h 1117"/>
                    <a:gd name="T64" fmla="*/ 201 w 1770"/>
                    <a:gd name="T65" fmla="*/ 177 h 1117"/>
                    <a:gd name="T66" fmla="*/ 285 w 1770"/>
                    <a:gd name="T67" fmla="*/ 196 h 1117"/>
                    <a:gd name="T68" fmla="*/ 360 w 1770"/>
                    <a:gd name="T69" fmla="*/ 230 h 1117"/>
                    <a:gd name="T70" fmla="*/ 415 w 1770"/>
                    <a:gd name="T71" fmla="*/ 278 h 1117"/>
                    <a:gd name="T72" fmla="*/ 406 w 1770"/>
                    <a:gd name="T73" fmla="*/ 216 h 1117"/>
                    <a:gd name="T74" fmla="*/ 424 w 1770"/>
                    <a:gd name="T75" fmla="*/ 161 h 1117"/>
                    <a:gd name="T76" fmla="*/ 466 w 1770"/>
                    <a:gd name="T77" fmla="*/ 114 h 1117"/>
                    <a:gd name="T78" fmla="*/ 525 w 1770"/>
                    <a:gd name="T79" fmla="*/ 75 h 1117"/>
                    <a:gd name="T80" fmla="*/ 594 w 1770"/>
                    <a:gd name="T81" fmla="*/ 43 h 1117"/>
                    <a:gd name="T82" fmla="*/ 671 w 1770"/>
                    <a:gd name="T83" fmla="*/ 20 h 1117"/>
                    <a:gd name="T84" fmla="*/ 751 w 1770"/>
                    <a:gd name="T85" fmla="*/ 5 h 1117"/>
                    <a:gd name="T86" fmla="*/ 826 w 1770"/>
                    <a:gd name="T87" fmla="*/ 0 h 1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770" h="1117">
                      <a:moveTo>
                        <a:pt x="826" y="0"/>
                      </a:moveTo>
                      <a:lnTo>
                        <a:pt x="860" y="1"/>
                      </a:lnTo>
                      <a:lnTo>
                        <a:pt x="893" y="4"/>
                      </a:lnTo>
                      <a:lnTo>
                        <a:pt x="920" y="9"/>
                      </a:lnTo>
                      <a:lnTo>
                        <a:pt x="945" y="17"/>
                      </a:lnTo>
                      <a:lnTo>
                        <a:pt x="972" y="31"/>
                      </a:lnTo>
                      <a:lnTo>
                        <a:pt x="997" y="48"/>
                      </a:lnTo>
                      <a:lnTo>
                        <a:pt x="1018" y="69"/>
                      </a:lnTo>
                      <a:lnTo>
                        <a:pt x="1035" y="92"/>
                      </a:lnTo>
                      <a:lnTo>
                        <a:pt x="1051" y="117"/>
                      </a:lnTo>
                      <a:lnTo>
                        <a:pt x="1063" y="143"/>
                      </a:lnTo>
                      <a:lnTo>
                        <a:pt x="1073" y="168"/>
                      </a:lnTo>
                      <a:lnTo>
                        <a:pt x="1082" y="194"/>
                      </a:lnTo>
                      <a:lnTo>
                        <a:pt x="1089" y="219"/>
                      </a:lnTo>
                      <a:lnTo>
                        <a:pt x="1094" y="242"/>
                      </a:lnTo>
                      <a:lnTo>
                        <a:pt x="1098" y="263"/>
                      </a:lnTo>
                      <a:lnTo>
                        <a:pt x="1102" y="283"/>
                      </a:lnTo>
                      <a:lnTo>
                        <a:pt x="1106" y="298"/>
                      </a:lnTo>
                      <a:lnTo>
                        <a:pt x="1109" y="310"/>
                      </a:lnTo>
                      <a:lnTo>
                        <a:pt x="1113" y="317"/>
                      </a:lnTo>
                      <a:lnTo>
                        <a:pt x="1116" y="319"/>
                      </a:lnTo>
                      <a:lnTo>
                        <a:pt x="1122" y="315"/>
                      </a:lnTo>
                      <a:lnTo>
                        <a:pt x="1128" y="305"/>
                      </a:lnTo>
                      <a:lnTo>
                        <a:pt x="1136" y="288"/>
                      </a:lnTo>
                      <a:lnTo>
                        <a:pt x="1145" y="263"/>
                      </a:lnTo>
                      <a:lnTo>
                        <a:pt x="1158" y="240"/>
                      </a:lnTo>
                      <a:lnTo>
                        <a:pt x="1177" y="219"/>
                      </a:lnTo>
                      <a:lnTo>
                        <a:pt x="1199" y="202"/>
                      </a:lnTo>
                      <a:lnTo>
                        <a:pt x="1226" y="189"/>
                      </a:lnTo>
                      <a:lnTo>
                        <a:pt x="1257" y="177"/>
                      </a:lnTo>
                      <a:lnTo>
                        <a:pt x="1291" y="169"/>
                      </a:lnTo>
                      <a:lnTo>
                        <a:pt x="1327" y="162"/>
                      </a:lnTo>
                      <a:lnTo>
                        <a:pt x="1365" y="160"/>
                      </a:lnTo>
                      <a:lnTo>
                        <a:pt x="1404" y="157"/>
                      </a:lnTo>
                      <a:lnTo>
                        <a:pt x="1444" y="157"/>
                      </a:lnTo>
                      <a:lnTo>
                        <a:pt x="1484" y="158"/>
                      </a:lnTo>
                      <a:lnTo>
                        <a:pt x="1524" y="161"/>
                      </a:lnTo>
                      <a:lnTo>
                        <a:pt x="1563" y="164"/>
                      </a:lnTo>
                      <a:lnTo>
                        <a:pt x="1600" y="168"/>
                      </a:lnTo>
                      <a:lnTo>
                        <a:pt x="1635" y="173"/>
                      </a:lnTo>
                      <a:lnTo>
                        <a:pt x="1668" y="177"/>
                      </a:lnTo>
                      <a:lnTo>
                        <a:pt x="1696" y="182"/>
                      </a:lnTo>
                      <a:lnTo>
                        <a:pt x="1721" y="186"/>
                      </a:lnTo>
                      <a:lnTo>
                        <a:pt x="1741" y="190"/>
                      </a:lnTo>
                      <a:lnTo>
                        <a:pt x="1757" y="192"/>
                      </a:lnTo>
                      <a:lnTo>
                        <a:pt x="1766" y="195"/>
                      </a:lnTo>
                      <a:lnTo>
                        <a:pt x="1770" y="196"/>
                      </a:lnTo>
                      <a:lnTo>
                        <a:pt x="1480" y="1034"/>
                      </a:lnTo>
                      <a:lnTo>
                        <a:pt x="1395" y="1059"/>
                      </a:lnTo>
                      <a:lnTo>
                        <a:pt x="1308" y="1079"/>
                      </a:lnTo>
                      <a:lnTo>
                        <a:pt x="1217" y="1096"/>
                      </a:lnTo>
                      <a:lnTo>
                        <a:pt x="1124" y="1107"/>
                      </a:lnTo>
                      <a:lnTo>
                        <a:pt x="1030" y="1114"/>
                      </a:lnTo>
                      <a:lnTo>
                        <a:pt x="933" y="1117"/>
                      </a:lnTo>
                      <a:lnTo>
                        <a:pt x="828" y="1114"/>
                      </a:lnTo>
                      <a:lnTo>
                        <a:pt x="725" y="1105"/>
                      </a:lnTo>
                      <a:lnTo>
                        <a:pt x="624" y="1090"/>
                      </a:lnTo>
                      <a:lnTo>
                        <a:pt x="526" y="1072"/>
                      </a:lnTo>
                      <a:lnTo>
                        <a:pt x="431" y="1047"/>
                      </a:lnTo>
                      <a:lnTo>
                        <a:pt x="340" y="1017"/>
                      </a:lnTo>
                      <a:lnTo>
                        <a:pt x="0" y="195"/>
                      </a:lnTo>
                      <a:lnTo>
                        <a:pt x="35" y="183"/>
                      </a:lnTo>
                      <a:lnTo>
                        <a:pt x="74" y="175"/>
                      </a:lnTo>
                      <a:lnTo>
                        <a:pt x="115" y="173"/>
                      </a:lnTo>
                      <a:lnTo>
                        <a:pt x="158" y="173"/>
                      </a:lnTo>
                      <a:lnTo>
                        <a:pt x="201" y="177"/>
                      </a:lnTo>
                      <a:lnTo>
                        <a:pt x="245" y="185"/>
                      </a:lnTo>
                      <a:lnTo>
                        <a:pt x="285" y="196"/>
                      </a:lnTo>
                      <a:lnTo>
                        <a:pt x="324" y="212"/>
                      </a:lnTo>
                      <a:lnTo>
                        <a:pt x="360" y="230"/>
                      </a:lnTo>
                      <a:lnTo>
                        <a:pt x="390" y="253"/>
                      </a:lnTo>
                      <a:lnTo>
                        <a:pt x="415" y="278"/>
                      </a:lnTo>
                      <a:lnTo>
                        <a:pt x="406" y="246"/>
                      </a:lnTo>
                      <a:lnTo>
                        <a:pt x="406" y="216"/>
                      </a:lnTo>
                      <a:lnTo>
                        <a:pt x="412" y="187"/>
                      </a:lnTo>
                      <a:lnTo>
                        <a:pt x="424" y="161"/>
                      </a:lnTo>
                      <a:lnTo>
                        <a:pt x="442" y="136"/>
                      </a:lnTo>
                      <a:lnTo>
                        <a:pt x="466" y="114"/>
                      </a:lnTo>
                      <a:lnTo>
                        <a:pt x="493" y="93"/>
                      </a:lnTo>
                      <a:lnTo>
                        <a:pt x="525" y="75"/>
                      </a:lnTo>
                      <a:lnTo>
                        <a:pt x="559" y="58"/>
                      </a:lnTo>
                      <a:lnTo>
                        <a:pt x="594" y="43"/>
                      </a:lnTo>
                      <a:lnTo>
                        <a:pt x="633" y="30"/>
                      </a:lnTo>
                      <a:lnTo>
                        <a:pt x="671" y="20"/>
                      </a:lnTo>
                      <a:lnTo>
                        <a:pt x="712" y="12"/>
                      </a:lnTo>
                      <a:lnTo>
                        <a:pt x="751" y="5"/>
                      </a:lnTo>
                      <a:lnTo>
                        <a:pt x="789" y="1"/>
                      </a:lnTo>
                      <a:lnTo>
                        <a:pt x="82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382" name="Freeform 15"/>
                <p:cNvSpPr>
                  <a:spLocks/>
                </p:cNvSpPr>
                <p:nvPr/>
              </p:nvSpPr>
              <p:spPr bwMode="auto">
                <a:xfrm>
                  <a:off x="-1490" y="2592"/>
                  <a:ext cx="86" cy="264"/>
                </a:xfrm>
                <a:custGeom>
                  <a:avLst/>
                  <a:gdLst>
                    <a:gd name="T0" fmla="*/ 86 w 86"/>
                    <a:gd name="T1" fmla="*/ 0 h 264"/>
                    <a:gd name="T2" fmla="*/ 86 w 86"/>
                    <a:gd name="T3" fmla="*/ 264 h 264"/>
                    <a:gd name="T4" fmla="*/ 60 w 86"/>
                    <a:gd name="T5" fmla="*/ 247 h 264"/>
                    <a:gd name="T6" fmla="*/ 37 w 86"/>
                    <a:gd name="T7" fmla="*/ 227 h 264"/>
                    <a:gd name="T8" fmla="*/ 20 w 86"/>
                    <a:gd name="T9" fmla="*/ 207 h 264"/>
                    <a:gd name="T10" fmla="*/ 10 w 86"/>
                    <a:gd name="T11" fmla="*/ 185 h 264"/>
                    <a:gd name="T12" fmla="*/ 2 w 86"/>
                    <a:gd name="T13" fmla="*/ 159 h 264"/>
                    <a:gd name="T14" fmla="*/ 0 w 86"/>
                    <a:gd name="T15" fmla="*/ 131 h 264"/>
                    <a:gd name="T16" fmla="*/ 2 w 86"/>
                    <a:gd name="T17" fmla="*/ 104 h 264"/>
                    <a:gd name="T18" fmla="*/ 10 w 86"/>
                    <a:gd name="T19" fmla="*/ 79 h 264"/>
                    <a:gd name="T20" fmla="*/ 22 w 86"/>
                    <a:gd name="T21" fmla="*/ 55 h 264"/>
                    <a:gd name="T22" fmla="*/ 39 w 86"/>
                    <a:gd name="T23" fmla="*/ 33 h 264"/>
                    <a:gd name="T24" fmla="*/ 60 w 86"/>
                    <a:gd name="T25" fmla="*/ 15 h 264"/>
                    <a:gd name="T26" fmla="*/ 86 w 86"/>
                    <a:gd name="T27" fmla="*/ 0 h 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6" h="264">
                      <a:moveTo>
                        <a:pt x="86" y="0"/>
                      </a:moveTo>
                      <a:lnTo>
                        <a:pt x="86" y="264"/>
                      </a:lnTo>
                      <a:lnTo>
                        <a:pt x="60" y="247"/>
                      </a:lnTo>
                      <a:lnTo>
                        <a:pt x="37" y="227"/>
                      </a:lnTo>
                      <a:lnTo>
                        <a:pt x="20" y="207"/>
                      </a:lnTo>
                      <a:lnTo>
                        <a:pt x="10" y="185"/>
                      </a:lnTo>
                      <a:lnTo>
                        <a:pt x="2" y="159"/>
                      </a:lnTo>
                      <a:lnTo>
                        <a:pt x="0" y="131"/>
                      </a:lnTo>
                      <a:lnTo>
                        <a:pt x="2" y="104"/>
                      </a:lnTo>
                      <a:lnTo>
                        <a:pt x="10" y="79"/>
                      </a:lnTo>
                      <a:lnTo>
                        <a:pt x="22" y="55"/>
                      </a:lnTo>
                      <a:lnTo>
                        <a:pt x="39" y="33"/>
                      </a:lnTo>
                      <a:lnTo>
                        <a:pt x="60" y="15"/>
                      </a:lnTo>
                      <a:lnTo>
                        <a:pt x="8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383" name="Freeform 16"/>
                <p:cNvSpPr>
                  <a:spLocks/>
                </p:cNvSpPr>
                <p:nvPr/>
              </p:nvSpPr>
              <p:spPr bwMode="auto">
                <a:xfrm>
                  <a:off x="-1239" y="3087"/>
                  <a:ext cx="115" cy="317"/>
                </a:xfrm>
                <a:custGeom>
                  <a:avLst/>
                  <a:gdLst>
                    <a:gd name="T0" fmla="*/ 0 w 115"/>
                    <a:gd name="T1" fmla="*/ 0 h 317"/>
                    <a:gd name="T2" fmla="*/ 36 w 115"/>
                    <a:gd name="T3" fmla="*/ 23 h 317"/>
                    <a:gd name="T4" fmla="*/ 65 w 115"/>
                    <a:gd name="T5" fmla="*/ 46 h 317"/>
                    <a:gd name="T6" fmla="*/ 88 w 115"/>
                    <a:gd name="T7" fmla="*/ 71 h 317"/>
                    <a:gd name="T8" fmla="*/ 103 w 115"/>
                    <a:gd name="T9" fmla="*/ 98 h 317"/>
                    <a:gd name="T10" fmla="*/ 111 w 115"/>
                    <a:gd name="T11" fmla="*/ 130 h 317"/>
                    <a:gd name="T12" fmla="*/ 115 w 115"/>
                    <a:gd name="T13" fmla="*/ 165 h 317"/>
                    <a:gd name="T14" fmla="*/ 112 w 115"/>
                    <a:gd name="T15" fmla="*/ 194 h 317"/>
                    <a:gd name="T16" fmla="*/ 105 w 115"/>
                    <a:gd name="T17" fmla="*/ 220 h 317"/>
                    <a:gd name="T18" fmla="*/ 94 w 115"/>
                    <a:gd name="T19" fmla="*/ 245 h 317"/>
                    <a:gd name="T20" fmla="*/ 77 w 115"/>
                    <a:gd name="T21" fmla="*/ 267 h 317"/>
                    <a:gd name="T22" fmla="*/ 56 w 115"/>
                    <a:gd name="T23" fmla="*/ 287 h 317"/>
                    <a:gd name="T24" fmla="*/ 30 w 115"/>
                    <a:gd name="T25" fmla="*/ 304 h 317"/>
                    <a:gd name="T26" fmla="*/ 0 w 115"/>
                    <a:gd name="T27" fmla="*/ 317 h 317"/>
                    <a:gd name="T28" fmla="*/ 0 w 115"/>
                    <a:gd name="T29" fmla="*/ 0 h 3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5" h="317">
                      <a:moveTo>
                        <a:pt x="0" y="0"/>
                      </a:moveTo>
                      <a:lnTo>
                        <a:pt x="36" y="23"/>
                      </a:lnTo>
                      <a:lnTo>
                        <a:pt x="65" y="46"/>
                      </a:lnTo>
                      <a:lnTo>
                        <a:pt x="88" y="71"/>
                      </a:lnTo>
                      <a:lnTo>
                        <a:pt x="103" y="98"/>
                      </a:lnTo>
                      <a:lnTo>
                        <a:pt x="111" y="130"/>
                      </a:lnTo>
                      <a:lnTo>
                        <a:pt x="115" y="165"/>
                      </a:lnTo>
                      <a:lnTo>
                        <a:pt x="112" y="194"/>
                      </a:lnTo>
                      <a:lnTo>
                        <a:pt x="105" y="220"/>
                      </a:lnTo>
                      <a:lnTo>
                        <a:pt x="94" y="245"/>
                      </a:lnTo>
                      <a:lnTo>
                        <a:pt x="77" y="267"/>
                      </a:lnTo>
                      <a:lnTo>
                        <a:pt x="56" y="287"/>
                      </a:lnTo>
                      <a:lnTo>
                        <a:pt x="30" y="304"/>
                      </a:lnTo>
                      <a:lnTo>
                        <a:pt x="0" y="3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384" name="Freeform 17"/>
                <p:cNvSpPr>
                  <a:spLocks noEditPoints="1"/>
                </p:cNvSpPr>
                <p:nvPr/>
              </p:nvSpPr>
              <p:spPr bwMode="auto">
                <a:xfrm>
                  <a:off x="-2992" y="1469"/>
                  <a:ext cx="3291" cy="3162"/>
                </a:xfrm>
                <a:custGeom>
                  <a:avLst/>
                  <a:gdLst>
                    <a:gd name="T0" fmla="*/ 1537 w 3291"/>
                    <a:gd name="T1" fmla="*/ 973 h 3162"/>
                    <a:gd name="T2" fmla="*/ 1412 w 3291"/>
                    <a:gd name="T3" fmla="*/ 1044 h 3162"/>
                    <a:gd name="T4" fmla="*/ 1335 w 3291"/>
                    <a:gd name="T5" fmla="*/ 1148 h 3162"/>
                    <a:gd name="T6" fmla="*/ 1308 w 3291"/>
                    <a:gd name="T7" fmla="*/ 1278 h 3162"/>
                    <a:gd name="T8" fmla="*/ 1338 w 3291"/>
                    <a:gd name="T9" fmla="*/ 1400 h 3162"/>
                    <a:gd name="T10" fmla="*/ 1431 w 3291"/>
                    <a:gd name="T11" fmla="*/ 1504 h 3162"/>
                    <a:gd name="T12" fmla="*/ 1588 w 3291"/>
                    <a:gd name="T13" fmla="*/ 1588 h 3162"/>
                    <a:gd name="T14" fmla="*/ 1488 w 3291"/>
                    <a:gd name="T15" fmla="*/ 1953 h 3162"/>
                    <a:gd name="T16" fmla="*/ 1359 w 3291"/>
                    <a:gd name="T17" fmla="*/ 1905 h 3162"/>
                    <a:gd name="T18" fmla="*/ 1317 w 3291"/>
                    <a:gd name="T19" fmla="*/ 2063 h 3162"/>
                    <a:gd name="T20" fmla="*/ 1470 w 3291"/>
                    <a:gd name="T21" fmla="*/ 2108 h 3162"/>
                    <a:gd name="T22" fmla="*/ 1588 w 3291"/>
                    <a:gd name="T23" fmla="*/ 2311 h 3162"/>
                    <a:gd name="T24" fmla="*/ 1749 w 3291"/>
                    <a:gd name="T25" fmla="*/ 2099 h 3162"/>
                    <a:gd name="T26" fmla="*/ 1879 w 3291"/>
                    <a:gd name="T27" fmla="*/ 2040 h 3162"/>
                    <a:gd name="T28" fmla="*/ 1965 w 3291"/>
                    <a:gd name="T29" fmla="*/ 1947 h 3162"/>
                    <a:gd name="T30" fmla="*/ 2005 w 3291"/>
                    <a:gd name="T31" fmla="*/ 1828 h 3162"/>
                    <a:gd name="T32" fmla="*/ 1996 w 3291"/>
                    <a:gd name="T33" fmla="*/ 1690 h 3162"/>
                    <a:gd name="T34" fmla="*/ 1935 w 3291"/>
                    <a:gd name="T35" fmla="*/ 1579 h 3162"/>
                    <a:gd name="T36" fmla="*/ 1820 w 3291"/>
                    <a:gd name="T37" fmla="*/ 1491 h 3162"/>
                    <a:gd name="T38" fmla="*/ 1706 w 3291"/>
                    <a:gd name="T39" fmla="*/ 1440 h 3162"/>
                    <a:gd name="T40" fmla="*/ 1745 w 3291"/>
                    <a:gd name="T41" fmla="*/ 1105 h 3162"/>
                    <a:gd name="T42" fmla="*/ 1864 w 3291"/>
                    <a:gd name="T43" fmla="*/ 1138 h 3162"/>
                    <a:gd name="T44" fmla="*/ 1969 w 3291"/>
                    <a:gd name="T45" fmla="*/ 1019 h 3162"/>
                    <a:gd name="T46" fmla="*/ 1852 w 3291"/>
                    <a:gd name="T47" fmla="*/ 970 h 3162"/>
                    <a:gd name="T48" fmla="*/ 1697 w 3291"/>
                    <a:gd name="T49" fmla="*/ 949 h 3162"/>
                    <a:gd name="T50" fmla="*/ 1059 w 3291"/>
                    <a:gd name="T51" fmla="*/ 0 h 3162"/>
                    <a:gd name="T52" fmla="*/ 1342 w 3291"/>
                    <a:gd name="T53" fmla="*/ 66 h 3162"/>
                    <a:gd name="T54" fmla="*/ 1644 w 3291"/>
                    <a:gd name="T55" fmla="*/ 89 h 3162"/>
                    <a:gd name="T56" fmla="*/ 1945 w 3291"/>
                    <a:gd name="T57" fmla="*/ 67 h 3162"/>
                    <a:gd name="T58" fmla="*/ 2225 w 3291"/>
                    <a:gd name="T59" fmla="*/ 2 h 3162"/>
                    <a:gd name="T60" fmla="*/ 2431 w 3291"/>
                    <a:gd name="T61" fmla="*/ 331 h 3162"/>
                    <a:gd name="T62" fmla="*/ 2647 w 3291"/>
                    <a:gd name="T63" fmla="*/ 655 h 3162"/>
                    <a:gd name="T64" fmla="*/ 2855 w 3291"/>
                    <a:gd name="T65" fmla="*/ 981 h 3162"/>
                    <a:gd name="T66" fmla="*/ 3040 w 3291"/>
                    <a:gd name="T67" fmla="*/ 1315 h 3162"/>
                    <a:gd name="T68" fmla="*/ 3185 w 3291"/>
                    <a:gd name="T69" fmla="*/ 1664 h 3162"/>
                    <a:gd name="T70" fmla="*/ 3269 w 3291"/>
                    <a:gd name="T71" fmla="*/ 2011 h 3162"/>
                    <a:gd name="T72" fmla="*/ 3283 w 3291"/>
                    <a:gd name="T73" fmla="*/ 2134 h 3162"/>
                    <a:gd name="T74" fmla="*/ 3291 w 3291"/>
                    <a:gd name="T75" fmla="*/ 2324 h 3162"/>
                    <a:gd name="T76" fmla="*/ 3275 w 3291"/>
                    <a:gd name="T77" fmla="*/ 2516 h 3162"/>
                    <a:gd name="T78" fmla="*/ 3228 w 3291"/>
                    <a:gd name="T79" fmla="*/ 2700 h 3162"/>
                    <a:gd name="T80" fmla="*/ 3142 w 3291"/>
                    <a:gd name="T81" fmla="*/ 2867 h 3162"/>
                    <a:gd name="T82" fmla="*/ 3012 w 3291"/>
                    <a:gd name="T83" fmla="*/ 3007 h 3162"/>
                    <a:gd name="T84" fmla="*/ 2858 w 3291"/>
                    <a:gd name="T85" fmla="*/ 3096 h 3162"/>
                    <a:gd name="T86" fmla="*/ 2657 w 3291"/>
                    <a:gd name="T87" fmla="*/ 3147 h 3162"/>
                    <a:gd name="T88" fmla="*/ 2448 w 3291"/>
                    <a:gd name="T89" fmla="*/ 3160 h 3162"/>
                    <a:gd name="T90" fmla="*/ 2233 w 3291"/>
                    <a:gd name="T91" fmla="*/ 3158 h 3162"/>
                    <a:gd name="T92" fmla="*/ 1149 w 3291"/>
                    <a:gd name="T93" fmla="*/ 3147 h 3162"/>
                    <a:gd name="T94" fmla="*/ 821 w 3291"/>
                    <a:gd name="T95" fmla="*/ 3162 h 3162"/>
                    <a:gd name="T96" fmla="*/ 566 w 3291"/>
                    <a:gd name="T97" fmla="*/ 3150 h 3162"/>
                    <a:gd name="T98" fmla="*/ 359 w 3291"/>
                    <a:gd name="T99" fmla="*/ 3088 h 3162"/>
                    <a:gd name="T100" fmla="*/ 212 w 3291"/>
                    <a:gd name="T101" fmla="*/ 2992 h 3162"/>
                    <a:gd name="T102" fmla="*/ 107 w 3291"/>
                    <a:gd name="T103" fmla="*/ 2863 h 3162"/>
                    <a:gd name="T104" fmla="*/ 39 w 3291"/>
                    <a:gd name="T105" fmla="*/ 2702 h 3162"/>
                    <a:gd name="T106" fmla="*/ 4 w 3291"/>
                    <a:gd name="T107" fmla="*/ 2501 h 3162"/>
                    <a:gd name="T108" fmla="*/ 4 w 3291"/>
                    <a:gd name="T109" fmla="*/ 2283 h 3162"/>
                    <a:gd name="T110" fmla="*/ 29 w 3291"/>
                    <a:gd name="T111" fmla="*/ 2069 h 3162"/>
                    <a:gd name="T112" fmla="*/ 96 w 3291"/>
                    <a:gd name="T113" fmla="*/ 1761 h 3162"/>
                    <a:gd name="T114" fmla="*/ 171 w 3291"/>
                    <a:gd name="T115" fmla="*/ 1498 h 3162"/>
                    <a:gd name="T116" fmla="*/ 301 w 3291"/>
                    <a:gd name="T117" fmla="*/ 1173 h 3162"/>
                    <a:gd name="T118" fmla="*/ 471 w 3291"/>
                    <a:gd name="T119" fmla="*/ 871 h 3162"/>
                    <a:gd name="T120" fmla="*/ 665 w 3291"/>
                    <a:gd name="T121" fmla="*/ 581 h 3162"/>
                    <a:gd name="T122" fmla="*/ 867 w 3291"/>
                    <a:gd name="T123" fmla="*/ 295 h 3162"/>
                    <a:gd name="T124" fmla="*/ 1059 w 3291"/>
                    <a:gd name="T125" fmla="*/ 0 h 3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291" h="3162">
                      <a:moveTo>
                        <a:pt x="1588" y="780"/>
                      </a:moveTo>
                      <a:lnTo>
                        <a:pt x="1588" y="960"/>
                      </a:lnTo>
                      <a:lnTo>
                        <a:pt x="1537" y="973"/>
                      </a:lnTo>
                      <a:lnTo>
                        <a:pt x="1491" y="993"/>
                      </a:lnTo>
                      <a:lnTo>
                        <a:pt x="1449" y="1016"/>
                      </a:lnTo>
                      <a:lnTo>
                        <a:pt x="1412" y="1044"/>
                      </a:lnTo>
                      <a:lnTo>
                        <a:pt x="1381" y="1075"/>
                      </a:lnTo>
                      <a:lnTo>
                        <a:pt x="1355" y="1110"/>
                      </a:lnTo>
                      <a:lnTo>
                        <a:pt x="1335" y="1148"/>
                      </a:lnTo>
                      <a:lnTo>
                        <a:pt x="1320" y="1190"/>
                      </a:lnTo>
                      <a:lnTo>
                        <a:pt x="1310" y="1232"/>
                      </a:lnTo>
                      <a:lnTo>
                        <a:pt x="1308" y="1278"/>
                      </a:lnTo>
                      <a:lnTo>
                        <a:pt x="1310" y="1320"/>
                      </a:lnTo>
                      <a:lnTo>
                        <a:pt x="1321" y="1362"/>
                      </a:lnTo>
                      <a:lnTo>
                        <a:pt x="1338" y="1400"/>
                      </a:lnTo>
                      <a:lnTo>
                        <a:pt x="1361" y="1438"/>
                      </a:lnTo>
                      <a:lnTo>
                        <a:pt x="1393" y="1472"/>
                      </a:lnTo>
                      <a:lnTo>
                        <a:pt x="1431" y="1504"/>
                      </a:lnTo>
                      <a:lnTo>
                        <a:pt x="1475" y="1536"/>
                      </a:lnTo>
                      <a:lnTo>
                        <a:pt x="1528" y="1563"/>
                      </a:lnTo>
                      <a:lnTo>
                        <a:pt x="1588" y="1588"/>
                      </a:lnTo>
                      <a:lnTo>
                        <a:pt x="1588" y="1966"/>
                      </a:lnTo>
                      <a:lnTo>
                        <a:pt x="1538" y="1963"/>
                      </a:lnTo>
                      <a:lnTo>
                        <a:pt x="1488" y="1953"/>
                      </a:lnTo>
                      <a:lnTo>
                        <a:pt x="1441" y="1940"/>
                      </a:lnTo>
                      <a:lnTo>
                        <a:pt x="1398" y="1923"/>
                      </a:lnTo>
                      <a:lnTo>
                        <a:pt x="1359" y="1905"/>
                      </a:lnTo>
                      <a:lnTo>
                        <a:pt x="1326" y="1887"/>
                      </a:lnTo>
                      <a:lnTo>
                        <a:pt x="1275" y="2041"/>
                      </a:lnTo>
                      <a:lnTo>
                        <a:pt x="1317" y="2063"/>
                      </a:lnTo>
                      <a:lnTo>
                        <a:pt x="1364" y="2082"/>
                      </a:lnTo>
                      <a:lnTo>
                        <a:pt x="1415" y="2096"/>
                      </a:lnTo>
                      <a:lnTo>
                        <a:pt x="1470" y="2108"/>
                      </a:lnTo>
                      <a:lnTo>
                        <a:pt x="1528" y="2116"/>
                      </a:lnTo>
                      <a:lnTo>
                        <a:pt x="1588" y="2118"/>
                      </a:lnTo>
                      <a:lnTo>
                        <a:pt x="1588" y="2311"/>
                      </a:lnTo>
                      <a:lnTo>
                        <a:pt x="1697" y="2311"/>
                      </a:lnTo>
                      <a:lnTo>
                        <a:pt x="1697" y="2109"/>
                      </a:lnTo>
                      <a:lnTo>
                        <a:pt x="1749" y="2099"/>
                      </a:lnTo>
                      <a:lnTo>
                        <a:pt x="1797" y="2083"/>
                      </a:lnTo>
                      <a:lnTo>
                        <a:pt x="1841" y="2063"/>
                      </a:lnTo>
                      <a:lnTo>
                        <a:pt x="1879" y="2040"/>
                      </a:lnTo>
                      <a:lnTo>
                        <a:pt x="1913" y="2012"/>
                      </a:lnTo>
                      <a:lnTo>
                        <a:pt x="1941" y="1981"/>
                      </a:lnTo>
                      <a:lnTo>
                        <a:pt x="1965" y="1947"/>
                      </a:lnTo>
                      <a:lnTo>
                        <a:pt x="1985" y="1910"/>
                      </a:lnTo>
                      <a:lnTo>
                        <a:pt x="1998" y="1870"/>
                      </a:lnTo>
                      <a:lnTo>
                        <a:pt x="2005" y="1828"/>
                      </a:lnTo>
                      <a:lnTo>
                        <a:pt x="2009" y="1782"/>
                      </a:lnTo>
                      <a:lnTo>
                        <a:pt x="2005" y="1735"/>
                      </a:lnTo>
                      <a:lnTo>
                        <a:pt x="1996" y="1690"/>
                      </a:lnTo>
                      <a:lnTo>
                        <a:pt x="1982" y="1650"/>
                      </a:lnTo>
                      <a:lnTo>
                        <a:pt x="1961" y="1613"/>
                      </a:lnTo>
                      <a:lnTo>
                        <a:pt x="1935" y="1579"/>
                      </a:lnTo>
                      <a:lnTo>
                        <a:pt x="1902" y="1548"/>
                      </a:lnTo>
                      <a:lnTo>
                        <a:pt x="1864" y="1519"/>
                      </a:lnTo>
                      <a:lnTo>
                        <a:pt x="1820" y="1491"/>
                      </a:lnTo>
                      <a:lnTo>
                        <a:pt x="1770" y="1468"/>
                      </a:lnTo>
                      <a:lnTo>
                        <a:pt x="1715" y="1444"/>
                      </a:lnTo>
                      <a:lnTo>
                        <a:pt x="1706" y="1440"/>
                      </a:lnTo>
                      <a:lnTo>
                        <a:pt x="1697" y="1438"/>
                      </a:lnTo>
                      <a:lnTo>
                        <a:pt x="1697" y="1101"/>
                      </a:lnTo>
                      <a:lnTo>
                        <a:pt x="1745" y="1105"/>
                      </a:lnTo>
                      <a:lnTo>
                        <a:pt x="1789" y="1113"/>
                      </a:lnTo>
                      <a:lnTo>
                        <a:pt x="1829" y="1125"/>
                      </a:lnTo>
                      <a:lnTo>
                        <a:pt x="1864" y="1138"/>
                      </a:lnTo>
                      <a:lnTo>
                        <a:pt x="1894" y="1152"/>
                      </a:lnTo>
                      <a:lnTo>
                        <a:pt x="1919" y="1167"/>
                      </a:lnTo>
                      <a:lnTo>
                        <a:pt x="1969" y="1019"/>
                      </a:lnTo>
                      <a:lnTo>
                        <a:pt x="1936" y="1000"/>
                      </a:lnTo>
                      <a:lnTo>
                        <a:pt x="1897" y="985"/>
                      </a:lnTo>
                      <a:lnTo>
                        <a:pt x="1852" y="970"/>
                      </a:lnTo>
                      <a:lnTo>
                        <a:pt x="1804" y="960"/>
                      </a:lnTo>
                      <a:lnTo>
                        <a:pt x="1752" y="952"/>
                      </a:lnTo>
                      <a:lnTo>
                        <a:pt x="1697" y="949"/>
                      </a:lnTo>
                      <a:lnTo>
                        <a:pt x="1697" y="780"/>
                      </a:lnTo>
                      <a:lnTo>
                        <a:pt x="1588" y="780"/>
                      </a:lnTo>
                      <a:close/>
                      <a:moveTo>
                        <a:pt x="1059" y="0"/>
                      </a:moveTo>
                      <a:lnTo>
                        <a:pt x="1151" y="26"/>
                      </a:lnTo>
                      <a:lnTo>
                        <a:pt x="1245" y="49"/>
                      </a:lnTo>
                      <a:lnTo>
                        <a:pt x="1342" y="66"/>
                      </a:lnTo>
                      <a:lnTo>
                        <a:pt x="1441" y="79"/>
                      </a:lnTo>
                      <a:lnTo>
                        <a:pt x="1542" y="87"/>
                      </a:lnTo>
                      <a:lnTo>
                        <a:pt x="1644" y="89"/>
                      </a:lnTo>
                      <a:lnTo>
                        <a:pt x="1746" y="87"/>
                      </a:lnTo>
                      <a:lnTo>
                        <a:pt x="1847" y="79"/>
                      </a:lnTo>
                      <a:lnTo>
                        <a:pt x="1945" y="67"/>
                      </a:lnTo>
                      <a:lnTo>
                        <a:pt x="2041" y="50"/>
                      </a:lnTo>
                      <a:lnTo>
                        <a:pt x="2135" y="28"/>
                      </a:lnTo>
                      <a:lnTo>
                        <a:pt x="2225" y="2"/>
                      </a:lnTo>
                      <a:lnTo>
                        <a:pt x="2292" y="113"/>
                      </a:lnTo>
                      <a:lnTo>
                        <a:pt x="2360" y="223"/>
                      </a:lnTo>
                      <a:lnTo>
                        <a:pt x="2431" y="331"/>
                      </a:lnTo>
                      <a:lnTo>
                        <a:pt x="2503" y="439"/>
                      </a:lnTo>
                      <a:lnTo>
                        <a:pt x="2575" y="547"/>
                      </a:lnTo>
                      <a:lnTo>
                        <a:pt x="2647" y="655"/>
                      </a:lnTo>
                      <a:lnTo>
                        <a:pt x="2718" y="763"/>
                      </a:lnTo>
                      <a:lnTo>
                        <a:pt x="2788" y="871"/>
                      </a:lnTo>
                      <a:lnTo>
                        <a:pt x="2855" y="981"/>
                      </a:lnTo>
                      <a:lnTo>
                        <a:pt x="2921" y="1091"/>
                      </a:lnTo>
                      <a:lnTo>
                        <a:pt x="2982" y="1202"/>
                      </a:lnTo>
                      <a:lnTo>
                        <a:pt x="3040" y="1315"/>
                      </a:lnTo>
                      <a:lnTo>
                        <a:pt x="3093" y="1428"/>
                      </a:lnTo>
                      <a:lnTo>
                        <a:pt x="3142" y="1545"/>
                      </a:lnTo>
                      <a:lnTo>
                        <a:pt x="3185" y="1664"/>
                      </a:lnTo>
                      <a:lnTo>
                        <a:pt x="3220" y="1786"/>
                      </a:lnTo>
                      <a:lnTo>
                        <a:pt x="3248" y="1897"/>
                      </a:lnTo>
                      <a:lnTo>
                        <a:pt x="3269" y="2011"/>
                      </a:lnTo>
                      <a:lnTo>
                        <a:pt x="3282" y="2128"/>
                      </a:lnTo>
                      <a:lnTo>
                        <a:pt x="3283" y="2131"/>
                      </a:lnTo>
                      <a:lnTo>
                        <a:pt x="3283" y="2134"/>
                      </a:lnTo>
                      <a:lnTo>
                        <a:pt x="3287" y="2197"/>
                      </a:lnTo>
                      <a:lnTo>
                        <a:pt x="3290" y="2261"/>
                      </a:lnTo>
                      <a:lnTo>
                        <a:pt x="3291" y="2324"/>
                      </a:lnTo>
                      <a:lnTo>
                        <a:pt x="3288" y="2388"/>
                      </a:lnTo>
                      <a:lnTo>
                        <a:pt x="3283" y="2452"/>
                      </a:lnTo>
                      <a:lnTo>
                        <a:pt x="3275" y="2516"/>
                      </a:lnTo>
                      <a:lnTo>
                        <a:pt x="3264" y="2578"/>
                      </a:lnTo>
                      <a:lnTo>
                        <a:pt x="3248" y="2639"/>
                      </a:lnTo>
                      <a:lnTo>
                        <a:pt x="3228" y="2700"/>
                      </a:lnTo>
                      <a:lnTo>
                        <a:pt x="3205" y="2757"/>
                      </a:lnTo>
                      <a:lnTo>
                        <a:pt x="3176" y="2813"/>
                      </a:lnTo>
                      <a:lnTo>
                        <a:pt x="3142" y="2867"/>
                      </a:lnTo>
                      <a:lnTo>
                        <a:pt x="3104" y="2918"/>
                      </a:lnTo>
                      <a:lnTo>
                        <a:pt x="3059" y="2965"/>
                      </a:lnTo>
                      <a:lnTo>
                        <a:pt x="3012" y="3007"/>
                      </a:lnTo>
                      <a:lnTo>
                        <a:pt x="2962" y="3043"/>
                      </a:lnTo>
                      <a:lnTo>
                        <a:pt x="2910" y="3073"/>
                      </a:lnTo>
                      <a:lnTo>
                        <a:pt x="2858" y="3096"/>
                      </a:lnTo>
                      <a:lnTo>
                        <a:pt x="2792" y="3120"/>
                      </a:lnTo>
                      <a:lnTo>
                        <a:pt x="2725" y="3136"/>
                      </a:lnTo>
                      <a:lnTo>
                        <a:pt x="2657" y="3147"/>
                      </a:lnTo>
                      <a:lnTo>
                        <a:pt x="2588" y="3155"/>
                      </a:lnTo>
                      <a:lnTo>
                        <a:pt x="2519" y="3159"/>
                      </a:lnTo>
                      <a:lnTo>
                        <a:pt x="2448" y="3160"/>
                      </a:lnTo>
                      <a:lnTo>
                        <a:pt x="2376" y="3160"/>
                      </a:lnTo>
                      <a:lnTo>
                        <a:pt x="2305" y="3159"/>
                      </a:lnTo>
                      <a:lnTo>
                        <a:pt x="2233" y="3158"/>
                      </a:lnTo>
                      <a:lnTo>
                        <a:pt x="1223" y="3147"/>
                      </a:lnTo>
                      <a:lnTo>
                        <a:pt x="1151" y="3147"/>
                      </a:lnTo>
                      <a:lnTo>
                        <a:pt x="1149" y="3147"/>
                      </a:lnTo>
                      <a:lnTo>
                        <a:pt x="1041" y="3151"/>
                      </a:lnTo>
                      <a:lnTo>
                        <a:pt x="931" y="3158"/>
                      </a:lnTo>
                      <a:lnTo>
                        <a:pt x="821" y="3162"/>
                      </a:lnTo>
                      <a:lnTo>
                        <a:pt x="710" y="3162"/>
                      </a:lnTo>
                      <a:lnTo>
                        <a:pt x="638" y="3158"/>
                      </a:lnTo>
                      <a:lnTo>
                        <a:pt x="566" y="3150"/>
                      </a:lnTo>
                      <a:lnTo>
                        <a:pt x="495" y="3136"/>
                      </a:lnTo>
                      <a:lnTo>
                        <a:pt x="425" y="3116"/>
                      </a:lnTo>
                      <a:lnTo>
                        <a:pt x="359" y="3088"/>
                      </a:lnTo>
                      <a:lnTo>
                        <a:pt x="305" y="3060"/>
                      </a:lnTo>
                      <a:lnTo>
                        <a:pt x="255" y="3028"/>
                      </a:lnTo>
                      <a:lnTo>
                        <a:pt x="212" y="2992"/>
                      </a:lnTo>
                      <a:lnTo>
                        <a:pt x="173" y="2952"/>
                      </a:lnTo>
                      <a:lnTo>
                        <a:pt x="137" y="2909"/>
                      </a:lnTo>
                      <a:lnTo>
                        <a:pt x="107" y="2863"/>
                      </a:lnTo>
                      <a:lnTo>
                        <a:pt x="82" y="2816"/>
                      </a:lnTo>
                      <a:lnTo>
                        <a:pt x="60" y="2765"/>
                      </a:lnTo>
                      <a:lnTo>
                        <a:pt x="39" y="2702"/>
                      </a:lnTo>
                      <a:lnTo>
                        <a:pt x="22" y="2637"/>
                      </a:lnTo>
                      <a:lnTo>
                        <a:pt x="10" y="2570"/>
                      </a:lnTo>
                      <a:lnTo>
                        <a:pt x="4" y="2501"/>
                      </a:lnTo>
                      <a:lnTo>
                        <a:pt x="0" y="2429"/>
                      </a:lnTo>
                      <a:lnTo>
                        <a:pt x="0" y="2357"/>
                      </a:lnTo>
                      <a:lnTo>
                        <a:pt x="4" y="2283"/>
                      </a:lnTo>
                      <a:lnTo>
                        <a:pt x="4" y="2282"/>
                      </a:lnTo>
                      <a:lnTo>
                        <a:pt x="13" y="2175"/>
                      </a:lnTo>
                      <a:lnTo>
                        <a:pt x="29" y="2069"/>
                      </a:lnTo>
                      <a:lnTo>
                        <a:pt x="48" y="1964"/>
                      </a:lnTo>
                      <a:lnTo>
                        <a:pt x="71" y="1860"/>
                      </a:lnTo>
                      <a:lnTo>
                        <a:pt x="96" y="1761"/>
                      </a:lnTo>
                      <a:lnTo>
                        <a:pt x="120" y="1668"/>
                      </a:lnTo>
                      <a:lnTo>
                        <a:pt x="147" y="1579"/>
                      </a:lnTo>
                      <a:lnTo>
                        <a:pt x="171" y="1498"/>
                      </a:lnTo>
                      <a:lnTo>
                        <a:pt x="209" y="1387"/>
                      </a:lnTo>
                      <a:lnTo>
                        <a:pt x="253" y="1278"/>
                      </a:lnTo>
                      <a:lnTo>
                        <a:pt x="301" y="1173"/>
                      </a:lnTo>
                      <a:lnTo>
                        <a:pt x="355" y="1070"/>
                      </a:lnTo>
                      <a:lnTo>
                        <a:pt x="411" y="970"/>
                      </a:lnTo>
                      <a:lnTo>
                        <a:pt x="471" y="871"/>
                      </a:lnTo>
                      <a:lnTo>
                        <a:pt x="534" y="774"/>
                      </a:lnTo>
                      <a:lnTo>
                        <a:pt x="600" y="677"/>
                      </a:lnTo>
                      <a:lnTo>
                        <a:pt x="665" y="581"/>
                      </a:lnTo>
                      <a:lnTo>
                        <a:pt x="732" y="486"/>
                      </a:lnTo>
                      <a:lnTo>
                        <a:pt x="800" y="390"/>
                      </a:lnTo>
                      <a:lnTo>
                        <a:pt x="867" y="295"/>
                      </a:lnTo>
                      <a:lnTo>
                        <a:pt x="932" y="198"/>
                      </a:lnTo>
                      <a:lnTo>
                        <a:pt x="998" y="100"/>
                      </a:lnTo>
                      <a:lnTo>
                        <a:pt x="105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</p:grpSp>
        </p:grpSp>
        <p:sp>
          <p:nvSpPr>
            <p:cNvPr id="377" name="ZoneTexte 376"/>
            <p:cNvSpPr txBox="1"/>
            <p:nvPr/>
          </p:nvSpPr>
          <p:spPr>
            <a:xfrm>
              <a:off x="2251672" y="5876174"/>
              <a:ext cx="274480" cy="5486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BE" dirty="0"/>
            </a:p>
          </p:txBody>
        </p:sp>
      </p:grpSp>
      <p:grpSp>
        <p:nvGrpSpPr>
          <p:cNvPr id="385" name="Groupe 2992"/>
          <p:cNvGrpSpPr/>
          <p:nvPr/>
        </p:nvGrpSpPr>
        <p:grpSpPr>
          <a:xfrm>
            <a:off x="6936228" y="3886382"/>
            <a:ext cx="396785" cy="829275"/>
            <a:chOff x="2931139" y="5269433"/>
            <a:chExt cx="589739" cy="1232382"/>
          </a:xfrm>
        </p:grpSpPr>
        <p:grpSp>
          <p:nvGrpSpPr>
            <p:cNvPr id="386" name="Groupe 40"/>
            <p:cNvGrpSpPr/>
            <p:nvPr/>
          </p:nvGrpSpPr>
          <p:grpSpPr>
            <a:xfrm>
              <a:off x="2931139" y="5269433"/>
              <a:ext cx="589739" cy="589739"/>
              <a:chOff x="3075083" y="5269433"/>
              <a:chExt cx="589739" cy="589739"/>
            </a:xfrm>
          </p:grpSpPr>
          <p:sp>
            <p:nvSpPr>
              <p:cNvPr id="388" name="Ellipse 387"/>
              <p:cNvSpPr/>
              <p:nvPr/>
            </p:nvSpPr>
            <p:spPr>
              <a:xfrm>
                <a:off x="3075083" y="5269433"/>
                <a:ext cx="589739" cy="589739"/>
              </a:xfrm>
              <a:prstGeom prst="ellipse">
                <a:avLst/>
              </a:prstGeom>
              <a:solidFill>
                <a:srgbClr val="1289B4"/>
              </a:solidFill>
              <a:ln w="38100">
                <a:solidFill>
                  <a:srgbClr val="29DBFF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fr-BE" dirty="0"/>
              </a:p>
            </p:txBody>
          </p:sp>
          <p:grpSp>
            <p:nvGrpSpPr>
              <p:cNvPr id="389" name="Group 33"/>
              <p:cNvGrpSpPr>
                <a:grpSpLocks noChangeAspect="1"/>
              </p:cNvGrpSpPr>
              <p:nvPr/>
            </p:nvGrpSpPr>
            <p:grpSpPr bwMode="auto">
              <a:xfrm>
                <a:off x="3183855" y="5333611"/>
                <a:ext cx="361707" cy="419197"/>
                <a:chOff x="5595" y="1192"/>
                <a:chExt cx="1963" cy="2275"/>
              </a:xfrm>
              <a:solidFill>
                <a:schemeClr val="bg1"/>
              </a:solidFill>
            </p:grpSpPr>
            <p:sp>
              <p:nvSpPr>
                <p:cNvPr id="390" name="Rectangle 35"/>
                <p:cNvSpPr>
                  <a:spLocks noChangeArrowheads="1"/>
                </p:cNvSpPr>
                <p:nvPr/>
              </p:nvSpPr>
              <p:spPr bwMode="auto">
                <a:xfrm>
                  <a:off x="5706" y="2031"/>
                  <a:ext cx="349" cy="114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391" name="Rectangle 36"/>
                <p:cNvSpPr>
                  <a:spLocks noChangeArrowheads="1"/>
                </p:cNvSpPr>
                <p:nvPr/>
              </p:nvSpPr>
              <p:spPr bwMode="auto">
                <a:xfrm>
                  <a:off x="6171" y="2031"/>
                  <a:ext cx="349" cy="114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392" name="Rectangle 37"/>
                <p:cNvSpPr>
                  <a:spLocks noChangeArrowheads="1"/>
                </p:cNvSpPr>
                <p:nvPr/>
              </p:nvSpPr>
              <p:spPr bwMode="auto">
                <a:xfrm>
                  <a:off x="6618" y="2031"/>
                  <a:ext cx="349" cy="114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393" name="Rectangle 38"/>
                <p:cNvSpPr>
                  <a:spLocks noChangeArrowheads="1"/>
                </p:cNvSpPr>
                <p:nvPr/>
              </p:nvSpPr>
              <p:spPr bwMode="auto">
                <a:xfrm>
                  <a:off x="7086" y="2031"/>
                  <a:ext cx="348" cy="114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394" name="Rectangle 39"/>
                <p:cNvSpPr>
                  <a:spLocks noChangeArrowheads="1"/>
                </p:cNvSpPr>
                <p:nvPr/>
              </p:nvSpPr>
              <p:spPr bwMode="auto">
                <a:xfrm>
                  <a:off x="5595" y="3296"/>
                  <a:ext cx="1951" cy="171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395" name="Freeform 40"/>
                <p:cNvSpPr>
                  <a:spLocks/>
                </p:cNvSpPr>
                <p:nvPr/>
              </p:nvSpPr>
              <p:spPr bwMode="auto">
                <a:xfrm>
                  <a:off x="5607" y="1192"/>
                  <a:ext cx="1951" cy="725"/>
                </a:xfrm>
                <a:custGeom>
                  <a:avLst/>
                  <a:gdLst>
                    <a:gd name="T0" fmla="*/ 1952 w 3903"/>
                    <a:gd name="T1" fmla="*/ 0 h 1451"/>
                    <a:gd name="T2" fmla="*/ 3903 w 3903"/>
                    <a:gd name="T3" fmla="*/ 1108 h 1451"/>
                    <a:gd name="T4" fmla="*/ 3903 w 3903"/>
                    <a:gd name="T5" fmla="*/ 1451 h 1451"/>
                    <a:gd name="T6" fmla="*/ 0 w 3903"/>
                    <a:gd name="T7" fmla="*/ 1451 h 1451"/>
                    <a:gd name="T8" fmla="*/ 0 w 3903"/>
                    <a:gd name="T9" fmla="*/ 1108 h 1451"/>
                    <a:gd name="T10" fmla="*/ 1952 w 3903"/>
                    <a:gd name="T11" fmla="*/ 0 h 1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03" h="1451">
                      <a:moveTo>
                        <a:pt x="1952" y="0"/>
                      </a:moveTo>
                      <a:lnTo>
                        <a:pt x="3903" y="1108"/>
                      </a:lnTo>
                      <a:lnTo>
                        <a:pt x="3903" y="1451"/>
                      </a:lnTo>
                      <a:lnTo>
                        <a:pt x="0" y="1451"/>
                      </a:lnTo>
                      <a:lnTo>
                        <a:pt x="0" y="1108"/>
                      </a:lnTo>
                      <a:lnTo>
                        <a:pt x="195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</p:grpSp>
        </p:grpSp>
        <p:sp>
          <p:nvSpPr>
            <p:cNvPr id="387" name="ZoneTexte 386"/>
            <p:cNvSpPr txBox="1"/>
            <p:nvPr/>
          </p:nvSpPr>
          <p:spPr>
            <a:xfrm>
              <a:off x="3088773" y="5953122"/>
              <a:ext cx="274480" cy="5486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BE" dirty="0"/>
            </a:p>
          </p:txBody>
        </p:sp>
      </p:grpSp>
      <p:grpSp>
        <p:nvGrpSpPr>
          <p:cNvPr id="396" name="Groupe 2999"/>
          <p:cNvGrpSpPr/>
          <p:nvPr/>
        </p:nvGrpSpPr>
        <p:grpSpPr>
          <a:xfrm>
            <a:off x="7141506" y="3362740"/>
            <a:ext cx="396785" cy="777497"/>
            <a:chOff x="4672085" y="5269433"/>
            <a:chExt cx="589739" cy="1155433"/>
          </a:xfrm>
        </p:grpSpPr>
        <p:grpSp>
          <p:nvGrpSpPr>
            <p:cNvPr id="397" name="Groupe 49"/>
            <p:cNvGrpSpPr/>
            <p:nvPr/>
          </p:nvGrpSpPr>
          <p:grpSpPr>
            <a:xfrm>
              <a:off x="4672085" y="5269433"/>
              <a:ext cx="589739" cy="589739"/>
              <a:chOff x="4564684" y="5269433"/>
              <a:chExt cx="589739" cy="589739"/>
            </a:xfrm>
          </p:grpSpPr>
          <p:sp>
            <p:nvSpPr>
              <p:cNvPr id="399" name="Ellipse 398"/>
              <p:cNvSpPr/>
              <p:nvPr/>
            </p:nvSpPr>
            <p:spPr>
              <a:xfrm>
                <a:off x="4564684" y="5269433"/>
                <a:ext cx="589739" cy="589739"/>
              </a:xfrm>
              <a:prstGeom prst="ellipse">
                <a:avLst/>
              </a:prstGeom>
              <a:solidFill>
                <a:srgbClr val="1289B4"/>
              </a:solidFill>
              <a:ln w="38100">
                <a:solidFill>
                  <a:srgbClr val="29DBFF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fr-BE" dirty="0"/>
              </a:p>
            </p:txBody>
          </p:sp>
          <p:sp>
            <p:nvSpPr>
              <p:cNvPr id="400" name="Freeform 202"/>
              <p:cNvSpPr>
                <a:spLocks/>
              </p:cNvSpPr>
              <p:nvPr/>
            </p:nvSpPr>
            <p:spPr bwMode="auto">
              <a:xfrm>
                <a:off x="4631650" y="5426885"/>
                <a:ext cx="410032" cy="350181"/>
              </a:xfrm>
              <a:custGeom>
                <a:avLst/>
                <a:gdLst>
                  <a:gd name="T0" fmla="*/ 4940 w 5056"/>
                  <a:gd name="T1" fmla="*/ 23 h 4318"/>
                  <a:gd name="T2" fmla="*/ 5027 w 5056"/>
                  <a:gd name="T3" fmla="*/ 93 h 4318"/>
                  <a:gd name="T4" fmla="*/ 5051 w 5056"/>
                  <a:gd name="T5" fmla="*/ 246 h 4318"/>
                  <a:gd name="T6" fmla="*/ 4969 w 5056"/>
                  <a:gd name="T7" fmla="*/ 430 h 4318"/>
                  <a:gd name="T8" fmla="*/ 4809 w 5056"/>
                  <a:gd name="T9" fmla="*/ 629 h 4318"/>
                  <a:gd name="T10" fmla="*/ 4599 w 5056"/>
                  <a:gd name="T11" fmla="*/ 831 h 4318"/>
                  <a:gd name="T12" fmla="*/ 4370 w 5056"/>
                  <a:gd name="T13" fmla="*/ 1023 h 4318"/>
                  <a:gd name="T14" fmla="*/ 4147 w 5056"/>
                  <a:gd name="T15" fmla="*/ 1191 h 4318"/>
                  <a:gd name="T16" fmla="*/ 3962 w 5056"/>
                  <a:gd name="T17" fmla="*/ 1323 h 4318"/>
                  <a:gd name="T18" fmla="*/ 3843 w 5056"/>
                  <a:gd name="T19" fmla="*/ 1404 h 4318"/>
                  <a:gd name="T20" fmla="*/ 3544 w 5056"/>
                  <a:gd name="T21" fmla="*/ 2736 h 4318"/>
                  <a:gd name="T22" fmla="*/ 3689 w 5056"/>
                  <a:gd name="T23" fmla="*/ 2694 h 4318"/>
                  <a:gd name="T24" fmla="*/ 3763 w 5056"/>
                  <a:gd name="T25" fmla="*/ 2709 h 4318"/>
                  <a:gd name="T26" fmla="*/ 3741 w 5056"/>
                  <a:gd name="T27" fmla="*/ 2791 h 4318"/>
                  <a:gd name="T28" fmla="*/ 3628 w 5056"/>
                  <a:gd name="T29" fmla="*/ 2921 h 4318"/>
                  <a:gd name="T30" fmla="*/ 3309 w 5056"/>
                  <a:gd name="T31" fmla="*/ 4068 h 4318"/>
                  <a:gd name="T32" fmla="*/ 2883 w 5056"/>
                  <a:gd name="T33" fmla="*/ 3449 h 4318"/>
                  <a:gd name="T34" fmla="*/ 2765 w 5056"/>
                  <a:gd name="T35" fmla="*/ 3500 h 4318"/>
                  <a:gd name="T36" fmla="*/ 2709 w 5056"/>
                  <a:gd name="T37" fmla="*/ 3498 h 4318"/>
                  <a:gd name="T38" fmla="*/ 2684 w 5056"/>
                  <a:gd name="T39" fmla="*/ 3466 h 4318"/>
                  <a:gd name="T40" fmla="*/ 2666 w 5056"/>
                  <a:gd name="T41" fmla="*/ 3425 h 4318"/>
                  <a:gd name="T42" fmla="*/ 2638 w 5056"/>
                  <a:gd name="T43" fmla="*/ 3382 h 4318"/>
                  <a:gd name="T44" fmla="*/ 2632 w 5056"/>
                  <a:gd name="T45" fmla="*/ 3333 h 4318"/>
                  <a:gd name="T46" fmla="*/ 2680 w 5056"/>
                  <a:gd name="T47" fmla="*/ 3263 h 4318"/>
                  <a:gd name="T48" fmla="*/ 2810 w 5056"/>
                  <a:gd name="T49" fmla="*/ 3155 h 4318"/>
                  <a:gd name="T50" fmla="*/ 1267 w 5056"/>
                  <a:gd name="T51" fmla="*/ 2745 h 4318"/>
                  <a:gd name="T52" fmla="*/ 0 w 5056"/>
                  <a:gd name="T53" fmla="*/ 2377 h 4318"/>
                  <a:gd name="T54" fmla="*/ 1437 w 5056"/>
                  <a:gd name="T55" fmla="*/ 815 h 4318"/>
                  <a:gd name="T56" fmla="*/ 1252 w 5056"/>
                  <a:gd name="T57" fmla="*/ 925 h 4318"/>
                  <a:gd name="T58" fmla="*/ 1138 w 5056"/>
                  <a:gd name="T59" fmla="*/ 969 h 4318"/>
                  <a:gd name="T60" fmla="*/ 1077 w 5056"/>
                  <a:gd name="T61" fmla="*/ 966 h 4318"/>
                  <a:gd name="T62" fmla="*/ 1043 w 5056"/>
                  <a:gd name="T63" fmla="*/ 936 h 4318"/>
                  <a:gd name="T64" fmla="*/ 1017 w 5056"/>
                  <a:gd name="T65" fmla="*/ 894 h 4318"/>
                  <a:gd name="T66" fmla="*/ 987 w 5056"/>
                  <a:gd name="T67" fmla="*/ 862 h 4318"/>
                  <a:gd name="T68" fmla="*/ 974 w 5056"/>
                  <a:gd name="T69" fmla="*/ 824 h 4318"/>
                  <a:gd name="T70" fmla="*/ 1011 w 5056"/>
                  <a:gd name="T71" fmla="*/ 764 h 4318"/>
                  <a:gd name="T72" fmla="*/ 1126 w 5056"/>
                  <a:gd name="T73" fmla="*/ 666 h 4318"/>
                  <a:gd name="T74" fmla="*/ 1713 w 5056"/>
                  <a:gd name="T75" fmla="*/ 301 h 4318"/>
                  <a:gd name="T76" fmla="*/ 1921 w 5056"/>
                  <a:gd name="T77" fmla="*/ 209 h 4318"/>
                  <a:gd name="T78" fmla="*/ 2068 w 5056"/>
                  <a:gd name="T79" fmla="*/ 173 h 4318"/>
                  <a:gd name="T80" fmla="*/ 2127 w 5056"/>
                  <a:gd name="T81" fmla="*/ 203 h 4318"/>
                  <a:gd name="T82" fmla="*/ 2090 w 5056"/>
                  <a:gd name="T83" fmla="*/ 289 h 4318"/>
                  <a:gd name="T84" fmla="*/ 3317 w 5056"/>
                  <a:gd name="T85" fmla="*/ 664 h 4318"/>
                  <a:gd name="T86" fmla="*/ 3368 w 5056"/>
                  <a:gd name="T87" fmla="*/ 632 h 4318"/>
                  <a:gd name="T88" fmla="*/ 3504 w 5056"/>
                  <a:gd name="T89" fmla="*/ 548 h 4318"/>
                  <a:gd name="T90" fmla="*/ 3703 w 5056"/>
                  <a:gd name="T91" fmla="*/ 430 h 4318"/>
                  <a:gd name="T92" fmla="*/ 3945 w 5056"/>
                  <a:gd name="T93" fmla="*/ 298 h 4318"/>
                  <a:gd name="T94" fmla="*/ 4209 w 5056"/>
                  <a:gd name="T95" fmla="*/ 171 h 4318"/>
                  <a:gd name="T96" fmla="*/ 4469 w 5056"/>
                  <a:gd name="T97" fmla="*/ 67 h 4318"/>
                  <a:gd name="T98" fmla="*/ 4707 w 5056"/>
                  <a:gd name="T99" fmla="*/ 7 h 4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056" h="4318">
                    <a:moveTo>
                      <a:pt x="4811" y="0"/>
                    </a:moveTo>
                    <a:lnTo>
                      <a:pt x="4858" y="3"/>
                    </a:lnTo>
                    <a:lnTo>
                      <a:pt x="4900" y="9"/>
                    </a:lnTo>
                    <a:lnTo>
                      <a:pt x="4940" y="23"/>
                    </a:lnTo>
                    <a:lnTo>
                      <a:pt x="4973" y="39"/>
                    </a:lnTo>
                    <a:lnTo>
                      <a:pt x="5002" y="62"/>
                    </a:lnTo>
                    <a:lnTo>
                      <a:pt x="5027" y="93"/>
                    </a:lnTo>
                    <a:lnTo>
                      <a:pt x="5027" y="93"/>
                    </a:lnTo>
                    <a:lnTo>
                      <a:pt x="5044" y="127"/>
                    </a:lnTo>
                    <a:lnTo>
                      <a:pt x="5054" y="165"/>
                    </a:lnTo>
                    <a:lnTo>
                      <a:pt x="5056" y="205"/>
                    </a:lnTo>
                    <a:lnTo>
                      <a:pt x="5051" y="246"/>
                    </a:lnTo>
                    <a:lnTo>
                      <a:pt x="5039" y="289"/>
                    </a:lnTo>
                    <a:lnTo>
                      <a:pt x="5021" y="335"/>
                    </a:lnTo>
                    <a:lnTo>
                      <a:pt x="4998" y="381"/>
                    </a:lnTo>
                    <a:lnTo>
                      <a:pt x="4969" y="430"/>
                    </a:lnTo>
                    <a:lnTo>
                      <a:pt x="4935" y="479"/>
                    </a:lnTo>
                    <a:lnTo>
                      <a:pt x="4897" y="528"/>
                    </a:lnTo>
                    <a:lnTo>
                      <a:pt x="4854" y="579"/>
                    </a:lnTo>
                    <a:lnTo>
                      <a:pt x="4809" y="629"/>
                    </a:lnTo>
                    <a:lnTo>
                      <a:pt x="4760" y="680"/>
                    </a:lnTo>
                    <a:lnTo>
                      <a:pt x="4708" y="730"/>
                    </a:lnTo>
                    <a:lnTo>
                      <a:pt x="4655" y="781"/>
                    </a:lnTo>
                    <a:lnTo>
                      <a:pt x="4599" y="831"/>
                    </a:lnTo>
                    <a:lnTo>
                      <a:pt x="4543" y="880"/>
                    </a:lnTo>
                    <a:lnTo>
                      <a:pt x="4486" y="929"/>
                    </a:lnTo>
                    <a:lnTo>
                      <a:pt x="4428" y="977"/>
                    </a:lnTo>
                    <a:lnTo>
                      <a:pt x="4370" y="1023"/>
                    </a:lnTo>
                    <a:lnTo>
                      <a:pt x="4313" y="1069"/>
                    </a:lnTo>
                    <a:lnTo>
                      <a:pt x="4256" y="1112"/>
                    </a:lnTo>
                    <a:lnTo>
                      <a:pt x="4201" y="1153"/>
                    </a:lnTo>
                    <a:lnTo>
                      <a:pt x="4147" y="1191"/>
                    </a:lnTo>
                    <a:lnTo>
                      <a:pt x="4097" y="1228"/>
                    </a:lnTo>
                    <a:lnTo>
                      <a:pt x="4049" y="1263"/>
                    </a:lnTo>
                    <a:lnTo>
                      <a:pt x="4003" y="1294"/>
                    </a:lnTo>
                    <a:lnTo>
                      <a:pt x="3962" y="1323"/>
                    </a:lnTo>
                    <a:lnTo>
                      <a:pt x="3925" y="1349"/>
                    </a:lnTo>
                    <a:lnTo>
                      <a:pt x="3893" y="1371"/>
                    </a:lnTo>
                    <a:lnTo>
                      <a:pt x="3864" y="1389"/>
                    </a:lnTo>
                    <a:lnTo>
                      <a:pt x="3843" y="1404"/>
                    </a:lnTo>
                    <a:lnTo>
                      <a:pt x="3826" y="1415"/>
                    </a:lnTo>
                    <a:lnTo>
                      <a:pt x="3815" y="1421"/>
                    </a:lnTo>
                    <a:lnTo>
                      <a:pt x="3812" y="1424"/>
                    </a:lnTo>
                    <a:lnTo>
                      <a:pt x="3544" y="2736"/>
                    </a:lnTo>
                    <a:lnTo>
                      <a:pt x="3585" y="2720"/>
                    </a:lnTo>
                    <a:lnTo>
                      <a:pt x="3625" y="2708"/>
                    </a:lnTo>
                    <a:lnTo>
                      <a:pt x="3659" y="2699"/>
                    </a:lnTo>
                    <a:lnTo>
                      <a:pt x="3689" y="2694"/>
                    </a:lnTo>
                    <a:lnTo>
                      <a:pt x="3715" y="2693"/>
                    </a:lnTo>
                    <a:lnTo>
                      <a:pt x="3737" y="2694"/>
                    </a:lnTo>
                    <a:lnTo>
                      <a:pt x="3752" y="2700"/>
                    </a:lnTo>
                    <a:lnTo>
                      <a:pt x="3763" y="2709"/>
                    </a:lnTo>
                    <a:lnTo>
                      <a:pt x="3767" y="2725"/>
                    </a:lnTo>
                    <a:lnTo>
                      <a:pt x="3766" y="2743"/>
                    </a:lnTo>
                    <a:lnTo>
                      <a:pt x="3757" y="2766"/>
                    </a:lnTo>
                    <a:lnTo>
                      <a:pt x="3741" y="2791"/>
                    </a:lnTo>
                    <a:lnTo>
                      <a:pt x="3722" y="2820"/>
                    </a:lnTo>
                    <a:lnTo>
                      <a:pt x="3695" y="2852"/>
                    </a:lnTo>
                    <a:lnTo>
                      <a:pt x="3663" y="2886"/>
                    </a:lnTo>
                    <a:lnTo>
                      <a:pt x="3628" y="2921"/>
                    </a:lnTo>
                    <a:lnTo>
                      <a:pt x="3588" y="2959"/>
                    </a:lnTo>
                    <a:lnTo>
                      <a:pt x="3544" y="2997"/>
                    </a:lnTo>
                    <a:lnTo>
                      <a:pt x="3495" y="3039"/>
                    </a:lnTo>
                    <a:lnTo>
                      <a:pt x="3309" y="4068"/>
                    </a:lnTo>
                    <a:lnTo>
                      <a:pt x="3095" y="4318"/>
                    </a:lnTo>
                    <a:lnTo>
                      <a:pt x="2972" y="3399"/>
                    </a:lnTo>
                    <a:lnTo>
                      <a:pt x="2925" y="3426"/>
                    </a:lnTo>
                    <a:lnTo>
                      <a:pt x="2883" y="3449"/>
                    </a:lnTo>
                    <a:lnTo>
                      <a:pt x="2847" y="3468"/>
                    </a:lnTo>
                    <a:lnTo>
                      <a:pt x="2815" y="3482"/>
                    </a:lnTo>
                    <a:lnTo>
                      <a:pt x="2788" y="3492"/>
                    </a:lnTo>
                    <a:lnTo>
                      <a:pt x="2765" y="3500"/>
                    </a:lnTo>
                    <a:lnTo>
                      <a:pt x="2747" y="3503"/>
                    </a:lnTo>
                    <a:lnTo>
                      <a:pt x="2732" y="3505"/>
                    </a:lnTo>
                    <a:lnTo>
                      <a:pt x="2720" y="3501"/>
                    </a:lnTo>
                    <a:lnTo>
                      <a:pt x="2709" y="3498"/>
                    </a:lnTo>
                    <a:lnTo>
                      <a:pt x="2701" y="3492"/>
                    </a:lnTo>
                    <a:lnTo>
                      <a:pt x="2695" y="3485"/>
                    </a:lnTo>
                    <a:lnTo>
                      <a:pt x="2689" y="3475"/>
                    </a:lnTo>
                    <a:lnTo>
                      <a:pt x="2684" y="3466"/>
                    </a:lnTo>
                    <a:lnTo>
                      <a:pt x="2681" y="3456"/>
                    </a:lnTo>
                    <a:lnTo>
                      <a:pt x="2677" y="3445"/>
                    </a:lnTo>
                    <a:lnTo>
                      <a:pt x="2672" y="3434"/>
                    </a:lnTo>
                    <a:lnTo>
                      <a:pt x="2666" y="3425"/>
                    </a:lnTo>
                    <a:lnTo>
                      <a:pt x="2658" y="3414"/>
                    </a:lnTo>
                    <a:lnTo>
                      <a:pt x="2651" y="3403"/>
                    </a:lnTo>
                    <a:lnTo>
                      <a:pt x="2644" y="3393"/>
                    </a:lnTo>
                    <a:lnTo>
                      <a:pt x="2638" y="3382"/>
                    </a:lnTo>
                    <a:lnTo>
                      <a:pt x="2634" y="3370"/>
                    </a:lnTo>
                    <a:lnTo>
                      <a:pt x="2631" y="3359"/>
                    </a:lnTo>
                    <a:lnTo>
                      <a:pt x="2631" y="3347"/>
                    </a:lnTo>
                    <a:lnTo>
                      <a:pt x="2632" y="3333"/>
                    </a:lnTo>
                    <a:lnTo>
                      <a:pt x="2638" y="3318"/>
                    </a:lnTo>
                    <a:lnTo>
                      <a:pt x="2648" y="3301"/>
                    </a:lnTo>
                    <a:lnTo>
                      <a:pt x="2661" y="3282"/>
                    </a:lnTo>
                    <a:lnTo>
                      <a:pt x="2680" y="3263"/>
                    </a:lnTo>
                    <a:lnTo>
                      <a:pt x="2704" y="3240"/>
                    </a:lnTo>
                    <a:lnTo>
                      <a:pt x="2733" y="3215"/>
                    </a:lnTo>
                    <a:lnTo>
                      <a:pt x="2769" y="3186"/>
                    </a:lnTo>
                    <a:lnTo>
                      <a:pt x="2810" y="3155"/>
                    </a:lnTo>
                    <a:lnTo>
                      <a:pt x="2859" y="3122"/>
                    </a:lnTo>
                    <a:lnTo>
                      <a:pt x="2914" y="3083"/>
                    </a:lnTo>
                    <a:lnTo>
                      <a:pt x="2770" y="2020"/>
                    </a:lnTo>
                    <a:lnTo>
                      <a:pt x="1267" y="2745"/>
                    </a:lnTo>
                    <a:lnTo>
                      <a:pt x="1063" y="3642"/>
                    </a:lnTo>
                    <a:lnTo>
                      <a:pt x="905" y="3767"/>
                    </a:lnTo>
                    <a:lnTo>
                      <a:pt x="708" y="2906"/>
                    </a:lnTo>
                    <a:lnTo>
                      <a:pt x="0" y="2377"/>
                    </a:lnTo>
                    <a:lnTo>
                      <a:pt x="178" y="2282"/>
                    </a:lnTo>
                    <a:lnTo>
                      <a:pt x="1080" y="2458"/>
                    </a:lnTo>
                    <a:lnTo>
                      <a:pt x="2350" y="1377"/>
                    </a:lnTo>
                    <a:lnTo>
                      <a:pt x="1437" y="815"/>
                    </a:lnTo>
                    <a:lnTo>
                      <a:pt x="1382" y="850"/>
                    </a:lnTo>
                    <a:lnTo>
                      <a:pt x="1333" y="879"/>
                    </a:lnTo>
                    <a:lnTo>
                      <a:pt x="1290" y="903"/>
                    </a:lnTo>
                    <a:lnTo>
                      <a:pt x="1252" y="925"/>
                    </a:lnTo>
                    <a:lnTo>
                      <a:pt x="1218" y="940"/>
                    </a:lnTo>
                    <a:lnTo>
                      <a:pt x="1187" y="954"/>
                    </a:lnTo>
                    <a:lnTo>
                      <a:pt x="1161" y="963"/>
                    </a:lnTo>
                    <a:lnTo>
                      <a:pt x="1138" y="969"/>
                    </a:lnTo>
                    <a:lnTo>
                      <a:pt x="1120" y="972"/>
                    </a:lnTo>
                    <a:lnTo>
                      <a:pt x="1103" y="972"/>
                    </a:lnTo>
                    <a:lnTo>
                      <a:pt x="1089" y="971"/>
                    </a:lnTo>
                    <a:lnTo>
                      <a:pt x="1077" y="966"/>
                    </a:lnTo>
                    <a:lnTo>
                      <a:pt x="1066" y="962"/>
                    </a:lnTo>
                    <a:lnTo>
                      <a:pt x="1059" y="954"/>
                    </a:lnTo>
                    <a:lnTo>
                      <a:pt x="1051" y="945"/>
                    </a:lnTo>
                    <a:lnTo>
                      <a:pt x="1043" y="936"/>
                    </a:lnTo>
                    <a:lnTo>
                      <a:pt x="1037" y="926"/>
                    </a:lnTo>
                    <a:lnTo>
                      <a:pt x="1031" y="916"/>
                    </a:lnTo>
                    <a:lnTo>
                      <a:pt x="1023" y="905"/>
                    </a:lnTo>
                    <a:lnTo>
                      <a:pt x="1017" y="894"/>
                    </a:lnTo>
                    <a:lnTo>
                      <a:pt x="1010" y="887"/>
                    </a:lnTo>
                    <a:lnTo>
                      <a:pt x="1002" y="877"/>
                    </a:lnTo>
                    <a:lnTo>
                      <a:pt x="994" y="870"/>
                    </a:lnTo>
                    <a:lnTo>
                      <a:pt x="987" y="862"/>
                    </a:lnTo>
                    <a:lnTo>
                      <a:pt x="981" y="853"/>
                    </a:lnTo>
                    <a:lnTo>
                      <a:pt x="976" y="845"/>
                    </a:lnTo>
                    <a:lnTo>
                      <a:pt x="974" y="834"/>
                    </a:lnTo>
                    <a:lnTo>
                      <a:pt x="974" y="824"/>
                    </a:lnTo>
                    <a:lnTo>
                      <a:pt x="977" y="811"/>
                    </a:lnTo>
                    <a:lnTo>
                      <a:pt x="985" y="798"/>
                    </a:lnTo>
                    <a:lnTo>
                      <a:pt x="996" y="782"/>
                    </a:lnTo>
                    <a:lnTo>
                      <a:pt x="1011" y="764"/>
                    </a:lnTo>
                    <a:lnTo>
                      <a:pt x="1031" y="744"/>
                    </a:lnTo>
                    <a:lnTo>
                      <a:pt x="1057" y="721"/>
                    </a:lnTo>
                    <a:lnTo>
                      <a:pt x="1089" y="695"/>
                    </a:lnTo>
                    <a:lnTo>
                      <a:pt x="1126" y="666"/>
                    </a:lnTo>
                    <a:lnTo>
                      <a:pt x="1171" y="634"/>
                    </a:lnTo>
                    <a:lnTo>
                      <a:pt x="380" y="151"/>
                    </a:lnTo>
                    <a:lnTo>
                      <a:pt x="696" y="55"/>
                    </a:lnTo>
                    <a:lnTo>
                      <a:pt x="1713" y="301"/>
                    </a:lnTo>
                    <a:lnTo>
                      <a:pt x="1770" y="274"/>
                    </a:lnTo>
                    <a:lnTo>
                      <a:pt x="1823" y="249"/>
                    </a:lnTo>
                    <a:lnTo>
                      <a:pt x="1874" y="228"/>
                    </a:lnTo>
                    <a:lnTo>
                      <a:pt x="1921" y="209"/>
                    </a:lnTo>
                    <a:lnTo>
                      <a:pt x="1964" y="194"/>
                    </a:lnTo>
                    <a:lnTo>
                      <a:pt x="2004" y="183"/>
                    </a:lnTo>
                    <a:lnTo>
                      <a:pt x="2038" y="176"/>
                    </a:lnTo>
                    <a:lnTo>
                      <a:pt x="2068" y="173"/>
                    </a:lnTo>
                    <a:lnTo>
                      <a:pt x="2091" y="174"/>
                    </a:lnTo>
                    <a:lnTo>
                      <a:pt x="2110" y="180"/>
                    </a:lnTo>
                    <a:lnTo>
                      <a:pt x="2122" y="189"/>
                    </a:lnTo>
                    <a:lnTo>
                      <a:pt x="2127" y="203"/>
                    </a:lnTo>
                    <a:lnTo>
                      <a:pt x="2125" y="220"/>
                    </a:lnTo>
                    <a:lnTo>
                      <a:pt x="2119" y="240"/>
                    </a:lnTo>
                    <a:lnTo>
                      <a:pt x="2107" y="263"/>
                    </a:lnTo>
                    <a:lnTo>
                      <a:pt x="2090" y="289"/>
                    </a:lnTo>
                    <a:lnTo>
                      <a:pt x="2067" y="318"/>
                    </a:lnTo>
                    <a:lnTo>
                      <a:pt x="2041" y="347"/>
                    </a:lnTo>
                    <a:lnTo>
                      <a:pt x="2010" y="381"/>
                    </a:lnTo>
                    <a:lnTo>
                      <a:pt x="3317" y="664"/>
                    </a:lnTo>
                    <a:lnTo>
                      <a:pt x="3320" y="663"/>
                    </a:lnTo>
                    <a:lnTo>
                      <a:pt x="3331" y="657"/>
                    </a:lnTo>
                    <a:lnTo>
                      <a:pt x="3346" y="646"/>
                    </a:lnTo>
                    <a:lnTo>
                      <a:pt x="3368" y="632"/>
                    </a:lnTo>
                    <a:lnTo>
                      <a:pt x="3395" y="615"/>
                    </a:lnTo>
                    <a:lnTo>
                      <a:pt x="3426" y="595"/>
                    </a:lnTo>
                    <a:lnTo>
                      <a:pt x="3463" y="572"/>
                    </a:lnTo>
                    <a:lnTo>
                      <a:pt x="3504" y="548"/>
                    </a:lnTo>
                    <a:lnTo>
                      <a:pt x="3548" y="520"/>
                    </a:lnTo>
                    <a:lnTo>
                      <a:pt x="3597" y="491"/>
                    </a:lnTo>
                    <a:lnTo>
                      <a:pt x="3650" y="462"/>
                    </a:lnTo>
                    <a:lnTo>
                      <a:pt x="3703" y="430"/>
                    </a:lnTo>
                    <a:lnTo>
                      <a:pt x="3761" y="398"/>
                    </a:lnTo>
                    <a:lnTo>
                      <a:pt x="3821" y="364"/>
                    </a:lnTo>
                    <a:lnTo>
                      <a:pt x="3882" y="330"/>
                    </a:lnTo>
                    <a:lnTo>
                      <a:pt x="3945" y="298"/>
                    </a:lnTo>
                    <a:lnTo>
                      <a:pt x="4010" y="265"/>
                    </a:lnTo>
                    <a:lnTo>
                      <a:pt x="4075" y="232"/>
                    </a:lnTo>
                    <a:lnTo>
                      <a:pt x="4141" y="202"/>
                    </a:lnTo>
                    <a:lnTo>
                      <a:pt x="4209" y="171"/>
                    </a:lnTo>
                    <a:lnTo>
                      <a:pt x="4275" y="142"/>
                    </a:lnTo>
                    <a:lnTo>
                      <a:pt x="4340" y="114"/>
                    </a:lnTo>
                    <a:lnTo>
                      <a:pt x="4405" y="90"/>
                    </a:lnTo>
                    <a:lnTo>
                      <a:pt x="4469" y="67"/>
                    </a:lnTo>
                    <a:lnTo>
                      <a:pt x="4532" y="47"/>
                    </a:lnTo>
                    <a:lnTo>
                      <a:pt x="4593" y="30"/>
                    </a:lnTo>
                    <a:lnTo>
                      <a:pt x="4652" y="18"/>
                    </a:lnTo>
                    <a:lnTo>
                      <a:pt x="4707" y="7"/>
                    </a:lnTo>
                    <a:lnTo>
                      <a:pt x="4760" y="1"/>
                    </a:lnTo>
                    <a:lnTo>
                      <a:pt x="481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fr-BE" dirty="0"/>
              </a:p>
            </p:txBody>
          </p:sp>
        </p:grpSp>
        <p:sp>
          <p:nvSpPr>
            <p:cNvPr id="398" name="ZoneTexte 397"/>
            <p:cNvSpPr txBox="1"/>
            <p:nvPr/>
          </p:nvSpPr>
          <p:spPr>
            <a:xfrm>
              <a:off x="4829716" y="5876174"/>
              <a:ext cx="274480" cy="5486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BE" dirty="0"/>
            </a:p>
          </p:txBody>
        </p:sp>
      </p:grpSp>
      <p:grpSp>
        <p:nvGrpSpPr>
          <p:cNvPr id="401" name="Groupe 2990"/>
          <p:cNvGrpSpPr/>
          <p:nvPr/>
        </p:nvGrpSpPr>
        <p:grpSpPr>
          <a:xfrm>
            <a:off x="7210674" y="2805810"/>
            <a:ext cx="396785" cy="777497"/>
            <a:chOff x="5606774" y="5269433"/>
            <a:chExt cx="589739" cy="1155434"/>
          </a:xfrm>
        </p:grpSpPr>
        <p:grpSp>
          <p:nvGrpSpPr>
            <p:cNvPr id="402" name="Groupe 50"/>
            <p:cNvGrpSpPr/>
            <p:nvPr/>
          </p:nvGrpSpPr>
          <p:grpSpPr>
            <a:xfrm>
              <a:off x="5606774" y="5269433"/>
              <a:ext cx="589739" cy="589739"/>
              <a:chOff x="5309485" y="5269433"/>
              <a:chExt cx="589739" cy="589739"/>
            </a:xfrm>
          </p:grpSpPr>
          <p:sp>
            <p:nvSpPr>
              <p:cNvPr id="404" name="Ellipse 403"/>
              <p:cNvSpPr/>
              <p:nvPr/>
            </p:nvSpPr>
            <p:spPr>
              <a:xfrm>
                <a:off x="5309485" y="5269433"/>
                <a:ext cx="589739" cy="589739"/>
              </a:xfrm>
              <a:prstGeom prst="ellipse">
                <a:avLst/>
              </a:prstGeom>
              <a:solidFill>
                <a:srgbClr val="1289B4"/>
              </a:solidFill>
              <a:ln w="38100">
                <a:solidFill>
                  <a:srgbClr val="29DBFF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fr-BE" dirty="0"/>
              </a:p>
            </p:txBody>
          </p:sp>
          <p:grpSp>
            <p:nvGrpSpPr>
              <p:cNvPr id="405" name="Groupe 21"/>
              <p:cNvGrpSpPr/>
              <p:nvPr/>
            </p:nvGrpSpPr>
            <p:grpSpPr>
              <a:xfrm>
                <a:off x="5380608" y="5426728"/>
                <a:ext cx="463416" cy="271542"/>
                <a:chOff x="3888113" y="5844505"/>
                <a:chExt cx="802352" cy="470144"/>
              </a:xfrm>
              <a:solidFill>
                <a:schemeClr val="bg1"/>
              </a:solidFill>
            </p:grpSpPr>
            <p:sp>
              <p:nvSpPr>
                <p:cNvPr id="406" name="Freeform 22"/>
                <p:cNvSpPr>
                  <a:spLocks noEditPoints="1"/>
                </p:cNvSpPr>
                <p:nvPr/>
              </p:nvSpPr>
              <p:spPr bwMode="auto">
                <a:xfrm>
                  <a:off x="3888113" y="5933923"/>
                  <a:ext cx="274268" cy="312361"/>
                </a:xfrm>
                <a:custGeom>
                  <a:avLst/>
                  <a:gdLst>
                    <a:gd name="T0" fmla="*/ 747 w 1368"/>
                    <a:gd name="T1" fmla="*/ 230 h 1558"/>
                    <a:gd name="T2" fmla="*/ 717 w 1368"/>
                    <a:gd name="T3" fmla="*/ 245 h 1558"/>
                    <a:gd name="T4" fmla="*/ 454 w 1368"/>
                    <a:gd name="T5" fmla="*/ 588 h 1558"/>
                    <a:gd name="T6" fmla="*/ 438 w 1368"/>
                    <a:gd name="T7" fmla="*/ 628 h 1558"/>
                    <a:gd name="T8" fmla="*/ 446 w 1368"/>
                    <a:gd name="T9" fmla="*/ 667 h 1558"/>
                    <a:gd name="T10" fmla="*/ 473 w 1368"/>
                    <a:gd name="T11" fmla="*/ 698 h 1558"/>
                    <a:gd name="T12" fmla="*/ 514 w 1368"/>
                    <a:gd name="T13" fmla="*/ 710 h 1558"/>
                    <a:gd name="T14" fmla="*/ 1084 w 1368"/>
                    <a:gd name="T15" fmla="*/ 707 h 1558"/>
                    <a:gd name="T16" fmla="*/ 1118 w 1368"/>
                    <a:gd name="T17" fmla="*/ 688 h 1558"/>
                    <a:gd name="T18" fmla="*/ 1138 w 1368"/>
                    <a:gd name="T19" fmla="*/ 654 h 1558"/>
                    <a:gd name="T20" fmla="*/ 1140 w 1368"/>
                    <a:gd name="T21" fmla="*/ 304 h 1558"/>
                    <a:gd name="T22" fmla="*/ 1130 w 1368"/>
                    <a:gd name="T23" fmla="*/ 266 h 1558"/>
                    <a:gd name="T24" fmla="*/ 1102 w 1368"/>
                    <a:gd name="T25" fmla="*/ 238 h 1558"/>
                    <a:gd name="T26" fmla="*/ 1065 w 1368"/>
                    <a:gd name="T27" fmla="*/ 228 h 1558"/>
                    <a:gd name="T28" fmla="*/ 652 w 1368"/>
                    <a:gd name="T29" fmla="*/ 0 h 1558"/>
                    <a:gd name="T30" fmla="*/ 1312 w 1368"/>
                    <a:gd name="T31" fmla="*/ 3 h 1558"/>
                    <a:gd name="T32" fmla="*/ 1345 w 1368"/>
                    <a:gd name="T33" fmla="*/ 22 h 1558"/>
                    <a:gd name="T34" fmla="*/ 1366 w 1368"/>
                    <a:gd name="T35" fmla="*/ 56 h 1558"/>
                    <a:gd name="T36" fmla="*/ 1368 w 1368"/>
                    <a:gd name="T37" fmla="*/ 1482 h 1558"/>
                    <a:gd name="T38" fmla="*/ 1357 w 1368"/>
                    <a:gd name="T39" fmla="*/ 1521 h 1558"/>
                    <a:gd name="T40" fmla="*/ 1330 w 1368"/>
                    <a:gd name="T41" fmla="*/ 1547 h 1558"/>
                    <a:gd name="T42" fmla="*/ 1292 w 1368"/>
                    <a:gd name="T43" fmla="*/ 1558 h 1558"/>
                    <a:gd name="T44" fmla="*/ 1210 w 1368"/>
                    <a:gd name="T45" fmla="*/ 1496 h 1558"/>
                    <a:gd name="T46" fmla="*/ 1181 w 1368"/>
                    <a:gd name="T47" fmla="*/ 1380 h 1558"/>
                    <a:gd name="T48" fmla="*/ 1127 w 1368"/>
                    <a:gd name="T49" fmla="*/ 1277 h 1558"/>
                    <a:gd name="T50" fmla="*/ 1049 w 1368"/>
                    <a:gd name="T51" fmla="*/ 1190 h 1558"/>
                    <a:gd name="T52" fmla="*/ 953 w 1368"/>
                    <a:gd name="T53" fmla="*/ 1123 h 1558"/>
                    <a:gd name="T54" fmla="*/ 843 w 1368"/>
                    <a:gd name="T55" fmla="*/ 1081 h 1558"/>
                    <a:gd name="T56" fmla="*/ 722 w 1368"/>
                    <a:gd name="T57" fmla="*/ 1065 h 1558"/>
                    <a:gd name="T58" fmla="*/ 600 w 1368"/>
                    <a:gd name="T59" fmla="*/ 1081 h 1558"/>
                    <a:gd name="T60" fmla="*/ 490 w 1368"/>
                    <a:gd name="T61" fmla="*/ 1123 h 1558"/>
                    <a:gd name="T62" fmla="*/ 394 w 1368"/>
                    <a:gd name="T63" fmla="*/ 1190 h 1558"/>
                    <a:gd name="T64" fmla="*/ 318 w 1368"/>
                    <a:gd name="T65" fmla="*/ 1277 h 1558"/>
                    <a:gd name="T66" fmla="*/ 262 w 1368"/>
                    <a:gd name="T67" fmla="*/ 1380 h 1558"/>
                    <a:gd name="T68" fmla="*/ 233 w 1368"/>
                    <a:gd name="T69" fmla="*/ 1496 h 1558"/>
                    <a:gd name="T70" fmla="*/ 76 w 1368"/>
                    <a:gd name="T71" fmla="*/ 1558 h 1558"/>
                    <a:gd name="T72" fmla="*/ 38 w 1368"/>
                    <a:gd name="T73" fmla="*/ 1547 h 1558"/>
                    <a:gd name="T74" fmla="*/ 11 w 1368"/>
                    <a:gd name="T75" fmla="*/ 1521 h 1558"/>
                    <a:gd name="T76" fmla="*/ 0 w 1368"/>
                    <a:gd name="T77" fmla="*/ 1482 h 1558"/>
                    <a:gd name="T78" fmla="*/ 2 w 1368"/>
                    <a:gd name="T79" fmla="*/ 1386 h 1558"/>
                    <a:gd name="T80" fmla="*/ 22 w 1368"/>
                    <a:gd name="T81" fmla="*/ 1353 h 1558"/>
                    <a:gd name="T82" fmla="*/ 56 w 1368"/>
                    <a:gd name="T83" fmla="*/ 1333 h 1558"/>
                    <a:gd name="T84" fmla="*/ 76 w 1368"/>
                    <a:gd name="T85" fmla="*/ 735 h 1558"/>
                    <a:gd name="T86" fmla="*/ 82 w 1368"/>
                    <a:gd name="T87" fmla="*/ 704 h 1558"/>
                    <a:gd name="T88" fmla="*/ 592 w 1368"/>
                    <a:gd name="T89" fmla="*/ 31 h 1558"/>
                    <a:gd name="T90" fmla="*/ 618 w 1368"/>
                    <a:gd name="T91" fmla="*/ 8 h 1558"/>
                    <a:gd name="T92" fmla="*/ 652 w 1368"/>
                    <a:gd name="T93" fmla="*/ 0 h 1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368" h="1558">
                      <a:moveTo>
                        <a:pt x="765" y="228"/>
                      </a:moveTo>
                      <a:lnTo>
                        <a:pt x="747" y="230"/>
                      </a:lnTo>
                      <a:lnTo>
                        <a:pt x="731" y="236"/>
                      </a:lnTo>
                      <a:lnTo>
                        <a:pt x="717" y="245"/>
                      </a:lnTo>
                      <a:lnTo>
                        <a:pt x="705" y="257"/>
                      </a:lnTo>
                      <a:lnTo>
                        <a:pt x="454" y="588"/>
                      </a:lnTo>
                      <a:lnTo>
                        <a:pt x="443" y="608"/>
                      </a:lnTo>
                      <a:lnTo>
                        <a:pt x="438" y="628"/>
                      </a:lnTo>
                      <a:lnTo>
                        <a:pt x="440" y="648"/>
                      </a:lnTo>
                      <a:lnTo>
                        <a:pt x="446" y="667"/>
                      </a:lnTo>
                      <a:lnTo>
                        <a:pt x="457" y="684"/>
                      </a:lnTo>
                      <a:lnTo>
                        <a:pt x="473" y="698"/>
                      </a:lnTo>
                      <a:lnTo>
                        <a:pt x="492" y="706"/>
                      </a:lnTo>
                      <a:lnTo>
                        <a:pt x="514" y="710"/>
                      </a:lnTo>
                      <a:lnTo>
                        <a:pt x="1065" y="710"/>
                      </a:lnTo>
                      <a:lnTo>
                        <a:pt x="1084" y="707"/>
                      </a:lnTo>
                      <a:lnTo>
                        <a:pt x="1102" y="699"/>
                      </a:lnTo>
                      <a:lnTo>
                        <a:pt x="1118" y="688"/>
                      </a:lnTo>
                      <a:lnTo>
                        <a:pt x="1130" y="672"/>
                      </a:lnTo>
                      <a:lnTo>
                        <a:pt x="1138" y="654"/>
                      </a:lnTo>
                      <a:lnTo>
                        <a:pt x="1140" y="633"/>
                      </a:lnTo>
                      <a:lnTo>
                        <a:pt x="1140" y="304"/>
                      </a:lnTo>
                      <a:lnTo>
                        <a:pt x="1138" y="283"/>
                      </a:lnTo>
                      <a:lnTo>
                        <a:pt x="1130" y="266"/>
                      </a:lnTo>
                      <a:lnTo>
                        <a:pt x="1118" y="250"/>
                      </a:lnTo>
                      <a:lnTo>
                        <a:pt x="1102" y="238"/>
                      </a:lnTo>
                      <a:lnTo>
                        <a:pt x="1084" y="231"/>
                      </a:lnTo>
                      <a:lnTo>
                        <a:pt x="1065" y="228"/>
                      </a:lnTo>
                      <a:lnTo>
                        <a:pt x="765" y="228"/>
                      </a:lnTo>
                      <a:close/>
                      <a:moveTo>
                        <a:pt x="652" y="0"/>
                      </a:moveTo>
                      <a:lnTo>
                        <a:pt x="1292" y="0"/>
                      </a:lnTo>
                      <a:lnTo>
                        <a:pt x="1312" y="3"/>
                      </a:lnTo>
                      <a:lnTo>
                        <a:pt x="1330" y="11"/>
                      </a:lnTo>
                      <a:lnTo>
                        <a:pt x="1345" y="22"/>
                      </a:lnTo>
                      <a:lnTo>
                        <a:pt x="1357" y="38"/>
                      </a:lnTo>
                      <a:lnTo>
                        <a:pt x="1366" y="56"/>
                      </a:lnTo>
                      <a:lnTo>
                        <a:pt x="1368" y="76"/>
                      </a:lnTo>
                      <a:lnTo>
                        <a:pt x="1368" y="1482"/>
                      </a:lnTo>
                      <a:lnTo>
                        <a:pt x="1366" y="1503"/>
                      </a:lnTo>
                      <a:lnTo>
                        <a:pt x="1357" y="1521"/>
                      </a:lnTo>
                      <a:lnTo>
                        <a:pt x="1345" y="1535"/>
                      </a:lnTo>
                      <a:lnTo>
                        <a:pt x="1330" y="1547"/>
                      </a:lnTo>
                      <a:lnTo>
                        <a:pt x="1312" y="1556"/>
                      </a:lnTo>
                      <a:lnTo>
                        <a:pt x="1292" y="1558"/>
                      </a:lnTo>
                      <a:lnTo>
                        <a:pt x="1215" y="1558"/>
                      </a:lnTo>
                      <a:lnTo>
                        <a:pt x="1210" y="1496"/>
                      </a:lnTo>
                      <a:lnTo>
                        <a:pt x="1199" y="1437"/>
                      </a:lnTo>
                      <a:lnTo>
                        <a:pt x="1181" y="1380"/>
                      </a:lnTo>
                      <a:lnTo>
                        <a:pt x="1157" y="1327"/>
                      </a:lnTo>
                      <a:lnTo>
                        <a:pt x="1127" y="1277"/>
                      </a:lnTo>
                      <a:lnTo>
                        <a:pt x="1090" y="1231"/>
                      </a:lnTo>
                      <a:lnTo>
                        <a:pt x="1049" y="1190"/>
                      </a:lnTo>
                      <a:lnTo>
                        <a:pt x="1003" y="1153"/>
                      </a:lnTo>
                      <a:lnTo>
                        <a:pt x="953" y="1123"/>
                      </a:lnTo>
                      <a:lnTo>
                        <a:pt x="900" y="1099"/>
                      </a:lnTo>
                      <a:lnTo>
                        <a:pt x="843" y="1081"/>
                      </a:lnTo>
                      <a:lnTo>
                        <a:pt x="783" y="1070"/>
                      </a:lnTo>
                      <a:lnTo>
                        <a:pt x="722" y="1065"/>
                      </a:lnTo>
                      <a:lnTo>
                        <a:pt x="660" y="1070"/>
                      </a:lnTo>
                      <a:lnTo>
                        <a:pt x="600" y="1081"/>
                      </a:lnTo>
                      <a:lnTo>
                        <a:pt x="543" y="1099"/>
                      </a:lnTo>
                      <a:lnTo>
                        <a:pt x="490" y="1123"/>
                      </a:lnTo>
                      <a:lnTo>
                        <a:pt x="440" y="1153"/>
                      </a:lnTo>
                      <a:lnTo>
                        <a:pt x="394" y="1190"/>
                      </a:lnTo>
                      <a:lnTo>
                        <a:pt x="353" y="1231"/>
                      </a:lnTo>
                      <a:lnTo>
                        <a:pt x="318" y="1277"/>
                      </a:lnTo>
                      <a:lnTo>
                        <a:pt x="286" y="1327"/>
                      </a:lnTo>
                      <a:lnTo>
                        <a:pt x="262" y="1380"/>
                      </a:lnTo>
                      <a:lnTo>
                        <a:pt x="244" y="1437"/>
                      </a:lnTo>
                      <a:lnTo>
                        <a:pt x="233" y="1496"/>
                      </a:lnTo>
                      <a:lnTo>
                        <a:pt x="229" y="1558"/>
                      </a:lnTo>
                      <a:lnTo>
                        <a:pt x="76" y="1558"/>
                      </a:lnTo>
                      <a:lnTo>
                        <a:pt x="56" y="1556"/>
                      </a:lnTo>
                      <a:lnTo>
                        <a:pt x="38" y="1547"/>
                      </a:lnTo>
                      <a:lnTo>
                        <a:pt x="22" y="1535"/>
                      </a:lnTo>
                      <a:lnTo>
                        <a:pt x="11" y="1521"/>
                      </a:lnTo>
                      <a:lnTo>
                        <a:pt x="2" y="1503"/>
                      </a:lnTo>
                      <a:lnTo>
                        <a:pt x="0" y="1482"/>
                      </a:lnTo>
                      <a:lnTo>
                        <a:pt x="0" y="1407"/>
                      </a:lnTo>
                      <a:lnTo>
                        <a:pt x="2" y="1386"/>
                      </a:lnTo>
                      <a:lnTo>
                        <a:pt x="11" y="1368"/>
                      </a:lnTo>
                      <a:lnTo>
                        <a:pt x="22" y="1353"/>
                      </a:lnTo>
                      <a:lnTo>
                        <a:pt x="38" y="1341"/>
                      </a:lnTo>
                      <a:lnTo>
                        <a:pt x="56" y="1333"/>
                      </a:lnTo>
                      <a:lnTo>
                        <a:pt x="76" y="1330"/>
                      </a:lnTo>
                      <a:lnTo>
                        <a:pt x="76" y="735"/>
                      </a:lnTo>
                      <a:lnTo>
                        <a:pt x="78" y="719"/>
                      </a:lnTo>
                      <a:lnTo>
                        <a:pt x="82" y="704"/>
                      </a:lnTo>
                      <a:lnTo>
                        <a:pt x="91" y="689"/>
                      </a:lnTo>
                      <a:lnTo>
                        <a:pt x="592" y="31"/>
                      </a:lnTo>
                      <a:lnTo>
                        <a:pt x="604" y="17"/>
                      </a:lnTo>
                      <a:lnTo>
                        <a:pt x="618" y="8"/>
                      </a:lnTo>
                      <a:lnTo>
                        <a:pt x="634" y="3"/>
                      </a:lnTo>
                      <a:lnTo>
                        <a:pt x="65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07" name="Freeform 23"/>
                <p:cNvSpPr>
                  <a:spLocks noEditPoints="1"/>
                </p:cNvSpPr>
                <p:nvPr/>
              </p:nvSpPr>
              <p:spPr bwMode="auto">
                <a:xfrm>
                  <a:off x="3964499" y="6177716"/>
                  <a:ext cx="136933" cy="136933"/>
                </a:xfrm>
                <a:custGeom>
                  <a:avLst/>
                  <a:gdLst>
                    <a:gd name="T0" fmla="*/ 307 w 683"/>
                    <a:gd name="T1" fmla="*/ 156 h 683"/>
                    <a:gd name="T2" fmla="*/ 245 w 683"/>
                    <a:gd name="T3" fmla="*/ 179 h 683"/>
                    <a:gd name="T4" fmla="*/ 196 w 683"/>
                    <a:gd name="T5" fmla="*/ 220 h 683"/>
                    <a:gd name="T6" fmla="*/ 164 w 683"/>
                    <a:gd name="T7" fmla="*/ 276 h 683"/>
                    <a:gd name="T8" fmla="*/ 151 w 683"/>
                    <a:gd name="T9" fmla="*/ 342 h 683"/>
                    <a:gd name="T10" fmla="*/ 164 w 683"/>
                    <a:gd name="T11" fmla="*/ 408 h 683"/>
                    <a:gd name="T12" fmla="*/ 196 w 683"/>
                    <a:gd name="T13" fmla="*/ 464 h 683"/>
                    <a:gd name="T14" fmla="*/ 245 w 683"/>
                    <a:gd name="T15" fmla="*/ 506 h 683"/>
                    <a:gd name="T16" fmla="*/ 307 w 683"/>
                    <a:gd name="T17" fmla="*/ 529 h 683"/>
                    <a:gd name="T18" fmla="*/ 375 w 683"/>
                    <a:gd name="T19" fmla="*/ 529 h 683"/>
                    <a:gd name="T20" fmla="*/ 436 w 683"/>
                    <a:gd name="T21" fmla="*/ 506 h 683"/>
                    <a:gd name="T22" fmla="*/ 486 w 683"/>
                    <a:gd name="T23" fmla="*/ 464 h 683"/>
                    <a:gd name="T24" fmla="*/ 519 w 683"/>
                    <a:gd name="T25" fmla="*/ 408 h 683"/>
                    <a:gd name="T26" fmla="*/ 530 w 683"/>
                    <a:gd name="T27" fmla="*/ 342 h 683"/>
                    <a:gd name="T28" fmla="*/ 519 w 683"/>
                    <a:gd name="T29" fmla="*/ 276 h 683"/>
                    <a:gd name="T30" fmla="*/ 486 w 683"/>
                    <a:gd name="T31" fmla="*/ 220 h 683"/>
                    <a:gd name="T32" fmla="*/ 436 w 683"/>
                    <a:gd name="T33" fmla="*/ 179 h 683"/>
                    <a:gd name="T34" fmla="*/ 375 w 683"/>
                    <a:gd name="T35" fmla="*/ 156 h 683"/>
                    <a:gd name="T36" fmla="*/ 341 w 683"/>
                    <a:gd name="T37" fmla="*/ 0 h 683"/>
                    <a:gd name="T38" fmla="*/ 439 w 683"/>
                    <a:gd name="T39" fmla="*/ 15 h 683"/>
                    <a:gd name="T40" fmla="*/ 526 w 683"/>
                    <a:gd name="T41" fmla="*/ 56 h 683"/>
                    <a:gd name="T42" fmla="*/ 598 w 683"/>
                    <a:gd name="T43" fmla="*/ 118 h 683"/>
                    <a:gd name="T44" fmla="*/ 650 w 683"/>
                    <a:gd name="T45" fmla="*/ 198 h 683"/>
                    <a:gd name="T46" fmla="*/ 679 w 683"/>
                    <a:gd name="T47" fmla="*/ 291 h 683"/>
                    <a:gd name="T48" fmla="*/ 679 w 683"/>
                    <a:gd name="T49" fmla="*/ 392 h 683"/>
                    <a:gd name="T50" fmla="*/ 650 w 683"/>
                    <a:gd name="T51" fmla="*/ 485 h 683"/>
                    <a:gd name="T52" fmla="*/ 598 w 683"/>
                    <a:gd name="T53" fmla="*/ 565 h 683"/>
                    <a:gd name="T54" fmla="*/ 526 w 683"/>
                    <a:gd name="T55" fmla="*/ 628 h 683"/>
                    <a:gd name="T56" fmla="*/ 439 w 683"/>
                    <a:gd name="T57" fmla="*/ 668 h 683"/>
                    <a:gd name="T58" fmla="*/ 341 w 683"/>
                    <a:gd name="T59" fmla="*/ 683 h 683"/>
                    <a:gd name="T60" fmla="*/ 242 w 683"/>
                    <a:gd name="T61" fmla="*/ 668 h 683"/>
                    <a:gd name="T62" fmla="*/ 155 w 683"/>
                    <a:gd name="T63" fmla="*/ 628 h 683"/>
                    <a:gd name="T64" fmla="*/ 83 w 683"/>
                    <a:gd name="T65" fmla="*/ 565 h 683"/>
                    <a:gd name="T66" fmla="*/ 31 w 683"/>
                    <a:gd name="T67" fmla="*/ 485 h 683"/>
                    <a:gd name="T68" fmla="*/ 3 w 683"/>
                    <a:gd name="T69" fmla="*/ 392 h 683"/>
                    <a:gd name="T70" fmla="*/ 3 w 683"/>
                    <a:gd name="T71" fmla="*/ 291 h 683"/>
                    <a:gd name="T72" fmla="*/ 31 w 683"/>
                    <a:gd name="T73" fmla="*/ 198 h 683"/>
                    <a:gd name="T74" fmla="*/ 83 w 683"/>
                    <a:gd name="T75" fmla="*/ 118 h 683"/>
                    <a:gd name="T76" fmla="*/ 155 w 683"/>
                    <a:gd name="T77" fmla="*/ 56 h 683"/>
                    <a:gd name="T78" fmla="*/ 242 w 683"/>
                    <a:gd name="T79" fmla="*/ 15 h 683"/>
                    <a:gd name="T80" fmla="*/ 341 w 683"/>
                    <a:gd name="T81" fmla="*/ 0 h 6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83" h="683">
                      <a:moveTo>
                        <a:pt x="341" y="152"/>
                      </a:moveTo>
                      <a:lnTo>
                        <a:pt x="307" y="156"/>
                      </a:lnTo>
                      <a:lnTo>
                        <a:pt x="275" y="164"/>
                      </a:lnTo>
                      <a:lnTo>
                        <a:pt x="245" y="179"/>
                      </a:lnTo>
                      <a:lnTo>
                        <a:pt x="218" y="197"/>
                      </a:lnTo>
                      <a:lnTo>
                        <a:pt x="196" y="220"/>
                      </a:lnTo>
                      <a:lnTo>
                        <a:pt x="177" y="247"/>
                      </a:lnTo>
                      <a:lnTo>
                        <a:pt x="164" y="276"/>
                      </a:lnTo>
                      <a:lnTo>
                        <a:pt x="154" y="308"/>
                      </a:lnTo>
                      <a:lnTo>
                        <a:pt x="151" y="342"/>
                      </a:lnTo>
                      <a:lnTo>
                        <a:pt x="154" y="376"/>
                      </a:lnTo>
                      <a:lnTo>
                        <a:pt x="164" y="408"/>
                      </a:lnTo>
                      <a:lnTo>
                        <a:pt x="177" y="438"/>
                      </a:lnTo>
                      <a:lnTo>
                        <a:pt x="196" y="464"/>
                      </a:lnTo>
                      <a:lnTo>
                        <a:pt x="218" y="487"/>
                      </a:lnTo>
                      <a:lnTo>
                        <a:pt x="245" y="506"/>
                      </a:lnTo>
                      <a:lnTo>
                        <a:pt x="275" y="519"/>
                      </a:lnTo>
                      <a:lnTo>
                        <a:pt x="307" y="529"/>
                      </a:lnTo>
                      <a:lnTo>
                        <a:pt x="341" y="531"/>
                      </a:lnTo>
                      <a:lnTo>
                        <a:pt x="375" y="529"/>
                      </a:lnTo>
                      <a:lnTo>
                        <a:pt x="407" y="519"/>
                      </a:lnTo>
                      <a:lnTo>
                        <a:pt x="436" y="506"/>
                      </a:lnTo>
                      <a:lnTo>
                        <a:pt x="463" y="487"/>
                      </a:lnTo>
                      <a:lnTo>
                        <a:pt x="486" y="464"/>
                      </a:lnTo>
                      <a:lnTo>
                        <a:pt x="504" y="438"/>
                      </a:lnTo>
                      <a:lnTo>
                        <a:pt x="519" y="408"/>
                      </a:lnTo>
                      <a:lnTo>
                        <a:pt x="527" y="376"/>
                      </a:lnTo>
                      <a:lnTo>
                        <a:pt x="530" y="342"/>
                      </a:lnTo>
                      <a:lnTo>
                        <a:pt x="527" y="308"/>
                      </a:lnTo>
                      <a:lnTo>
                        <a:pt x="519" y="276"/>
                      </a:lnTo>
                      <a:lnTo>
                        <a:pt x="504" y="247"/>
                      </a:lnTo>
                      <a:lnTo>
                        <a:pt x="486" y="220"/>
                      </a:lnTo>
                      <a:lnTo>
                        <a:pt x="463" y="197"/>
                      </a:lnTo>
                      <a:lnTo>
                        <a:pt x="436" y="179"/>
                      </a:lnTo>
                      <a:lnTo>
                        <a:pt x="407" y="164"/>
                      </a:lnTo>
                      <a:lnTo>
                        <a:pt x="375" y="156"/>
                      </a:lnTo>
                      <a:lnTo>
                        <a:pt x="341" y="152"/>
                      </a:lnTo>
                      <a:close/>
                      <a:moveTo>
                        <a:pt x="341" y="0"/>
                      </a:moveTo>
                      <a:lnTo>
                        <a:pt x="392" y="4"/>
                      </a:lnTo>
                      <a:lnTo>
                        <a:pt x="439" y="15"/>
                      </a:lnTo>
                      <a:lnTo>
                        <a:pt x="485" y="33"/>
                      </a:lnTo>
                      <a:lnTo>
                        <a:pt x="526" y="56"/>
                      </a:lnTo>
                      <a:lnTo>
                        <a:pt x="565" y="85"/>
                      </a:lnTo>
                      <a:lnTo>
                        <a:pt x="598" y="118"/>
                      </a:lnTo>
                      <a:lnTo>
                        <a:pt x="627" y="157"/>
                      </a:lnTo>
                      <a:lnTo>
                        <a:pt x="650" y="198"/>
                      </a:lnTo>
                      <a:lnTo>
                        <a:pt x="668" y="244"/>
                      </a:lnTo>
                      <a:lnTo>
                        <a:pt x="679" y="291"/>
                      </a:lnTo>
                      <a:lnTo>
                        <a:pt x="683" y="342"/>
                      </a:lnTo>
                      <a:lnTo>
                        <a:pt x="679" y="392"/>
                      </a:lnTo>
                      <a:lnTo>
                        <a:pt x="668" y="441"/>
                      </a:lnTo>
                      <a:lnTo>
                        <a:pt x="650" y="485"/>
                      </a:lnTo>
                      <a:lnTo>
                        <a:pt x="627" y="528"/>
                      </a:lnTo>
                      <a:lnTo>
                        <a:pt x="598" y="565"/>
                      </a:lnTo>
                      <a:lnTo>
                        <a:pt x="565" y="599"/>
                      </a:lnTo>
                      <a:lnTo>
                        <a:pt x="526" y="628"/>
                      </a:lnTo>
                      <a:lnTo>
                        <a:pt x="485" y="651"/>
                      </a:lnTo>
                      <a:lnTo>
                        <a:pt x="439" y="668"/>
                      </a:lnTo>
                      <a:lnTo>
                        <a:pt x="392" y="679"/>
                      </a:lnTo>
                      <a:lnTo>
                        <a:pt x="341" y="683"/>
                      </a:lnTo>
                      <a:lnTo>
                        <a:pt x="291" y="679"/>
                      </a:lnTo>
                      <a:lnTo>
                        <a:pt x="242" y="668"/>
                      </a:lnTo>
                      <a:lnTo>
                        <a:pt x="197" y="651"/>
                      </a:lnTo>
                      <a:lnTo>
                        <a:pt x="155" y="628"/>
                      </a:lnTo>
                      <a:lnTo>
                        <a:pt x="117" y="599"/>
                      </a:lnTo>
                      <a:lnTo>
                        <a:pt x="83" y="565"/>
                      </a:lnTo>
                      <a:lnTo>
                        <a:pt x="54" y="528"/>
                      </a:lnTo>
                      <a:lnTo>
                        <a:pt x="31" y="485"/>
                      </a:lnTo>
                      <a:lnTo>
                        <a:pt x="14" y="441"/>
                      </a:lnTo>
                      <a:lnTo>
                        <a:pt x="3" y="392"/>
                      </a:lnTo>
                      <a:lnTo>
                        <a:pt x="0" y="342"/>
                      </a:lnTo>
                      <a:lnTo>
                        <a:pt x="3" y="291"/>
                      </a:lnTo>
                      <a:lnTo>
                        <a:pt x="14" y="244"/>
                      </a:lnTo>
                      <a:lnTo>
                        <a:pt x="31" y="198"/>
                      </a:lnTo>
                      <a:lnTo>
                        <a:pt x="54" y="157"/>
                      </a:lnTo>
                      <a:lnTo>
                        <a:pt x="83" y="118"/>
                      </a:lnTo>
                      <a:lnTo>
                        <a:pt x="117" y="85"/>
                      </a:lnTo>
                      <a:lnTo>
                        <a:pt x="155" y="56"/>
                      </a:lnTo>
                      <a:lnTo>
                        <a:pt x="197" y="33"/>
                      </a:lnTo>
                      <a:lnTo>
                        <a:pt x="242" y="15"/>
                      </a:lnTo>
                      <a:lnTo>
                        <a:pt x="291" y="4"/>
                      </a:lnTo>
                      <a:lnTo>
                        <a:pt x="34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08" name="Freeform 24"/>
                <p:cNvSpPr>
                  <a:spLocks/>
                </p:cNvSpPr>
                <p:nvPr/>
              </p:nvSpPr>
              <p:spPr bwMode="auto">
                <a:xfrm>
                  <a:off x="4192854" y="5844505"/>
                  <a:ext cx="497611" cy="401778"/>
                </a:xfrm>
                <a:custGeom>
                  <a:avLst/>
                  <a:gdLst>
                    <a:gd name="T0" fmla="*/ 75 w 2482"/>
                    <a:gd name="T1" fmla="*/ 0 h 2004"/>
                    <a:gd name="T2" fmla="*/ 2330 w 2482"/>
                    <a:gd name="T3" fmla="*/ 0 h 2004"/>
                    <a:gd name="T4" fmla="*/ 2351 w 2482"/>
                    <a:gd name="T5" fmla="*/ 3 h 2004"/>
                    <a:gd name="T6" fmla="*/ 2368 w 2482"/>
                    <a:gd name="T7" fmla="*/ 10 h 2004"/>
                    <a:gd name="T8" fmla="*/ 2384 w 2482"/>
                    <a:gd name="T9" fmla="*/ 22 h 2004"/>
                    <a:gd name="T10" fmla="*/ 2396 w 2482"/>
                    <a:gd name="T11" fmla="*/ 38 h 2004"/>
                    <a:gd name="T12" fmla="*/ 2403 w 2482"/>
                    <a:gd name="T13" fmla="*/ 56 h 2004"/>
                    <a:gd name="T14" fmla="*/ 2406 w 2482"/>
                    <a:gd name="T15" fmla="*/ 75 h 2004"/>
                    <a:gd name="T16" fmla="*/ 2406 w 2482"/>
                    <a:gd name="T17" fmla="*/ 1776 h 2004"/>
                    <a:gd name="T18" fmla="*/ 2426 w 2482"/>
                    <a:gd name="T19" fmla="*/ 1779 h 2004"/>
                    <a:gd name="T20" fmla="*/ 2444 w 2482"/>
                    <a:gd name="T21" fmla="*/ 1787 h 2004"/>
                    <a:gd name="T22" fmla="*/ 2460 w 2482"/>
                    <a:gd name="T23" fmla="*/ 1799 h 2004"/>
                    <a:gd name="T24" fmla="*/ 2471 w 2482"/>
                    <a:gd name="T25" fmla="*/ 1814 h 2004"/>
                    <a:gd name="T26" fmla="*/ 2480 w 2482"/>
                    <a:gd name="T27" fmla="*/ 1832 h 2004"/>
                    <a:gd name="T28" fmla="*/ 2482 w 2482"/>
                    <a:gd name="T29" fmla="*/ 1853 h 2004"/>
                    <a:gd name="T30" fmla="*/ 2482 w 2482"/>
                    <a:gd name="T31" fmla="*/ 1928 h 2004"/>
                    <a:gd name="T32" fmla="*/ 2480 w 2482"/>
                    <a:gd name="T33" fmla="*/ 1949 h 2004"/>
                    <a:gd name="T34" fmla="*/ 2471 w 2482"/>
                    <a:gd name="T35" fmla="*/ 1967 h 2004"/>
                    <a:gd name="T36" fmla="*/ 2460 w 2482"/>
                    <a:gd name="T37" fmla="*/ 1981 h 2004"/>
                    <a:gd name="T38" fmla="*/ 2444 w 2482"/>
                    <a:gd name="T39" fmla="*/ 1993 h 2004"/>
                    <a:gd name="T40" fmla="*/ 2426 w 2482"/>
                    <a:gd name="T41" fmla="*/ 2002 h 2004"/>
                    <a:gd name="T42" fmla="*/ 2406 w 2482"/>
                    <a:gd name="T43" fmla="*/ 2004 h 2004"/>
                    <a:gd name="T44" fmla="*/ 2096 w 2482"/>
                    <a:gd name="T45" fmla="*/ 2004 h 2004"/>
                    <a:gd name="T46" fmla="*/ 2093 w 2482"/>
                    <a:gd name="T47" fmla="*/ 1942 h 2004"/>
                    <a:gd name="T48" fmla="*/ 2082 w 2482"/>
                    <a:gd name="T49" fmla="*/ 1883 h 2004"/>
                    <a:gd name="T50" fmla="*/ 2064 w 2482"/>
                    <a:gd name="T51" fmla="*/ 1826 h 2004"/>
                    <a:gd name="T52" fmla="*/ 2039 w 2482"/>
                    <a:gd name="T53" fmla="*/ 1773 h 2004"/>
                    <a:gd name="T54" fmla="*/ 2008 w 2482"/>
                    <a:gd name="T55" fmla="*/ 1723 h 2004"/>
                    <a:gd name="T56" fmla="*/ 1973 w 2482"/>
                    <a:gd name="T57" fmla="*/ 1677 h 2004"/>
                    <a:gd name="T58" fmla="*/ 1931 w 2482"/>
                    <a:gd name="T59" fmla="*/ 1636 h 2004"/>
                    <a:gd name="T60" fmla="*/ 1885 w 2482"/>
                    <a:gd name="T61" fmla="*/ 1599 h 2004"/>
                    <a:gd name="T62" fmla="*/ 1836 w 2482"/>
                    <a:gd name="T63" fmla="*/ 1569 h 2004"/>
                    <a:gd name="T64" fmla="*/ 1782 w 2482"/>
                    <a:gd name="T65" fmla="*/ 1545 h 2004"/>
                    <a:gd name="T66" fmla="*/ 1725 w 2482"/>
                    <a:gd name="T67" fmla="*/ 1527 h 2004"/>
                    <a:gd name="T68" fmla="*/ 1666 w 2482"/>
                    <a:gd name="T69" fmla="*/ 1516 h 2004"/>
                    <a:gd name="T70" fmla="*/ 1604 w 2482"/>
                    <a:gd name="T71" fmla="*/ 1511 h 2004"/>
                    <a:gd name="T72" fmla="*/ 1542 w 2482"/>
                    <a:gd name="T73" fmla="*/ 1516 h 2004"/>
                    <a:gd name="T74" fmla="*/ 1483 w 2482"/>
                    <a:gd name="T75" fmla="*/ 1527 h 2004"/>
                    <a:gd name="T76" fmla="*/ 1426 w 2482"/>
                    <a:gd name="T77" fmla="*/ 1545 h 2004"/>
                    <a:gd name="T78" fmla="*/ 1372 w 2482"/>
                    <a:gd name="T79" fmla="*/ 1569 h 2004"/>
                    <a:gd name="T80" fmla="*/ 1323 w 2482"/>
                    <a:gd name="T81" fmla="*/ 1599 h 2004"/>
                    <a:gd name="T82" fmla="*/ 1277 w 2482"/>
                    <a:gd name="T83" fmla="*/ 1636 h 2004"/>
                    <a:gd name="T84" fmla="*/ 1235 w 2482"/>
                    <a:gd name="T85" fmla="*/ 1677 h 2004"/>
                    <a:gd name="T86" fmla="*/ 1199 w 2482"/>
                    <a:gd name="T87" fmla="*/ 1723 h 2004"/>
                    <a:gd name="T88" fmla="*/ 1169 w 2482"/>
                    <a:gd name="T89" fmla="*/ 1773 h 2004"/>
                    <a:gd name="T90" fmla="*/ 1144 w 2482"/>
                    <a:gd name="T91" fmla="*/ 1826 h 2004"/>
                    <a:gd name="T92" fmla="*/ 1126 w 2482"/>
                    <a:gd name="T93" fmla="*/ 1883 h 2004"/>
                    <a:gd name="T94" fmla="*/ 1115 w 2482"/>
                    <a:gd name="T95" fmla="*/ 1942 h 2004"/>
                    <a:gd name="T96" fmla="*/ 1110 w 2482"/>
                    <a:gd name="T97" fmla="*/ 2004 h 2004"/>
                    <a:gd name="T98" fmla="*/ 75 w 2482"/>
                    <a:gd name="T99" fmla="*/ 2004 h 2004"/>
                    <a:gd name="T100" fmla="*/ 55 w 2482"/>
                    <a:gd name="T101" fmla="*/ 2002 h 2004"/>
                    <a:gd name="T102" fmla="*/ 37 w 2482"/>
                    <a:gd name="T103" fmla="*/ 1993 h 2004"/>
                    <a:gd name="T104" fmla="*/ 21 w 2482"/>
                    <a:gd name="T105" fmla="*/ 1981 h 2004"/>
                    <a:gd name="T106" fmla="*/ 9 w 2482"/>
                    <a:gd name="T107" fmla="*/ 1967 h 2004"/>
                    <a:gd name="T108" fmla="*/ 2 w 2482"/>
                    <a:gd name="T109" fmla="*/ 1949 h 2004"/>
                    <a:gd name="T110" fmla="*/ 0 w 2482"/>
                    <a:gd name="T111" fmla="*/ 1928 h 2004"/>
                    <a:gd name="T112" fmla="*/ 0 w 2482"/>
                    <a:gd name="T113" fmla="*/ 75 h 2004"/>
                    <a:gd name="T114" fmla="*/ 2 w 2482"/>
                    <a:gd name="T115" fmla="*/ 56 h 2004"/>
                    <a:gd name="T116" fmla="*/ 9 w 2482"/>
                    <a:gd name="T117" fmla="*/ 38 h 2004"/>
                    <a:gd name="T118" fmla="*/ 21 w 2482"/>
                    <a:gd name="T119" fmla="*/ 22 h 2004"/>
                    <a:gd name="T120" fmla="*/ 37 w 2482"/>
                    <a:gd name="T121" fmla="*/ 10 h 2004"/>
                    <a:gd name="T122" fmla="*/ 55 w 2482"/>
                    <a:gd name="T123" fmla="*/ 3 h 2004"/>
                    <a:gd name="T124" fmla="*/ 75 w 2482"/>
                    <a:gd name="T125" fmla="*/ 0 h 20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482" h="2004">
                      <a:moveTo>
                        <a:pt x="75" y="0"/>
                      </a:moveTo>
                      <a:lnTo>
                        <a:pt x="2330" y="0"/>
                      </a:lnTo>
                      <a:lnTo>
                        <a:pt x="2351" y="3"/>
                      </a:lnTo>
                      <a:lnTo>
                        <a:pt x="2368" y="10"/>
                      </a:lnTo>
                      <a:lnTo>
                        <a:pt x="2384" y="22"/>
                      </a:lnTo>
                      <a:lnTo>
                        <a:pt x="2396" y="38"/>
                      </a:lnTo>
                      <a:lnTo>
                        <a:pt x="2403" y="56"/>
                      </a:lnTo>
                      <a:lnTo>
                        <a:pt x="2406" y="75"/>
                      </a:lnTo>
                      <a:lnTo>
                        <a:pt x="2406" y="1776"/>
                      </a:lnTo>
                      <a:lnTo>
                        <a:pt x="2426" y="1779"/>
                      </a:lnTo>
                      <a:lnTo>
                        <a:pt x="2444" y="1787"/>
                      </a:lnTo>
                      <a:lnTo>
                        <a:pt x="2460" y="1799"/>
                      </a:lnTo>
                      <a:lnTo>
                        <a:pt x="2471" y="1814"/>
                      </a:lnTo>
                      <a:lnTo>
                        <a:pt x="2480" y="1832"/>
                      </a:lnTo>
                      <a:lnTo>
                        <a:pt x="2482" y="1853"/>
                      </a:lnTo>
                      <a:lnTo>
                        <a:pt x="2482" y="1928"/>
                      </a:lnTo>
                      <a:lnTo>
                        <a:pt x="2480" y="1949"/>
                      </a:lnTo>
                      <a:lnTo>
                        <a:pt x="2471" y="1967"/>
                      </a:lnTo>
                      <a:lnTo>
                        <a:pt x="2460" y="1981"/>
                      </a:lnTo>
                      <a:lnTo>
                        <a:pt x="2444" y="1993"/>
                      </a:lnTo>
                      <a:lnTo>
                        <a:pt x="2426" y="2002"/>
                      </a:lnTo>
                      <a:lnTo>
                        <a:pt x="2406" y="2004"/>
                      </a:lnTo>
                      <a:lnTo>
                        <a:pt x="2096" y="2004"/>
                      </a:lnTo>
                      <a:lnTo>
                        <a:pt x="2093" y="1942"/>
                      </a:lnTo>
                      <a:lnTo>
                        <a:pt x="2082" y="1883"/>
                      </a:lnTo>
                      <a:lnTo>
                        <a:pt x="2064" y="1826"/>
                      </a:lnTo>
                      <a:lnTo>
                        <a:pt x="2039" y="1773"/>
                      </a:lnTo>
                      <a:lnTo>
                        <a:pt x="2008" y="1723"/>
                      </a:lnTo>
                      <a:lnTo>
                        <a:pt x="1973" y="1677"/>
                      </a:lnTo>
                      <a:lnTo>
                        <a:pt x="1931" y="1636"/>
                      </a:lnTo>
                      <a:lnTo>
                        <a:pt x="1885" y="1599"/>
                      </a:lnTo>
                      <a:lnTo>
                        <a:pt x="1836" y="1569"/>
                      </a:lnTo>
                      <a:lnTo>
                        <a:pt x="1782" y="1545"/>
                      </a:lnTo>
                      <a:lnTo>
                        <a:pt x="1725" y="1527"/>
                      </a:lnTo>
                      <a:lnTo>
                        <a:pt x="1666" y="1516"/>
                      </a:lnTo>
                      <a:lnTo>
                        <a:pt x="1604" y="1511"/>
                      </a:lnTo>
                      <a:lnTo>
                        <a:pt x="1542" y="1516"/>
                      </a:lnTo>
                      <a:lnTo>
                        <a:pt x="1483" y="1527"/>
                      </a:lnTo>
                      <a:lnTo>
                        <a:pt x="1426" y="1545"/>
                      </a:lnTo>
                      <a:lnTo>
                        <a:pt x="1372" y="1569"/>
                      </a:lnTo>
                      <a:lnTo>
                        <a:pt x="1323" y="1599"/>
                      </a:lnTo>
                      <a:lnTo>
                        <a:pt x="1277" y="1636"/>
                      </a:lnTo>
                      <a:lnTo>
                        <a:pt x="1235" y="1677"/>
                      </a:lnTo>
                      <a:lnTo>
                        <a:pt x="1199" y="1723"/>
                      </a:lnTo>
                      <a:lnTo>
                        <a:pt x="1169" y="1773"/>
                      </a:lnTo>
                      <a:lnTo>
                        <a:pt x="1144" y="1826"/>
                      </a:lnTo>
                      <a:lnTo>
                        <a:pt x="1126" y="1883"/>
                      </a:lnTo>
                      <a:lnTo>
                        <a:pt x="1115" y="1942"/>
                      </a:lnTo>
                      <a:lnTo>
                        <a:pt x="1110" y="2004"/>
                      </a:lnTo>
                      <a:lnTo>
                        <a:pt x="75" y="2004"/>
                      </a:lnTo>
                      <a:lnTo>
                        <a:pt x="55" y="2002"/>
                      </a:lnTo>
                      <a:lnTo>
                        <a:pt x="37" y="1993"/>
                      </a:lnTo>
                      <a:lnTo>
                        <a:pt x="21" y="1981"/>
                      </a:lnTo>
                      <a:lnTo>
                        <a:pt x="9" y="1967"/>
                      </a:lnTo>
                      <a:lnTo>
                        <a:pt x="2" y="1949"/>
                      </a:lnTo>
                      <a:lnTo>
                        <a:pt x="0" y="1928"/>
                      </a:lnTo>
                      <a:lnTo>
                        <a:pt x="0" y="75"/>
                      </a:lnTo>
                      <a:lnTo>
                        <a:pt x="2" y="56"/>
                      </a:lnTo>
                      <a:lnTo>
                        <a:pt x="9" y="38"/>
                      </a:lnTo>
                      <a:lnTo>
                        <a:pt x="21" y="22"/>
                      </a:lnTo>
                      <a:lnTo>
                        <a:pt x="37" y="10"/>
                      </a:lnTo>
                      <a:lnTo>
                        <a:pt x="55" y="3"/>
                      </a:lnTo>
                      <a:lnTo>
                        <a:pt x="7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09" name="Freeform 25"/>
                <p:cNvSpPr>
                  <a:spLocks noEditPoints="1"/>
                </p:cNvSpPr>
                <p:nvPr/>
              </p:nvSpPr>
              <p:spPr bwMode="auto">
                <a:xfrm>
                  <a:off x="4446071" y="6177716"/>
                  <a:ext cx="136733" cy="136933"/>
                </a:xfrm>
                <a:custGeom>
                  <a:avLst/>
                  <a:gdLst>
                    <a:gd name="T0" fmla="*/ 307 w 682"/>
                    <a:gd name="T1" fmla="*/ 156 h 683"/>
                    <a:gd name="T2" fmla="*/ 245 w 682"/>
                    <a:gd name="T3" fmla="*/ 179 h 683"/>
                    <a:gd name="T4" fmla="*/ 195 w 682"/>
                    <a:gd name="T5" fmla="*/ 220 h 683"/>
                    <a:gd name="T6" fmla="*/ 163 w 682"/>
                    <a:gd name="T7" fmla="*/ 276 h 683"/>
                    <a:gd name="T8" fmla="*/ 152 w 682"/>
                    <a:gd name="T9" fmla="*/ 342 h 683"/>
                    <a:gd name="T10" fmla="*/ 163 w 682"/>
                    <a:gd name="T11" fmla="*/ 408 h 683"/>
                    <a:gd name="T12" fmla="*/ 195 w 682"/>
                    <a:gd name="T13" fmla="*/ 464 h 683"/>
                    <a:gd name="T14" fmla="*/ 245 w 682"/>
                    <a:gd name="T15" fmla="*/ 506 h 683"/>
                    <a:gd name="T16" fmla="*/ 307 w 682"/>
                    <a:gd name="T17" fmla="*/ 529 h 683"/>
                    <a:gd name="T18" fmla="*/ 375 w 682"/>
                    <a:gd name="T19" fmla="*/ 529 h 683"/>
                    <a:gd name="T20" fmla="*/ 437 w 682"/>
                    <a:gd name="T21" fmla="*/ 506 h 683"/>
                    <a:gd name="T22" fmla="*/ 485 w 682"/>
                    <a:gd name="T23" fmla="*/ 464 h 683"/>
                    <a:gd name="T24" fmla="*/ 518 w 682"/>
                    <a:gd name="T25" fmla="*/ 408 h 683"/>
                    <a:gd name="T26" fmla="*/ 530 w 682"/>
                    <a:gd name="T27" fmla="*/ 342 h 683"/>
                    <a:gd name="T28" fmla="*/ 518 w 682"/>
                    <a:gd name="T29" fmla="*/ 276 h 683"/>
                    <a:gd name="T30" fmla="*/ 485 w 682"/>
                    <a:gd name="T31" fmla="*/ 220 h 683"/>
                    <a:gd name="T32" fmla="*/ 437 w 682"/>
                    <a:gd name="T33" fmla="*/ 179 h 683"/>
                    <a:gd name="T34" fmla="*/ 375 w 682"/>
                    <a:gd name="T35" fmla="*/ 156 h 683"/>
                    <a:gd name="T36" fmla="*/ 341 w 682"/>
                    <a:gd name="T37" fmla="*/ 0 h 683"/>
                    <a:gd name="T38" fmla="*/ 439 w 682"/>
                    <a:gd name="T39" fmla="*/ 15 h 683"/>
                    <a:gd name="T40" fmla="*/ 527 w 682"/>
                    <a:gd name="T41" fmla="*/ 56 h 683"/>
                    <a:gd name="T42" fmla="*/ 598 w 682"/>
                    <a:gd name="T43" fmla="*/ 118 h 683"/>
                    <a:gd name="T44" fmla="*/ 650 w 682"/>
                    <a:gd name="T45" fmla="*/ 198 h 683"/>
                    <a:gd name="T46" fmla="*/ 678 w 682"/>
                    <a:gd name="T47" fmla="*/ 291 h 683"/>
                    <a:gd name="T48" fmla="*/ 678 w 682"/>
                    <a:gd name="T49" fmla="*/ 392 h 683"/>
                    <a:gd name="T50" fmla="*/ 650 w 682"/>
                    <a:gd name="T51" fmla="*/ 485 h 683"/>
                    <a:gd name="T52" fmla="*/ 598 w 682"/>
                    <a:gd name="T53" fmla="*/ 565 h 683"/>
                    <a:gd name="T54" fmla="*/ 527 w 682"/>
                    <a:gd name="T55" fmla="*/ 628 h 683"/>
                    <a:gd name="T56" fmla="*/ 439 w 682"/>
                    <a:gd name="T57" fmla="*/ 668 h 683"/>
                    <a:gd name="T58" fmla="*/ 341 w 682"/>
                    <a:gd name="T59" fmla="*/ 683 h 683"/>
                    <a:gd name="T60" fmla="*/ 243 w 682"/>
                    <a:gd name="T61" fmla="*/ 668 h 683"/>
                    <a:gd name="T62" fmla="*/ 155 w 682"/>
                    <a:gd name="T63" fmla="*/ 628 h 683"/>
                    <a:gd name="T64" fmla="*/ 84 w 682"/>
                    <a:gd name="T65" fmla="*/ 565 h 683"/>
                    <a:gd name="T66" fmla="*/ 32 w 682"/>
                    <a:gd name="T67" fmla="*/ 485 h 683"/>
                    <a:gd name="T68" fmla="*/ 4 w 682"/>
                    <a:gd name="T69" fmla="*/ 392 h 683"/>
                    <a:gd name="T70" fmla="*/ 4 w 682"/>
                    <a:gd name="T71" fmla="*/ 291 h 683"/>
                    <a:gd name="T72" fmla="*/ 32 w 682"/>
                    <a:gd name="T73" fmla="*/ 198 h 683"/>
                    <a:gd name="T74" fmla="*/ 84 w 682"/>
                    <a:gd name="T75" fmla="*/ 118 h 683"/>
                    <a:gd name="T76" fmla="*/ 155 w 682"/>
                    <a:gd name="T77" fmla="*/ 56 h 683"/>
                    <a:gd name="T78" fmla="*/ 243 w 682"/>
                    <a:gd name="T79" fmla="*/ 15 h 683"/>
                    <a:gd name="T80" fmla="*/ 341 w 682"/>
                    <a:gd name="T81" fmla="*/ 0 h 6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82" h="683">
                      <a:moveTo>
                        <a:pt x="341" y="152"/>
                      </a:moveTo>
                      <a:lnTo>
                        <a:pt x="307" y="156"/>
                      </a:lnTo>
                      <a:lnTo>
                        <a:pt x="274" y="164"/>
                      </a:lnTo>
                      <a:lnTo>
                        <a:pt x="245" y="179"/>
                      </a:lnTo>
                      <a:lnTo>
                        <a:pt x="219" y="197"/>
                      </a:lnTo>
                      <a:lnTo>
                        <a:pt x="195" y="220"/>
                      </a:lnTo>
                      <a:lnTo>
                        <a:pt x="177" y="247"/>
                      </a:lnTo>
                      <a:lnTo>
                        <a:pt x="163" y="276"/>
                      </a:lnTo>
                      <a:lnTo>
                        <a:pt x="154" y="308"/>
                      </a:lnTo>
                      <a:lnTo>
                        <a:pt x="152" y="342"/>
                      </a:lnTo>
                      <a:lnTo>
                        <a:pt x="154" y="376"/>
                      </a:lnTo>
                      <a:lnTo>
                        <a:pt x="163" y="408"/>
                      </a:lnTo>
                      <a:lnTo>
                        <a:pt x="177" y="438"/>
                      </a:lnTo>
                      <a:lnTo>
                        <a:pt x="195" y="464"/>
                      </a:lnTo>
                      <a:lnTo>
                        <a:pt x="219" y="487"/>
                      </a:lnTo>
                      <a:lnTo>
                        <a:pt x="245" y="506"/>
                      </a:lnTo>
                      <a:lnTo>
                        <a:pt x="274" y="519"/>
                      </a:lnTo>
                      <a:lnTo>
                        <a:pt x="307" y="529"/>
                      </a:lnTo>
                      <a:lnTo>
                        <a:pt x="341" y="531"/>
                      </a:lnTo>
                      <a:lnTo>
                        <a:pt x="375" y="529"/>
                      </a:lnTo>
                      <a:lnTo>
                        <a:pt x="406" y="519"/>
                      </a:lnTo>
                      <a:lnTo>
                        <a:pt x="437" y="506"/>
                      </a:lnTo>
                      <a:lnTo>
                        <a:pt x="463" y="487"/>
                      </a:lnTo>
                      <a:lnTo>
                        <a:pt x="485" y="464"/>
                      </a:lnTo>
                      <a:lnTo>
                        <a:pt x="505" y="438"/>
                      </a:lnTo>
                      <a:lnTo>
                        <a:pt x="518" y="408"/>
                      </a:lnTo>
                      <a:lnTo>
                        <a:pt x="528" y="376"/>
                      </a:lnTo>
                      <a:lnTo>
                        <a:pt x="530" y="342"/>
                      </a:lnTo>
                      <a:lnTo>
                        <a:pt x="528" y="308"/>
                      </a:lnTo>
                      <a:lnTo>
                        <a:pt x="518" y="276"/>
                      </a:lnTo>
                      <a:lnTo>
                        <a:pt x="505" y="247"/>
                      </a:lnTo>
                      <a:lnTo>
                        <a:pt x="485" y="220"/>
                      </a:lnTo>
                      <a:lnTo>
                        <a:pt x="463" y="197"/>
                      </a:lnTo>
                      <a:lnTo>
                        <a:pt x="437" y="179"/>
                      </a:lnTo>
                      <a:lnTo>
                        <a:pt x="406" y="164"/>
                      </a:lnTo>
                      <a:lnTo>
                        <a:pt x="375" y="156"/>
                      </a:lnTo>
                      <a:lnTo>
                        <a:pt x="341" y="152"/>
                      </a:lnTo>
                      <a:close/>
                      <a:moveTo>
                        <a:pt x="341" y="0"/>
                      </a:moveTo>
                      <a:lnTo>
                        <a:pt x="391" y="4"/>
                      </a:lnTo>
                      <a:lnTo>
                        <a:pt x="439" y="15"/>
                      </a:lnTo>
                      <a:lnTo>
                        <a:pt x="484" y="33"/>
                      </a:lnTo>
                      <a:lnTo>
                        <a:pt x="527" y="56"/>
                      </a:lnTo>
                      <a:lnTo>
                        <a:pt x="564" y="85"/>
                      </a:lnTo>
                      <a:lnTo>
                        <a:pt x="598" y="118"/>
                      </a:lnTo>
                      <a:lnTo>
                        <a:pt x="627" y="157"/>
                      </a:lnTo>
                      <a:lnTo>
                        <a:pt x="650" y="198"/>
                      </a:lnTo>
                      <a:lnTo>
                        <a:pt x="667" y="244"/>
                      </a:lnTo>
                      <a:lnTo>
                        <a:pt x="678" y="291"/>
                      </a:lnTo>
                      <a:lnTo>
                        <a:pt x="682" y="342"/>
                      </a:lnTo>
                      <a:lnTo>
                        <a:pt x="678" y="392"/>
                      </a:lnTo>
                      <a:lnTo>
                        <a:pt x="667" y="441"/>
                      </a:lnTo>
                      <a:lnTo>
                        <a:pt x="650" y="485"/>
                      </a:lnTo>
                      <a:lnTo>
                        <a:pt x="627" y="528"/>
                      </a:lnTo>
                      <a:lnTo>
                        <a:pt x="598" y="565"/>
                      </a:lnTo>
                      <a:lnTo>
                        <a:pt x="564" y="599"/>
                      </a:lnTo>
                      <a:lnTo>
                        <a:pt x="527" y="628"/>
                      </a:lnTo>
                      <a:lnTo>
                        <a:pt x="484" y="651"/>
                      </a:lnTo>
                      <a:lnTo>
                        <a:pt x="439" y="668"/>
                      </a:lnTo>
                      <a:lnTo>
                        <a:pt x="391" y="679"/>
                      </a:lnTo>
                      <a:lnTo>
                        <a:pt x="341" y="683"/>
                      </a:lnTo>
                      <a:lnTo>
                        <a:pt x="290" y="679"/>
                      </a:lnTo>
                      <a:lnTo>
                        <a:pt x="243" y="668"/>
                      </a:lnTo>
                      <a:lnTo>
                        <a:pt x="197" y="651"/>
                      </a:lnTo>
                      <a:lnTo>
                        <a:pt x="155" y="628"/>
                      </a:lnTo>
                      <a:lnTo>
                        <a:pt x="117" y="599"/>
                      </a:lnTo>
                      <a:lnTo>
                        <a:pt x="84" y="565"/>
                      </a:lnTo>
                      <a:lnTo>
                        <a:pt x="55" y="528"/>
                      </a:lnTo>
                      <a:lnTo>
                        <a:pt x="32" y="485"/>
                      </a:lnTo>
                      <a:lnTo>
                        <a:pt x="14" y="441"/>
                      </a:lnTo>
                      <a:lnTo>
                        <a:pt x="4" y="392"/>
                      </a:lnTo>
                      <a:lnTo>
                        <a:pt x="0" y="342"/>
                      </a:lnTo>
                      <a:lnTo>
                        <a:pt x="4" y="291"/>
                      </a:lnTo>
                      <a:lnTo>
                        <a:pt x="14" y="244"/>
                      </a:lnTo>
                      <a:lnTo>
                        <a:pt x="32" y="198"/>
                      </a:lnTo>
                      <a:lnTo>
                        <a:pt x="55" y="157"/>
                      </a:lnTo>
                      <a:lnTo>
                        <a:pt x="84" y="118"/>
                      </a:lnTo>
                      <a:lnTo>
                        <a:pt x="117" y="85"/>
                      </a:lnTo>
                      <a:lnTo>
                        <a:pt x="155" y="56"/>
                      </a:lnTo>
                      <a:lnTo>
                        <a:pt x="197" y="33"/>
                      </a:lnTo>
                      <a:lnTo>
                        <a:pt x="243" y="15"/>
                      </a:lnTo>
                      <a:lnTo>
                        <a:pt x="290" y="4"/>
                      </a:lnTo>
                      <a:lnTo>
                        <a:pt x="34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</p:grpSp>
        </p:grpSp>
        <p:sp>
          <p:nvSpPr>
            <p:cNvPr id="403" name="ZoneTexte 402"/>
            <p:cNvSpPr txBox="1"/>
            <p:nvPr/>
          </p:nvSpPr>
          <p:spPr>
            <a:xfrm>
              <a:off x="5764402" y="5876174"/>
              <a:ext cx="274480" cy="5486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BE" dirty="0"/>
            </a:p>
          </p:txBody>
        </p:sp>
      </p:grpSp>
      <p:grpSp>
        <p:nvGrpSpPr>
          <p:cNvPr id="410" name="Groupe 2994"/>
          <p:cNvGrpSpPr/>
          <p:nvPr/>
        </p:nvGrpSpPr>
        <p:grpSpPr>
          <a:xfrm>
            <a:off x="7121047" y="1750925"/>
            <a:ext cx="396785" cy="777497"/>
            <a:chOff x="6461290" y="5269433"/>
            <a:chExt cx="589739" cy="1155433"/>
          </a:xfrm>
        </p:grpSpPr>
        <p:grpSp>
          <p:nvGrpSpPr>
            <p:cNvPr id="411" name="Groupe 55"/>
            <p:cNvGrpSpPr/>
            <p:nvPr/>
          </p:nvGrpSpPr>
          <p:grpSpPr>
            <a:xfrm>
              <a:off x="6461290" y="5269433"/>
              <a:ext cx="589739" cy="589739"/>
              <a:chOff x="6054285" y="5269433"/>
              <a:chExt cx="589739" cy="589739"/>
            </a:xfrm>
          </p:grpSpPr>
          <p:sp>
            <p:nvSpPr>
              <p:cNvPr id="413" name="Ellipse 412"/>
              <p:cNvSpPr/>
              <p:nvPr/>
            </p:nvSpPr>
            <p:spPr>
              <a:xfrm>
                <a:off x="6054285" y="5269433"/>
                <a:ext cx="589739" cy="589739"/>
              </a:xfrm>
              <a:prstGeom prst="ellipse">
                <a:avLst/>
              </a:prstGeom>
              <a:solidFill>
                <a:srgbClr val="1289B4"/>
              </a:solidFill>
              <a:ln w="38100">
                <a:solidFill>
                  <a:srgbClr val="29DBFF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fr-BE" dirty="0"/>
              </a:p>
            </p:txBody>
          </p:sp>
          <p:grpSp>
            <p:nvGrpSpPr>
              <p:cNvPr id="414" name="Groupe 19"/>
              <p:cNvGrpSpPr/>
              <p:nvPr/>
            </p:nvGrpSpPr>
            <p:grpSpPr>
              <a:xfrm>
                <a:off x="6238093" y="5371798"/>
                <a:ext cx="285132" cy="355121"/>
                <a:chOff x="4962378" y="5785293"/>
                <a:chExt cx="417677" cy="520201"/>
              </a:xfrm>
              <a:solidFill>
                <a:schemeClr val="bg1"/>
              </a:solidFill>
            </p:grpSpPr>
            <p:sp>
              <p:nvSpPr>
                <p:cNvPr id="415" name="Freeform 218"/>
                <p:cNvSpPr>
                  <a:spLocks noEditPoints="1"/>
                </p:cNvSpPr>
                <p:nvPr/>
              </p:nvSpPr>
              <p:spPr bwMode="auto">
                <a:xfrm>
                  <a:off x="5002043" y="5785293"/>
                  <a:ext cx="268120" cy="91252"/>
                </a:xfrm>
                <a:custGeom>
                  <a:avLst/>
                  <a:gdLst>
                    <a:gd name="T0" fmla="*/ 619 w 1237"/>
                    <a:gd name="T1" fmla="*/ 39 h 421"/>
                    <a:gd name="T2" fmla="*/ 604 w 1237"/>
                    <a:gd name="T3" fmla="*/ 43 h 421"/>
                    <a:gd name="T4" fmla="*/ 591 w 1237"/>
                    <a:gd name="T5" fmla="*/ 51 h 421"/>
                    <a:gd name="T6" fmla="*/ 584 w 1237"/>
                    <a:gd name="T7" fmla="*/ 63 h 421"/>
                    <a:gd name="T8" fmla="*/ 580 w 1237"/>
                    <a:gd name="T9" fmla="*/ 79 h 421"/>
                    <a:gd name="T10" fmla="*/ 584 w 1237"/>
                    <a:gd name="T11" fmla="*/ 94 h 421"/>
                    <a:gd name="T12" fmla="*/ 591 w 1237"/>
                    <a:gd name="T13" fmla="*/ 106 h 421"/>
                    <a:gd name="T14" fmla="*/ 604 w 1237"/>
                    <a:gd name="T15" fmla="*/ 115 h 421"/>
                    <a:gd name="T16" fmla="*/ 619 w 1237"/>
                    <a:gd name="T17" fmla="*/ 118 h 421"/>
                    <a:gd name="T18" fmla="*/ 634 w 1237"/>
                    <a:gd name="T19" fmla="*/ 115 h 421"/>
                    <a:gd name="T20" fmla="*/ 647 w 1237"/>
                    <a:gd name="T21" fmla="*/ 106 h 421"/>
                    <a:gd name="T22" fmla="*/ 655 w 1237"/>
                    <a:gd name="T23" fmla="*/ 94 h 421"/>
                    <a:gd name="T24" fmla="*/ 658 w 1237"/>
                    <a:gd name="T25" fmla="*/ 79 h 421"/>
                    <a:gd name="T26" fmla="*/ 655 w 1237"/>
                    <a:gd name="T27" fmla="*/ 63 h 421"/>
                    <a:gd name="T28" fmla="*/ 647 w 1237"/>
                    <a:gd name="T29" fmla="*/ 51 h 421"/>
                    <a:gd name="T30" fmla="*/ 634 w 1237"/>
                    <a:gd name="T31" fmla="*/ 43 h 421"/>
                    <a:gd name="T32" fmla="*/ 619 w 1237"/>
                    <a:gd name="T33" fmla="*/ 39 h 421"/>
                    <a:gd name="T34" fmla="*/ 619 w 1237"/>
                    <a:gd name="T35" fmla="*/ 0 h 421"/>
                    <a:gd name="T36" fmla="*/ 643 w 1237"/>
                    <a:gd name="T37" fmla="*/ 4 h 421"/>
                    <a:gd name="T38" fmla="*/ 664 w 1237"/>
                    <a:gd name="T39" fmla="*/ 13 h 421"/>
                    <a:gd name="T40" fmla="*/ 683 w 1237"/>
                    <a:gd name="T41" fmla="*/ 27 h 421"/>
                    <a:gd name="T42" fmla="*/ 697 w 1237"/>
                    <a:gd name="T43" fmla="*/ 45 h 421"/>
                    <a:gd name="T44" fmla="*/ 706 w 1237"/>
                    <a:gd name="T45" fmla="*/ 67 h 421"/>
                    <a:gd name="T46" fmla="*/ 710 w 1237"/>
                    <a:gd name="T47" fmla="*/ 91 h 421"/>
                    <a:gd name="T48" fmla="*/ 1237 w 1237"/>
                    <a:gd name="T49" fmla="*/ 331 h 421"/>
                    <a:gd name="T50" fmla="*/ 1234 w 1237"/>
                    <a:gd name="T51" fmla="*/ 355 h 421"/>
                    <a:gd name="T52" fmla="*/ 1225 w 1237"/>
                    <a:gd name="T53" fmla="*/ 376 h 421"/>
                    <a:gd name="T54" fmla="*/ 1211 w 1237"/>
                    <a:gd name="T55" fmla="*/ 395 h 421"/>
                    <a:gd name="T56" fmla="*/ 1193 w 1237"/>
                    <a:gd name="T57" fmla="*/ 409 h 421"/>
                    <a:gd name="T58" fmla="*/ 1171 w 1237"/>
                    <a:gd name="T59" fmla="*/ 418 h 421"/>
                    <a:gd name="T60" fmla="*/ 1147 w 1237"/>
                    <a:gd name="T61" fmla="*/ 421 h 421"/>
                    <a:gd name="T62" fmla="*/ 91 w 1237"/>
                    <a:gd name="T63" fmla="*/ 421 h 421"/>
                    <a:gd name="T64" fmla="*/ 67 w 1237"/>
                    <a:gd name="T65" fmla="*/ 418 h 421"/>
                    <a:gd name="T66" fmla="*/ 45 w 1237"/>
                    <a:gd name="T67" fmla="*/ 409 h 421"/>
                    <a:gd name="T68" fmla="*/ 27 w 1237"/>
                    <a:gd name="T69" fmla="*/ 395 h 421"/>
                    <a:gd name="T70" fmla="*/ 13 w 1237"/>
                    <a:gd name="T71" fmla="*/ 376 h 421"/>
                    <a:gd name="T72" fmla="*/ 4 w 1237"/>
                    <a:gd name="T73" fmla="*/ 355 h 421"/>
                    <a:gd name="T74" fmla="*/ 0 w 1237"/>
                    <a:gd name="T75" fmla="*/ 331 h 421"/>
                    <a:gd name="T76" fmla="*/ 529 w 1237"/>
                    <a:gd name="T77" fmla="*/ 91 h 421"/>
                    <a:gd name="T78" fmla="*/ 532 w 1237"/>
                    <a:gd name="T79" fmla="*/ 67 h 421"/>
                    <a:gd name="T80" fmla="*/ 541 w 1237"/>
                    <a:gd name="T81" fmla="*/ 45 h 421"/>
                    <a:gd name="T82" fmla="*/ 556 w 1237"/>
                    <a:gd name="T83" fmla="*/ 27 h 421"/>
                    <a:gd name="T84" fmla="*/ 573 w 1237"/>
                    <a:gd name="T85" fmla="*/ 13 h 421"/>
                    <a:gd name="T86" fmla="*/ 595 w 1237"/>
                    <a:gd name="T87" fmla="*/ 4 h 421"/>
                    <a:gd name="T88" fmla="*/ 619 w 1237"/>
                    <a:gd name="T89" fmla="*/ 0 h 4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237" h="421">
                      <a:moveTo>
                        <a:pt x="619" y="39"/>
                      </a:moveTo>
                      <a:lnTo>
                        <a:pt x="604" y="43"/>
                      </a:lnTo>
                      <a:lnTo>
                        <a:pt x="591" y="51"/>
                      </a:lnTo>
                      <a:lnTo>
                        <a:pt x="584" y="63"/>
                      </a:lnTo>
                      <a:lnTo>
                        <a:pt x="580" y="79"/>
                      </a:lnTo>
                      <a:lnTo>
                        <a:pt x="584" y="94"/>
                      </a:lnTo>
                      <a:lnTo>
                        <a:pt x="591" y="106"/>
                      </a:lnTo>
                      <a:lnTo>
                        <a:pt x="604" y="115"/>
                      </a:lnTo>
                      <a:lnTo>
                        <a:pt x="619" y="118"/>
                      </a:lnTo>
                      <a:lnTo>
                        <a:pt x="634" y="115"/>
                      </a:lnTo>
                      <a:lnTo>
                        <a:pt x="647" y="106"/>
                      </a:lnTo>
                      <a:lnTo>
                        <a:pt x="655" y="94"/>
                      </a:lnTo>
                      <a:lnTo>
                        <a:pt x="658" y="79"/>
                      </a:lnTo>
                      <a:lnTo>
                        <a:pt x="655" y="63"/>
                      </a:lnTo>
                      <a:lnTo>
                        <a:pt x="647" y="51"/>
                      </a:lnTo>
                      <a:lnTo>
                        <a:pt x="634" y="43"/>
                      </a:lnTo>
                      <a:lnTo>
                        <a:pt x="619" y="39"/>
                      </a:lnTo>
                      <a:close/>
                      <a:moveTo>
                        <a:pt x="619" y="0"/>
                      </a:moveTo>
                      <a:lnTo>
                        <a:pt x="643" y="4"/>
                      </a:lnTo>
                      <a:lnTo>
                        <a:pt x="664" y="13"/>
                      </a:lnTo>
                      <a:lnTo>
                        <a:pt x="683" y="27"/>
                      </a:lnTo>
                      <a:lnTo>
                        <a:pt x="697" y="45"/>
                      </a:lnTo>
                      <a:lnTo>
                        <a:pt x="706" y="67"/>
                      </a:lnTo>
                      <a:lnTo>
                        <a:pt x="710" y="91"/>
                      </a:lnTo>
                      <a:lnTo>
                        <a:pt x="1237" y="331"/>
                      </a:lnTo>
                      <a:lnTo>
                        <a:pt x="1234" y="355"/>
                      </a:lnTo>
                      <a:lnTo>
                        <a:pt x="1225" y="376"/>
                      </a:lnTo>
                      <a:lnTo>
                        <a:pt x="1211" y="395"/>
                      </a:lnTo>
                      <a:lnTo>
                        <a:pt x="1193" y="409"/>
                      </a:lnTo>
                      <a:lnTo>
                        <a:pt x="1171" y="418"/>
                      </a:lnTo>
                      <a:lnTo>
                        <a:pt x="1147" y="421"/>
                      </a:lnTo>
                      <a:lnTo>
                        <a:pt x="91" y="421"/>
                      </a:lnTo>
                      <a:lnTo>
                        <a:pt x="67" y="418"/>
                      </a:lnTo>
                      <a:lnTo>
                        <a:pt x="45" y="409"/>
                      </a:lnTo>
                      <a:lnTo>
                        <a:pt x="27" y="395"/>
                      </a:lnTo>
                      <a:lnTo>
                        <a:pt x="13" y="376"/>
                      </a:lnTo>
                      <a:lnTo>
                        <a:pt x="4" y="355"/>
                      </a:lnTo>
                      <a:lnTo>
                        <a:pt x="0" y="331"/>
                      </a:lnTo>
                      <a:lnTo>
                        <a:pt x="529" y="91"/>
                      </a:lnTo>
                      <a:lnTo>
                        <a:pt x="532" y="67"/>
                      </a:lnTo>
                      <a:lnTo>
                        <a:pt x="541" y="45"/>
                      </a:lnTo>
                      <a:lnTo>
                        <a:pt x="556" y="27"/>
                      </a:lnTo>
                      <a:lnTo>
                        <a:pt x="573" y="13"/>
                      </a:lnTo>
                      <a:lnTo>
                        <a:pt x="595" y="4"/>
                      </a:lnTo>
                      <a:lnTo>
                        <a:pt x="61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16" name="Rectangle 219"/>
                <p:cNvSpPr>
                  <a:spLocks noChangeArrowheads="1"/>
                </p:cNvSpPr>
                <p:nvPr/>
              </p:nvSpPr>
              <p:spPr bwMode="auto">
                <a:xfrm>
                  <a:off x="5002043" y="5921413"/>
                  <a:ext cx="267903" cy="2210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17" name="Rectangle 220"/>
                <p:cNvSpPr>
                  <a:spLocks noChangeArrowheads="1"/>
                </p:cNvSpPr>
                <p:nvPr/>
              </p:nvSpPr>
              <p:spPr bwMode="auto">
                <a:xfrm>
                  <a:off x="5002693" y="5994458"/>
                  <a:ext cx="267903" cy="2210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18" name="Rectangle 221"/>
                <p:cNvSpPr>
                  <a:spLocks noChangeArrowheads="1"/>
                </p:cNvSpPr>
                <p:nvPr/>
              </p:nvSpPr>
              <p:spPr bwMode="auto">
                <a:xfrm>
                  <a:off x="5002693" y="6067285"/>
                  <a:ext cx="268120" cy="2210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19" name="Freeform 222"/>
                <p:cNvSpPr>
                  <a:spLocks/>
                </p:cNvSpPr>
                <p:nvPr/>
              </p:nvSpPr>
              <p:spPr bwMode="auto">
                <a:xfrm>
                  <a:off x="5002043" y="6210991"/>
                  <a:ext cx="185105" cy="22325"/>
                </a:xfrm>
                <a:custGeom>
                  <a:avLst/>
                  <a:gdLst>
                    <a:gd name="T0" fmla="*/ 0 w 854"/>
                    <a:gd name="T1" fmla="*/ 0 h 103"/>
                    <a:gd name="T2" fmla="*/ 843 w 854"/>
                    <a:gd name="T3" fmla="*/ 0 h 103"/>
                    <a:gd name="T4" fmla="*/ 846 w 854"/>
                    <a:gd name="T5" fmla="*/ 53 h 103"/>
                    <a:gd name="T6" fmla="*/ 854 w 854"/>
                    <a:gd name="T7" fmla="*/ 103 h 103"/>
                    <a:gd name="T8" fmla="*/ 0 w 854"/>
                    <a:gd name="T9" fmla="*/ 103 h 103"/>
                    <a:gd name="T10" fmla="*/ 0 w 854"/>
                    <a:gd name="T1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54" h="103">
                      <a:moveTo>
                        <a:pt x="0" y="0"/>
                      </a:moveTo>
                      <a:lnTo>
                        <a:pt x="843" y="0"/>
                      </a:lnTo>
                      <a:lnTo>
                        <a:pt x="846" y="53"/>
                      </a:lnTo>
                      <a:lnTo>
                        <a:pt x="854" y="103"/>
                      </a:lnTo>
                      <a:lnTo>
                        <a:pt x="0" y="1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20" name="Freeform 223"/>
                <p:cNvSpPr>
                  <a:spLocks/>
                </p:cNvSpPr>
                <p:nvPr/>
              </p:nvSpPr>
              <p:spPr bwMode="auto">
                <a:xfrm>
                  <a:off x="5001609" y="6138380"/>
                  <a:ext cx="213933" cy="22109"/>
                </a:xfrm>
                <a:custGeom>
                  <a:avLst/>
                  <a:gdLst>
                    <a:gd name="T0" fmla="*/ 0 w 987"/>
                    <a:gd name="T1" fmla="*/ 0 h 102"/>
                    <a:gd name="T2" fmla="*/ 987 w 987"/>
                    <a:gd name="T3" fmla="*/ 0 h 102"/>
                    <a:gd name="T4" fmla="*/ 957 w 987"/>
                    <a:gd name="T5" fmla="*/ 31 h 102"/>
                    <a:gd name="T6" fmla="*/ 931 w 987"/>
                    <a:gd name="T7" fmla="*/ 65 h 102"/>
                    <a:gd name="T8" fmla="*/ 907 w 987"/>
                    <a:gd name="T9" fmla="*/ 102 h 102"/>
                    <a:gd name="T10" fmla="*/ 0 w 987"/>
                    <a:gd name="T11" fmla="*/ 102 h 102"/>
                    <a:gd name="T12" fmla="*/ 0 w 987"/>
                    <a:gd name="T13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87" h="102">
                      <a:moveTo>
                        <a:pt x="0" y="0"/>
                      </a:moveTo>
                      <a:lnTo>
                        <a:pt x="987" y="0"/>
                      </a:lnTo>
                      <a:lnTo>
                        <a:pt x="957" y="31"/>
                      </a:lnTo>
                      <a:lnTo>
                        <a:pt x="931" y="65"/>
                      </a:lnTo>
                      <a:lnTo>
                        <a:pt x="907" y="102"/>
                      </a:lnTo>
                      <a:lnTo>
                        <a:pt x="0" y="10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21" name="Freeform 224"/>
                <p:cNvSpPr>
                  <a:spLocks/>
                </p:cNvSpPr>
                <p:nvPr/>
              </p:nvSpPr>
              <p:spPr bwMode="auto">
                <a:xfrm>
                  <a:off x="4962378" y="5858555"/>
                  <a:ext cx="278957" cy="443688"/>
                </a:xfrm>
                <a:custGeom>
                  <a:avLst/>
                  <a:gdLst>
                    <a:gd name="T0" fmla="*/ 111 w 1287"/>
                    <a:gd name="T1" fmla="*/ 0 h 2047"/>
                    <a:gd name="T2" fmla="*/ 113 w 1287"/>
                    <a:gd name="T3" fmla="*/ 0 h 2047"/>
                    <a:gd name="T4" fmla="*/ 113 w 1287"/>
                    <a:gd name="T5" fmla="*/ 1921 h 2047"/>
                    <a:gd name="T6" fmla="*/ 1129 w 1287"/>
                    <a:gd name="T7" fmla="*/ 1921 h 2047"/>
                    <a:gd name="T8" fmla="*/ 1163 w 1287"/>
                    <a:gd name="T9" fmla="*/ 1959 h 2047"/>
                    <a:gd name="T10" fmla="*/ 1201 w 1287"/>
                    <a:gd name="T11" fmla="*/ 1991 h 2047"/>
                    <a:gd name="T12" fmla="*/ 1243 w 1287"/>
                    <a:gd name="T13" fmla="*/ 2022 h 2047"/>
                    <a:gd name="T14" fmla="*/ 1287 w 1287"/>
                    <a:gd name="T15" fmla="*/ 2047 h 2047"/>
                    <a:gd name="T16" fmla="*/ 111 w 1287"/>
                    <a:gd name="T17" fmla="*/ 2047 h 2047"/>
                    <a:gd name="T18" fmla="*/ 86 w 1287"/>
                    <a:gd name="T19" fmla="*/ 2043 h 2047"/>
                    <a:gd name="T20" fmla="*/ 63 w 1287"/>
                    <a:gd name="T21" fmla="*/ 2034 h 2047"/>
                    <a:gd name="T22" fmla="*/ 42 w 1287"/>
                    <a:gd name="T23" fmla="*/ 2020 h 2047"/>
                    <a:gd name="T24" fmla="*/ 26 w 1287"/>
                    <a:gd name="T25" fmla="*/ 2003 h 2047"/>
                    <a:gd name="T26" fmla="*/ 12 w 1287"/>
                    <a:gd name="T27" fmla="*/ 1981 h 2047"/>
                    <a:gd name="T28" fmla="*/ 3 w 1287"/>
                    <a:gd name="T29" fmla="*/ 1956 h 2047"/>
                    <a:gd name="T30" fmla="*/ 0 w 1287"/>
                    <a:gd name="T31" fmla="*/ 1930 h 2047"/>
                    <a:gd name="T32" fmla="*/ 0 w 1287"/>
                    <a:gd name="T33" fmla="*/ 117 h 2047"/>
                    <a:gd name="T34" fmla="*/ 3 w 1287"/>
                    <a:gd name="T35" fmla="*/ 91 h 2047"/>
                    <a:gd name="T36" fmla="*/ 12 w 1287"/>
                    <a:gd name="T37" fmla="*/ 66 h 2047"/>
                    <a:gd name="T38" fmla="*/ 26 w 1287"/>
                    <a:gd name="T39" fmla="*/ 44 h 2047"/>
                    <a:gd name="T40" fmla="*/ 42 w 1287"/>
                    <a:gd name="T41" fmla="*/ 25 h 2047"/>
                    <a:gd name="T42" fmla="*/ 63 w 1287"/>
                    <a:gd name="T43" fmla="*/ 12 h 2047"/>
                    <a:gd name="T44" fmla="*/ 86 w 1287"/>
                    <a:gd name="T45" fmla="*/ 3 h 2047"/>
                    <a:gd name="T46" fmla="*/ 111 w 1287"/>
                    <a:gd name="T47" fmla="*/ 0 h 20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87" h="2047">
                      <a:moveTo>
                        <a:pt x="111" y="0"/>
                      </a:moveTo>
                      <a:lnTo>
                        <a:pt x="113" y="0"/>
                      </a:lnTo>
                      <a:lnTo>
                        <a:pt x="113" y="1921"/>
                      </a:lnTo>
                      <a:lnTo>
                        <a:pt x="1129" y="1921"/>
                      </a:lnTo>
                      <a:lnTo>
                        <a:pt x="1163" y="1959"/>
                      </a:lnTo>
                      <a:lnTo>
                        <a:pt x="1201" y="1991"/>
                      </a:lnTo>
                      <a:lnTo>
                        <a:pt x="1243" y="2022"/>
                      </a:lnTo>
                      <a:lnTo>
                        <a:pt x="1287" y="2047"/>
                      </a:lnTo>
                      <a:lnTo>
                        <a:pt x="111" y="2047"/>
                      </a:lnTo>
                      <a:lnTo>
                        <a:pt x="86" y="2043"/>
                      </a:lnTo>
                      <a:lnTo>
                        <a:pt x="63" y="2034"/>
                      </a:lnTo>
                      <a:lnTo>
                        <a:pt x="42" y="2020"/>
                      </a:lnTo>
                      <a:lnTo>
                        <a:pt x="26" y="2003"/>
                      </a:lnTo>
                      <a:lnTo>
                        <a:pt x="12" y="1981"/>
                      </a:lnTo>
                      <a:lnTo>
                        <a:pt x="3" y="1956"/>
                      </a:lnTo>
                      <a:lnTo>
                        <a:pt x="0" y="1930"/>
                      </a:lnTo>
                      <a:lnTo>
                        <a:pt x="0" y="117"/>
                      </a:lnTo>
                      <a:lnTo>
                        <a:pt x="3" y="91"/>
                      </a:lnTo>
                      <a:lnTo>
                        <a:pt x="12" y="66"/>
                      </a:lnTo>
                      <a:lnTo>
                        <a:pt x="26" y="44"/>
                      </a:lnTo>
                      <a:lnTo>
                        <a:pt x="42" y="25"/>
                      </a:lnTo>
                      <a:lnTo>
                        <a:pt x="63" y="12"/>
                      </a:lnTo>
                      <a:lnTo>
                        <a:pt x="86" y="3"/>
                      </a:lnTo>
                      <a:lnTo>
                        <a:pt x="11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22" name="Freeform 225"/>
                <p:cNvSpPr>
                  <a:spLocks/>
                </p:cNvSpPr>
                <p:nvPr/>
              </p:nvSpPr>
              <p:spPr bwMode="auto">
                <a:xfrm>
                  <a:off x="5285770" y="5858555"/>
                  <a:ext cx="24059" cy="253815"/>
                </a:xfrm>
                <a:custGeom>
                  <a:avLst/>
                  <a:gdLst>
                    <a:gd name="T0" fmla="*/ 0 w 111"/>
                    <a:gd name="T1" fmla="*/ 0 h 1171"/>
                    <a:gd name="T2" fmla="*/ 0 w 111"/>
                    <a:gd name="T3" fmla="*/ 0 h 1171"/>
                    <a:gd name="T4" fmla="*/ 25 w 111"/>
                    <a:gd name="T5" fmla="*/ 3 h 1171"/>
                    <a:gd name="T6" fmla="*/ 49 w 111"/>
                    <a:gd name="T7" fmla="*/ 12 h 1171"/>
                    <a:gd name="T8" fmla="*/ 70 w 111"/>
                    <a:gd name="T9" fmla="*/ 25 h 1171"/>
                    <a:gd name="T10" fmla="*/ 87 w 111"/>
                    <a:gd name="T11" fmla="*/ 44 h 1171"/>
                    <a:gd name="T12" fmla="*/ 100 w 111"/>
                    <a:gd name="T13" fmla="*/ 66 h 1171"/>
                    <a:gd name="T14" fmla="*/ 109 w 111"/>
                    <a:gd name="T15" fmla="*/ 91 h 1171"/>
                    <a:gd name="T16" fmla="*/ 111 w 111"/>
                    <a:gd name="T17" fmla="*/ 117 h 1171"/>
                    <a:gd name="T18" fmla="*/ 111 w 111"/>
                    <a:gd name="T19" fmla="*/ 1171 h 1171"/>
                    <a:gd name="T20" fmla="*/ 58 w 111"/>
                    <a:gd name="T21" fmla="*/ 1161 h 1171"/>
                    <a:gd name="T22" fmla="*/ 2 w 111"/>
                    <a:gd name="T23" fmla="*/ 1158 h 1171"/>
                    <a:gd name="T24" fmla="*/ 0 w 111"/>
                    <a:gd name="T25" fmla="*/ 1158 h 1171"/>
                    <a:gd name="T26" fmla="*/ 0 w 111"/>
                    <a:gd name="T27" fmla="*/ 0 h 1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1" h="117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5" y="3"/>
                      </a:lnTo>
                      <a:lnTo>
                        <a:pt x="49" y="12"/>
                      </a:lnTo>
                      <a:lnTo>
                        <a:pt x="70" y="25"/>
                      </a:lnTo>
                      <a:lnTo>
                        <a:pt x="87" y="44"/>
                      </a:lnTo>
                      <a:lnTo>
                        <a:pt x="100" y="66"/>
                      </a:lnTo>
                      <a:lnTo>
                        <a:pt x="109" y="91"/>
                      </a:lnTo>
                      <a:lnTo>
                        <a:pt x="111" y="117"/>
                      </a:lnTo>
                      <a:lnTo>
                        <a:pt x="111" y="1171"/>
                      </a:lnTo>
                      <a:lnTo>
                        <a:pt x="58" y="1161"/>
                      </a:lnTo>
                      <a:lnTo>
                        <a:pt x="2" y="1158"/>
                      </a:lnTo>
                      <a:lnTo>
                        <a:pt x="0" y="115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23" name="Freeform 226"/>
                <p:cNvSpPr>
                  <a:spLocks noEditPoints="1"/>
                </p:cNvSpPr>
                <p:nvPr/>
              </p:nvSpPr>
              <p:spPr bwMode="auto">
                <a:xfrm>
                  <a:off x="5191266" y="6116705"/>
                  <a:ext cx="188789" cy="188789"/>
                </a:xfrm>
                <a:custGeom>
                  <a:avLst/>
                  <a:gdLst>
                    <a:gd name="T0" fmla="*/ 395 w 871"/>
                    <a:gd name="T1" fmla="*/ 185 h 871"/>
                    <a:gd name="T2" fmla="*/ 378 w 871"/>
                    <a:gd name="T3" fmla="*/ 201 h 871"/>
                    <a:gd name="T4" fmla="*/ 376 w 871"/>
                    <a:gd name="T5" fmla="*/ 373 h 871"/>
                    <a:gd name="T6" fmla="*/ 201 w 871"/>
                    <a:gd name="T7" fmla="*/ 376 h 871"/>
                    <a:gd name="T8" fmla="*/ 186 w 871"/>
                    <a:gd name="T9" fmla="*/ 393 h 871"/>
                    <a:gd name="T10" fmla="*/ 183 w 871"/>
                    <a:gd name="T11" fmla="*/ 465 h 871"/>
                    <a:gd name="T12" fmla="*/ 192 w 871"/>
                    <a:gd name="T13" fmla="*/ 488 h 871"/>
                    <a:gd name="T14" fmla="*/ 212 w 871"/>
                    <a:gd name="T15" fmla="*/ 497 h 871"/>
                    <a:gd name="T16" fmla="*/ 376 w 871"/>
                    <a:gd name="T17" fmla="*/ 659 h 871"/>
                    <a:gd name="T18" fmla="*/ 385 w 871"/>
                    <a:gd name="T19" fmla="*/ 679 h 871"/>
                    <a:gd name="T20" fmla="*/ 407 w 871"/>
                    <a:gd name="T21" fmla="*/ 688 h 871"/>
                    <a:gd name="T22" fmla="*/ 479 w 871"/>
                    <a:gd name="T23" fmla="*/ 686 h 871"/>
                    <a:gd name="T24" fmla="*/ 497 w 871"/>
                    <a:gd name="T25" fmla="*/ 671 h 871"/>
                    <a:gd name="T26" fmla="*/ 499 w 871"/>
                    <a:gd name="T27" fmla="*/ 497 h 871"/>
                    <a:gd name="T28" fmla="*/ 671 w 871"/>
                    <a:gd name="T29" fmla="*/ 494 h 871"/>
                    <a:gd name="T30" fmla="*/ 686 w 871"/>
                    <a:gd name="T31" fmla="*/ 478 h 871"/>
                    <a:gd name="T32" fmla="*/ 688 w 871"/>
                    <a:gd name="T33" fmla="*/ 406 h 871"/>
                    <a:gd name="T34" fmla="*/ 679 w 871"/>
                    <a:gd name="T35" fmla="*/ 383 h 871"/>
                    <a:gd name="T36" fmla="*/ 659 w 871"/>
                    <a:gd name="T37" fmla="*/ 373 h 871"/>
                    <a:gd name="T38" fmla="*/ 499 w 871"/>
                    <a:gd name="T39" fmla="*/ 211 h 871"/>
                    <a:gd name="T40" fmla="*/ 489 w 871"/>
                    <a:gd name="T41" fmla="*/ 192 h 871"/>
                    <a:gd name="T42" fmla="*/ 468 w 871"/>
                    <a:gd name="T43" fmla="*/ 183 h 871"/>
                    <a:gd name="T44" fmla="*/ 436 w 871"/>
                    <a:gd name="T45" fmla="*/ 0 h 871"/>
                    <a:gd name="T46" fmla="*/ 551 w 871"/>
                    <a:gd name="T47" fmla="*/ 15 h 871"/>
                    <a:gd name="T48" fmla="*/ 656 w 871"/>
                    <a:gd name="T49" fmla="*/ 59 h 871"/>
                    <a:gd name="T50" fmla="*/ 744 w 871"/>
                    <a:gd name="T51" fmla="*/ 127 h 871"/>
                    <a:gd name="T52" fmla="*/ 812 w 871"/>
                    <a:gd name="T53" fmla="*/ 216 h 871"/>
                    <a:gd name="T54" fmla="*/ 856 w 871"/>
                    <a:gd name="T55" fmla="*/ 320 h 871"/>
                    <a:gd name="T56" fmla="*/ 871 w 871"/>
                    <a:gd name="T57" fmla="*/ 435 h 871"/>
                    <a:gd name="T58" fmla="*/ 856 w 871"/>
                    <a:gd name="T59" fmla="*/ 551 h 871"/>
                    <a:gd name="T60" fmla="*/ 812 w 871"/>
                    <a:gd name="T61" fmla="*/ 655 h 871"/>
                    <a:gd name="T62" fmla="*/ 744 w 871"/>
                    <a:gd name="T63" fmla="*/ 744 h 871"/>
                    <a:gd name="T64" fmla="*/ 656 w 871"/>
                    <a:gd name="T65" fmla="*/ 812 h 871"/>
                    <a:gd name="T66" fmla="*/ 551 w 871"/>
                    <a:gd name="T67" fmla="*/ 856 h 871"/>
                    <a:gd name="T68" fmla="*/ 436 w 871"/>
                    <a:gd name="T69" fmla="*/ 871 h 871"/>
                    <a:gd name="T70" fmla="*/ 320 w 871"/>
                    <a:gd name="T71" fmla="*/ 856 h 871"/>
                    <a:gd name="T72" fmla="*/ 216 w 871"/>
                    <a:gd name="T73" fmla="*/ 812 h 871"/>
                    <a:gd name="T74" fmla="*/ 128 w 871"/>
                    <a:gd name="T75" fmla="*/ 744 h 871"/>
                    <a:gd name="T76" fmla="*/ 60 w 871"/>
                    <a:gd name="T77" fmla="*/ 655 h 871"/>
                    <a:gd name="T78" fmla="*/ 15 w 871"/>
                    <a:gd name="T79" fmla="*/ 551 h 871"/>
                    <a:gd name="T80" fmla="*/ 0 w 871"/>
                    <a:gd name="T81" fmla="*/ 435 h 871"/>
                    <a:gd name="T82" fmla="*/ 15 w 871"/>
                    <a:gd name="T83" fmla="*/ 320 h 871"/>
                    <a:gd name="T84" fmla="*/ 60 w 871"/>
                    <a:gd name="T85" fmla="*/ 216 h 871"/>
                    <a:gd name="T86" fmla="*/ 128 w 871"/>
                    <a:gd name="T87" fmla="*/ 127 h 871"/>
                    <a:gd name="T88" fmla="*/ 216 w 871"/>
                    <a:gd name="T89" fmla="*/ 59 h 871"/>
                    <a:gd name="T90" fmla="*/ 320 w 871"/>
                    <a:gd name="T91" fmla="*/ 15 h 871"/>
                    <a:gd name="T92" fmla="*/ 436 w 871"/>
                    <a:gd name="T93" fmla="*/ 0 h 8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871" h="871">
                      <a:moveTo>
                        <a:pt x="407" y="183"/>
                      </a:moveTo>
                      <a:lnTo>
                        <a:pt x="395" y="185"/>
                      </a:lnTo>
                      <a:lnTo>
                        <a:pt x="385" y="192"/>
                      </a:lnTo>
                      <a:lnTo>
                        <a:pt x="378" y="201"/>
                      </a:lnTo>
                      <a:lnTo>
                        <a:pt x="376" y="211"/>
                      </a:lnTo>
                      <a:lnTo>
                        <a:pt x="376" y="373"/>
                      </a:lnTo>
                      <a:lnTo>
                        <a:pt x="212" y="373"/>
                      </a:lnTo>
                      <a:lnTo>
                        <a:pt x="201" y="376"/>
                      </a:lnTo>
                      <a:lnTo>
                        <a:pt x="192" y="383"/>
                      </a:lnTo>
                      <a:lnTo>
                        <a:pt x="186" y="393"/>
                      </a:lnTo>
                      <a:lnTo>
                        <a:pt x="183" y="406"/>
                      </a:lnTo>
                      <a:lnTo>
                        <a:pt x="183" y="465"/>
                      </a:lnTo>
                      <a:lnTo>
                        <a:pt x="186" y="478"/>
                      </a:lnTo>
                      <a:lnTo>
                        <a:pt x="192" y="488"/>
                      </a:lnTo>
                      <a:lnTo>
                        <a:pt x="201" y="494"/>
                      </a:lnTo>
                      <a:lnTo>
                        <a:pt x="212" y="497"/>
                      </a:lnTo>
                      <a:lnTo>
                        <a:pt x="376" y="497"/>
                      </a:lnTo>
                      <a:lnTo>
                        <a:pt x="376" y="659"/>
                      </a:lnTo>
                      <a:lnTo>
                        <a:pt x="378" y="671"/>
                      </a:lnTo>
                      <a:lnTo>
                        <a:pt x="385" y="679"/>
                      </a:lnTo>
                      <a:lnTo>
                        <a:pt x="395" y="686"/>
                      </a:lnTo>
                      <a:lnTo>
                        <a:pt x="407" y="688"/>
                      </a:lnTo>
                      <a:lnTo>
                        <a:pt x="468" y="688"/>
                      </a:lnTo>
                      <a:lnTo>
                        <a:pt x="479" y="686"/>
                      </a:lnTo>
                      <a:lnTo>
                        <a:pt x="489" y="679"/>
                      </a:lnTo>
                      <a:lnTo>
                        <a:pt x="497" y="671"/>
                      </a:lnTo>
                      <a:lnTo>
                        <a:pt x="499" y="659"/>
                      </a:lnTo>
                      <a:lnTo>
                        <a:pt x="499" y="497"/>
                      </a:lnTo>
                      <a:lnTo>
                        <a:pt x="659" y="497"/>
                      </a:lnTo>
                      <a:lnTo>
                        <a:pt x="671" y="494"/>
                      </a:lnTo>
                      <a:lnTo>
                        <a:pt x="679" y="488"/>
                      </a:lnTo>
                      <a:lnTo>
                        <a:pt x="686" y="478"/>
                      </a:lnTo>
                      <a:lnTo>
                        <a:pt x="688" y="465"/>
                      </a:lnTo>
                      <a:lnTo>
                        <a:pt x="688" y="406"/>
                      </a:lnTo>
                      <a:lnTo>
                        <a:pt x="686" y="393"/>
                      </a:lnTo>
                      <a:lnTo>
                        <a:pt x="679" y="383"/>
                      </a:lnTo>
                      <a:lnTo>
                        <a:pt x="671" y="376"/>
                      </a:lnTo>
                      <a:lnTo>
                        <a:pt x="659" y="373"/>
                      </a:lnTo>
                      <a:lnTo>
                        <a:pt x="499" y="373"/>
                      </a:lnTo>
                      <a:lnTo>
                        <a:pt x="499" y="211"/>
                      </a:lnTo>
                      <a:lnTo>
                        <a:pt x="497" y="201"/>
                      </a:lnTo>
                      <a:lnTo>
                        <a:pt x="489" y="192"/>
                      </a:lnTo>
                      <a:lnTo>
                        <a:pt x="479" y="185"/>
                      </a:lnTo>
                      <a:lnTo>
                        <a:pt x="468" y="183"/>
                      </a:lnTo>
                      <a:lnTo>
                        <a:pt x="407" y="183"/>
                      </a:lnTo>
                      <a:close/>
                      <a:moveTo>
                        <a:pt x="436" y="0"/>
                      </a:moveTo>
                      <a:lnTo>
                        <a:pt x="494" y="4"/>
                      </a:lnTo>
                      <a:lnTo>
                        <a:pt x="551" y="15"/>
                      </a:lnTo>
                      <a:lnTo>
                        <a:pt x="605" y="34"/>
                      </a:lnTo>
                      <a:lnTo>
                        <a:pt x="656" y="59"/>
                      </a:lnTo>
                      <a:lnTo>
                        <a:pt x="702" y="91"/>
                      </a:lnTo>
                      <a:lnTo>
                        <a:pt x="744" y="127"/>
                      </a:lnTo>
                      <a:lnTo>
                        <a:pt x="780" y="169"/>
                      </a:lnTo>
                      <a:lnTo>
                        <a:pt x="812" y="216"/>
                      </a:lnTo>
                      <a:lnTo>
                        <a:pt x="837" y="266"/>
                      </a:lnTo>
                      <a:lnTo>
                        <a:pt x="856" y="320"/>
                      </a:lnTo>
                      <a:lnTo>
                        <a:pt x="867" y="376"/>
                      </a:lnTo>
                      <a:lnTo>
                        <a:pt x="871" y="435"/>
                      </a:lnTo>
                      <a:lnTo>
                        <a:pt x="867" y="494"/>
                      </a:lnTo>
                      <a:lnTo>
                        <a:pt x="856" y="551"/>
                      </a:lnTo>
                      <a:lnTo>
                        <a:pt x="837" y="605"/>
                      </a:lnTo>
                      <a:lnTo>
                        <a:pt x="812" y="655"/>
                      </a:lnTo>
                      <a:lnTo>
                        <a:pt x="780" y="702"/>
                      </a:lnTo>
                      <a:lnTo>
                        <a:pt x="744" y="744"/>
                      </a:lnTo>
                      <a:lnTo>
                        <a:pt x="702" y="780"/>
                      </a:lnTo>
                      <a:lnTo>
                        <a:pt x="656" y="812"/>
                      </a:lnTo>
                      <a:lnTo>
                        <a:pt x="605" y="837"/>
                      </a:lnTo>
                      <a:lnTo>
                        <a:pt x="551" y="856"/>
                      </a:lnTo>
                      <a:lnTo>
                        <a:pt x="494" y="867"/>
                      </a:lnTo>
                      <a:lnTo>
                        <a:pt x="436" y="871"/>
                      </a:lnTo>
                      <a:lnTo>
                        <a:pt x="377" y="867"/>
                      </a:lnTo>
                      <a:lnTo>
                        <a:pt x="320" y="856"/>
                      </a:lnTo>
                      <a:lnTo>
                        <a:pt x="266" y="837"/>
                      </a:lnTo>
                      <a:lnTo>
                        <a:pt x="216" y="812"/>
                      </a:lnTo>
                      <a:lnTo>
                        <a:pt x="169" y="780"/>
                      </a:lnTo>
                      <a:lnTo>
                        <a:pt x="128" y="744"/>
                      </a:lnTo>
                      <a:lnTo>
                        <a:pt x="91" y="702"/>
                      </a:lnTo>
                      <a:lnTo>
                        <a:pt x="60" y="655"/>
                      </a:lnTo>
                      <a:lnTo>
                        <a:pt x="34" y="605"/>
                      </a:lnTo>
                      <a:lnTo>
                        <a:pt x="15" y="551"/>
                      </a:lnTo>
                      <a:lnTo>
                        <a:pt x="4" y="494"/>
                      </a:lnTo>
                      <a:lnTo>
                        <a:pt x="0" y="435"/>
                      </a:lnTo>
                      <a:lnTo>
                        <a:pt x="4" y="376"/>
                      </a:lnTo>
                      <a:lnTo>
                        <a:pt x="15" y="320"/>
                      </a:lnTo>
                      <a:lnTo>
                        <a:pt x="34" y="266"/>
                      </a:lnTo>
                      <a:lnTo>
                        <a:pt x="60" y="216"/>
                      </a:lnTo>
                      <a:lnTo>
                        <a:pt x="91" y="169"/>
                      </a:lnTo>
                      <a:lnTo>
                        <a:pt x="128" y="127"/>
                      </a:lnTo>
                      <a:lnTo>
                        <a:pt x="169" y="91"/>
                      </a:lnTo>
                      <a:lnTo>
                        <a:pt x="216" y="59"/>
                      </a:lnTo>
                      <a:lnTo>
                        <a:pt x="266" y="34"/>
                      </a:lnTo>
                      <a:lnTo>
                        <a:pt x="320" y="15"/>
                      </a:lnTo>
                      <a:lnTo>
                        <a:pt x="377" y="4"/>
                      </a:lnTo>
                      <a:lnTo>
                        <a:pt x="43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</p:grpSp>
        </p:grpSp>
        <p:sp>
          <p:nvSpPr>
            <p:cNvPr id="412" name="ZoneTexte 411"/>
            <p:cNvSpPr txBox="1"/>
            <p:nvPr/>
          </p:nvSpPr>
          <p:spPr>
            <a:xfrm>
              <a:off x="6618921" y="5876174"/>
              <a:ext cx="274480" cy="5486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BE" dirty="0"/>
            </a:p>
          </p:txBody>
        </p:sp>
      </p:grpSp>
      <p:grpSp>
        <p:nvGrpSpPr>
          <p:cNvPr id="424" name="Groupe 2995"/>
          <p:cNvGrpSpPr/>
          <p:nvPr/>
        </p:nvGrpSpPr>
        <p:grpSpPr>
          <a:xfrm>
            <a:off x="7219291" y="2280680"/>
            <a:ext cx="396785" cy="829275"/>
            <a:chOff x="7095706" y="5269433"/>
            <a:chExt cx="589739" cy="1232382"/>
          </a:xfrm>
        </p:grpSpPr>
        <p:grpSp>
          <p:nvGrpSpPr>
            <p:cNvPr id="425" name="Groupe 56"/>
            <p:cNvGrpSpPr/>
            <p:nvPr/>
          </p:nvGrpSpPr>
          <p:grpSpPr>
            <a:xfrm>
              <a:off x="7095706" y="5269433"/>
              <a:ext cx="589739" cy="589739"/>
              <a:chOff x="6799085" y="5269433"/>
              <a:chExt cx="589739" cy="589739"/>
            </a:xfrm>
          </p:grpSpPr>
          <p:sp>
            <p:nvSpPr>
              <p:cNvPr id="427" name="Ellipse 426"/>
              <p:cNvSpPr/>
              <p:nvPr/>
            </p:nvSpPr>
            <p:spPr>
              <a:xfrm>
                <a:off x="6799085" y="5269433"/>
                <a:ext cx="589739" cy="589739"/>
              </a:xfrm>
              <a:prstGeom prst="ellipse">
                <a:avLst/>
              </a:prstGeom>
              <a:solidFill>
                <a:srgbClr val="1289B4"/>
              </a:solidFill>
              <a:ln w="38100">
                <a:solidFill>
                  <a:srgbClr val="29DBFF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fr-BE" dirty="0"/>
              </a:p>
            </p:txBody>
          </p:sp>
          <p:grpSp>
            <p:nvGrpSpPr>
              <p:cNvPr id="428" name="Groupe 33"/>
              <p:cNvGrpSpPr/>
              <p:nvPr/>
            </p:nvGrpSpPr>
            <p:grpSpPr>
              <a:xfrm>
                <a:off x="6917292" y="5400480"/>
                <a:ext cx="339157" cy="337826"/>
                <a:chOff x="5524297" y="5827319"/>
                <a:chExt cx="496816" cy="494868"/>
              </a:xfrm>
              <a:solidFill>
                <a:schemeClr val="bg1"/>
              </a:solidFill>
            </p:grpSpPr>
            <p:sp>
              <p:nvSpPr>
                <p:cNvPr id="429" name="Freeform 231"/>
                <p:cNvSpPr>
                  <a:spLocks/>
                </p:cNvSpPr>
                <p:nvPr/>
              </p:nvSpPr>
              <p:spPr bwMode="auto">
                <a:xfrm>
                  <a:off x="5524297" y="6007667"/>
                  <a:ext cx="222055" cy="93611"/>
                </a:xfrm>
                <a:custGeom>
                  <a:avLst/>
                  <a:gdLst>
                    <a:gd name="T0" fmla="*/ 135 w 1938"/>
                    <a:gd name="T1" fmla="*/ 0 h 817"/>
                    <a:gd name="T2" fmla="*/ 1652 w 1938"/>
                    <a:gd name="T3" fmla="*/ 0 h 817"/>
                    <a:gd name="T4" fmla="*/ 1565 w 1938"/>
                    <a:gd name="T5" fmla="*/ 88 h 817"/>
                    <a:gd name="T6" fmla="*/ 1537 w 1938"/>
                    <a:gd name="T7" fmla="*/ 119 h 817"/>
                    <a:gd name="T8" fmla="*/ 1515 w 1938"/>
                    <a:gd name="T9" fmla="*/ 156 h 817"/>
                    <a:gd name="T10" fmla="*/ 1499 w 1938"/>
                    <a:gd name="T11" fmla="*/ 196 h 817"/>
                    <a:gd name="T12" fmla="*/ 1489 w 1938"/>
                    <a:gd name="T13" fmla="*/ 238 h 817"/>
                    <a:gd name="T14" fmla="*/ 1486 w 1938"/>
                    <a:gd name="T15" fmla="*/ 280 h 817"/>
                    <a:gd name="T16" fmla="*/ 1489 w 1938"/>
                    <a:gd name="T17" fmla="*/ 323 h 817"/>
                    <a:gd name="T18" fmla="*/ 1499 w 1938"/>
                    <a:gd name="T19" fmla="*/ 364 h 817"/>
                    <a:gd name="T20" fmla="*/ 1515 w 1938"/>
                    <a:gd name="T21" fmla="*/ 403 h 817"/>
                    <a:gd name="T22" fmla="*/ 1537 w 1938"/>
                    <a:gd name="T23" fmla="*/ 439 h 817"/>
                    <a:gd name="T24" fmla="*/ 1565 w 1938"/>
                    <a:gd name="T25" fmla="*/ 471 h 817"/>
                    <a:gd name="T26" fmla="*/ 1853 w 1938"/>
                    <a:gd name="T27" fmla="*/ 759 h 817"/>
                    <a:gd name="T28" fmla="*/ 1871 w 1938"/>
                    <a:gd name="T29" fmla="*/ 777 h 817"/>
                    <a:gd name="T30" fmla="*/ 1893 w 1938"/>
                    <a:gd name="T31" fmla="*/ 794 h 817"/>
                    <a:gd name="T32" fmla="*/ 1914 w 1938"/>
                    <a:gd name="T33" fmla="*/ 808 h 817"/>
                    <a:gd name="T34" fmla="*/ 1938 w 1938"/>
                    <a:gd name="T35" fmla="*/ 817 h 817"/>
                    <a:gd name="T36" fmla="*/ 135 w 1938"/>
                    <a:gd name="T37" fmla="*/ 817 h 817"/>
                    <a:gd name="T38" fmla="*/ 105 w 1938"/>
                    <a:gd name="T39" fmla="*/ 813 h 817"/>
                    <a:gd name="T40" fmla="*/ 76 w 1938"/>
                    <a:gd name="T41" fmla="*/ 804 h 817"/>
                    <a:gd name="T42" fmla="*/ 51 w 1938"/>
                    <a:gd name="T43" fmla="*/ 787 h 817"/>
                    <a:gd name="T44" fmla="*/ 30 w 1938"/>
                    <a:gd name="T45" fmla="*/ 766 h 817"/>
                    <a:gd name="T46" fmla="*/ 14 w 1938"/>
                    <a:gd name="T47" fmla="*/ 741 h 817"/>
                    <a:gd name="T48" fmla="*/ 4 w 1938"/>
                    <a:gd name="T49" fmla="*/ 712 h 817"/>
                    <a:gd name="T50" fmla="*/ 0 w 1938"/>
                    <a:gd name="T51" fmla="*/ 682 h 817"/>
                    <a:gd name="T52" fmla="*/ 0 w 1938"/>
                    <a:gd name="T53" fmla="*/ 136 h 817"/>
                    <a:gd name="T54" fmla="*/ 4 w 1938"/>
                    <a:gd name="T55" fmla="*/ 106 h 817"/>
                    <a:gd name="T56" fmla="*/ 14 w 1938"/>
                    <a:gd name="T57" fmla="*/ 77 h 817"/>
                    <a:gd name="T58" fmla="*/ 30 w 1938"/>
                    <a:gd name="T59" fmla="*/ 51 h 817"/>
                    <a:gd name="T60" fmla="*/ 51 w 1938"/>
                    <a:gd name="T61" fmla="*/ 30 h 817"/>
                    <a:gd name="T62" fmla="*/ 76 w 1938"/>
                    <a:gd name="T63" fmla="*/ 13 h 817"/>
                    <a:gd name="T64" fmla="*/ 105 w 1938"/>
                    <a:gd name="T65" fmla="*/ 2 h 817"/>
                    <a:gd name="T66" fmla="*/ 135 w 1938"/>
                    <a:gd name="T67" fmla="*/ 0 h 8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938" h="817">
                      <a:moveTo>
                        <a:pt x="135" y="0"/>
                      </a:moveTo>
                      <a:lnTo>
                        <a:pt x="1652" y="0"/>
                      </a:lnTo>
                      <a:lnTo>
                        <a:pt x="1565" y="88"/>
                      </a:lnTo>
                      <a:lnTo>
                        <a:pt x="1537" y="119"/>
                      </a:lnTo>
                      <a:lnTo>
                        <a:pt x="1515" y="156"/>
                      </a:lnTo>
                      <a:lnTo>
                        <a:pt x="1499" y="196"/>
                      </a:lnTo>
                      <a:lnTo>
                        <a:pt x="1489" y="238"/>
                      </a:lnTo>
                      <a:lnTo>
                        <a:pt x="1486" y="280"/>
                      </a:lnTo>
                      <a:lnTo>
                        <a:pt x="1489" y="323"/>
                      </a:lnTo>
                      <a:lnTo>
                        <a:pt x="1499" y="364"/>
                      </a:lnTo>
                      <a:lnTo>
                        <a:pt x="1515" y="403"/>
                      </a:lnTo>
                      <a:lnTo>
                        <a:pt x="1537" y="439"/>
                      </a:lnTo>
                      <a:lnTo>
                        <a:pt x="1565" y="471"/>
                      </a:lnTo>
                      <a:lnTo>
                        <a:pt x="1853" y="759"/>
                      </a:lnTo>
                      <a:lnTo>
                        <a:pt x="1871" y="777"/>
                      </a:lnTo>
                      <a:lnTo>
                        <a:pt x="1893" y="794"/>
                      </a:lnTo>
                      <a:lnTo>
                        <a:pt x="1914" y="808"/>
                      </a:lnTo>
                      <a:lnTo>
                        <a:pt x="1938" y="817"/>
                      </a:lnTo>
                      <a:lnTo>
                        <a:pt x="135" y="817"/>
                      </a:lnTo>
                      <a:lnTo>
                        <a:pt x="105" y="813"/>
                      </a:lnTo>
                      <a:lnTo>
                        <a:pt x="76" y="804"/>
                      </a:lnTo>
                      <a:lnTo>
                        <a:pt x="51" y="787"/>
                      </a:lnTo>
                      <a:lnTo>
                        <a:pt x="30" y="766"/>
                      </a:lnTo>
                      <a:lnTo>
                        <a:pt x="14" y="741"/>
                      </a:lnTo>
                      <a:lnTo>
                        <a:pt x="4" y="712"/>
                      </a:lnTo>
                      <a:lnTo>
                        <a:pt x="0" y="682"/>
                      </a:lnTo>
                      <a:lnTo>
                        <a:pt x="0" y="136"/>
                      </a:lnTo>
                      <a:lnTo>
                        <a:pt x="4" y="106"/>
                      </a:lnTo>
                      <a:lnTo>
                        <a:pt x="14" y="77"/>
                      </a:lnTo>
                      <a:lnTo>
                        <a:pt x="30" y="51"/>
                      </a:lnTo>
                      <a:lnTo>
                        <a:pt x="51" y="30"/>
                      </a:lnTo>
                      <a:lnTo>
                        <a:pt x="76" y="13"/>
                      </a:lnTo>
                      <a:lnTo>
                        <a:pt x="105" y="2"/>
                      </a:lnTo>
                      <a:lnTo>
                        <a:pt x="13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30" name="Freeform 232"/>
                <p:cNvSpPr>
                  <a:spLocks/>
                </p:cNvSpPr>
                <p:nvPr/>
              </p:nvSpPr>
              <p:spPr bwMode="auto">
                <a:xfrm>
                  <a:off x="5770643" y="6007667"/>
                  <a:ext cx="250470" cy="93611"/>
                </a:xfrm>
                <a:custGeom>
                  <a:avLst/>
                  <a:gdLst>
                    <a:gd name="T0" fmla="*/ 843 w 2186"/>
                    <a:gd name="T1" fmla="*/ 0 h 817"/>
                    <a:gd name="T2" fmla="*/ 2051 w 2186"/>
                    <a:gd name="T3" fmla="*/ 0 h 817"/>
                    <a:gd name="T4" fmla="*/ 2081 w 2186"/>
                    <a:gd name="T5" fmla="*/ 2 h 817"/>
                    <a:gd name="T6" fmla="*/ 2110 w 2186"/>
                    <a:gd name="T7" fmla="*/ 13 h 817"/>
                    <a:gd name="T8" fmla="*/ 2135 w 2186"/>
                    <a:gd name="T9" fmla="*/ 30 h 817"/>
                    <a:gd name="T10" fmla="*/ 2156 w 2186"/>
                    <a:gd name="T11" fmla="*/ 51 h 817"/>
                    <a:gd name="T12" fmla="*/ 2172 w 2186"/>
                    <a:gd name="T13" fmla="*/ 77 h 817"/>
                    <a:gd name="T14" fmla="*/ 2182 w 2186"/>
                    <a:gd name="T15" fmla="*/ 106 h 817"/>
                    <a:gd name="T16" fmla="*/ 2186 w 2186"/>
                    <a:gd name="T17" fmla="*/ 136 h 817"/>
                    <a:gd name="T18" fmla="*/ 2186 w 2186"/>
                    <a:gd name="T19" fmla="*/ 682 h 817"/>
                    <a:gd name="T20" fmla="*/ 2182 w 2186"/>
                    <a:gd name="T21" fmla="*/ 712 h 817"/>
                    <a:gd name="T22" fmla="*/ 2172 w 2186"/>
                    <a:gd name="T23" fmla="*/ 741 h 817"/>
                    <a:gd name="T24" fmla="*/ 2156 w 2186"/>
                    <a:gd name="T25" fmla="*/ 766 h 817"/>
                    <a:gd name="T26" fmla="*/ 2135 w 2186"/>
                    <a:gd name="T27" fmla="*/ 787 h 817"/>
                    <a:gd name="T28" fmla="*/ 2110 w 2186"/>
                    <a:gd name="T29" fmla="*/ 804 h 817"/>
                    <a:gd name="T30" fmla="*/ 2081 w 2186"/>
                    <a:gd name="T31" fmla="*/ 813 h 817"/>
                    <a:gd name="T32" fmla="*/ 2051 w 2186"/>
                    <a:gd name="T33" fmla="*/ 817 h 817"/>
                    <a:gd name="T34" fmla="*/ 0 w 2186"/>
                    <a:gd name="T35" fmla="*/ 817 h 817"/>
                    <a:gd name="T36" fmla="*/ 23 w 2186"/>
                    <a:gd name="T37" fmla="*/ 808 h 817"/>
                    <a:gd name="T38" fmla="*/ 44 w 2186"/>
                    <a:gd name="T39" fmla="*/ 793 h 817"/>
                    <a:gd name="T40" fmla="*/ 65 w 2186"/>
                    <a:gd name="T41" fmla="*/ 776 h 817"/>
                    <a:gd name="T42" fmla="*/ 85 w 2186"/>
                    <a:gd name="T43" fmla="*/ 758 h 817"/>
                    <a:gd name="T44" fmla="*/ 843 w 2186"/>
                    <a:gd name="T45" fmla="*/ 0 h 8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186" h="817">
                      <a:moveTo>
                        <a:pt x="843" y="0"/>
                      </a:moveTo>
                      <a:lnTo>
                        <a:pt x="2051" y="0"/>
                      </a:lnTo>
                      <a:lnTo>
                        <a:pt x="2081" y="2"/>
                      </a:lnTo>
                      <a:lnTo>
                        <a:pt x="2110" y="13"/>
                      </a:lnTo>
                      <a:lnTo>
                        <a:pt x="2135" y="30"/>
                      </a:lnTo>
                      <a:lnTo>
                        <a:pt x="2156" y="51"/>
                      </a:lnTo>
                      <a:lnTo>
                        <a:pt x="2172" y="77"/>
                      </a:lnTo>
                      <a:lnTo>
                        <a:pt x="2182" y="106"/>
                      </a:lnTo>
                      <a:lnTo>
                        <a:pt x="2186" y="136"/>
                      </a:lnTo>
                      <a:lnTo>
                        <a:pt x="2186" y="682"/>
                      </a:lnTo>
                      <a:lnTo>
                        <a:pt x="2182" y="712"/>
                      </a:lnTo>
                      <a:lnTo>
                        <a:pt x="2172" y="741"/>
                      </a:lnTo>
                      <a:lnTo>
                        <a:pt x="2156" y="766"/>
                      </a:lnTo>
                      <a:lnTo>
                        <a:pt x="2135" y="787"/>
                      </a:lnTo>
                      <a:lnTo>
                        <a:pt x="2110" y="804"/>
                      </a:lnTo>
                      <a:lnTo>
                        <a:pt x="2081" y="813"/>
                      </a:lnTo>
                      <a:lnTo>
                        <a:pt x="2051" y="817"/>
                      </a:lnTo>
                      <a:lnTo>
                        <a:pt x="0" y="817"/>
                      </a:lnTo>
                      <a:lnTo>
                        <a:pt x="23" y="808"/>
                      </a:lnTo>
                      <a:lnTo>
                        <a:pt x="44" y="793"/>
                      </a:lnTo>
                      <a:lnTo>
                        <a:pt x="65" y="776"/>
                      </a:lnTo>
                      <a:lnTo>
                        <a:pt x="85" y="758"/>
                      </a:lnTo>
                      <a:lnTo>
                        <a:pt x="84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31" name="Freeform 233"/>
                <p:cNvSpPr>
                  <a:spLocks noEditPoints="1"/>
                </p:cNvSpPr>
                <p:nvPr/>
              </p:nvSpPr>
              <p:spPr bwMode="auto">
                <a:xfrm>
                  <a:off x="5710031" y="5827319"/>
                  <a:ext cx="260783" cy="260898"/>
                </a:xfrm>
                <a:custGeom>
                  <a:avLst/>
                  <a:gdLst>
                    <a:gd name="T0" fmla="*/ 362 w 2276"/>
                    <a:gd name="T1" fmla="*/ 1731 h 2277"/>
                    <a:gd name="T2" fmla="*/ 303 w 2276"/>
                    <a:gd name="T3" fmla="*/ 1760 h 2277"/>
                    <a:gd name="T4" fmla="*/ 262 w 2276"/>
                    <a:gd name="T5" fmla="*/ 1812 h 2277"/>
                    <a:gd name="T6" fmla="*/ 247 w 2276"/>
                    <a:gd name="T7" fmla="*/ 1877 h 2277"/>
                    <a:gd name="T8" fmla="*/ 262 w 2276"/>
                    <a:gd name="T9" fmla="*/ 1942 h 2277"/>
                    <a:gd name="T10" fmla="*/ 303 w 2276"/>
                    <a:gd name="T11" fmla="*/ 1993 h 2277"/>
                    <a:gd name="T12" fmla="*/ 362 w 2276"/>
                    <a:gd name="T13" fmla="*/ 2022 h 2277"/>
                    <a:gd name="T14" fmla="*/ 430 w 2276"/>
                    <a:gd name="T15" fmla="*/ 2022 h 2277"/>
                    <a:gd name="T16" fmla="*/ 489 w 2276"/>
                    <a:gd name="T17" fmla="*/ 1993 h 2277"/>
                    <a:gd name="T18" fmla="*/ 529 w 2276"/>
                    <a:gd name="T19" fmla="*/ 1942 h 2277"/>
                    <a:gd name="T20" fmla="*/ 544 w 2276"/>
                    <a:gd name="T21" fmla="*/ 1877 h 2277"/>
                    <a:gd name="T22" fmla="*/ 529 w 2276"/>
                    <a:gd name="T23" fmla="*/ 1812 h 2277"/>
                    <a:gd name="T24" fmla="*/ 489 w 2276"/>
                    <a:gd name="T25" fmla="*/ 1760 h 2277"/>
                    <a:gd name="T26" fmla="*/ 430 w 2276"/>
                    <a:gd name="T27" fmla="*/ 1731 h 2277"/>
                    <a:gd name="T28" fmla="*/ 1854 w 2276"/>
                    <a:gd name="T29" fmla="*/ 0 h 2277"/>
                    <a:gd name="T30" fmla="*/ 1904 w 2276"/>
                    <a:gd name="T31" fmla="*/ 11 h 2277"/>
                    <a:gd name="T32" fmla="*/ 1949 w 2276"/>
                    <a:gd name="T33" fmla="*/ 41 h 2277"/>
                    <a:gd name="T34" fmla="*/ 2254 w 2276"/>
                    <a:gd name="T35" fmla="*/ 348 h 2277"/>
                    <a:gd name="T36" fmla="*/ 2274 w 2276"/>
                    <a:gd name="T37" fmla="*/ 398 h 2277"/>
                    <a:gd name="T38" fmla="*/ 2274 w 2276"/>
                    <a:gd name="T39" fmla="*/ 450 h 2277"/>
                    <a:gd name="T40" fmla="*/ 2254 w 2276"/>
                    <a:gd name="T41" fmla="*/ 498 h 2277"/>
                    <a:gd name="T42" fmla="*/ 518 w 2276"/>
                    <a:gd name="T43" fmla="*/ 2237 h 2277"/>
                    <a:gd name="T44" fmla="*/ 473 w 2276"/>
                    <a:gd name="T45" fmla="*/ 2267 h 2277"/>
                    <a:gd name="T46" fmla="*/ 422 w 2276"/>
                    <a:gd name="T47" fmla="*/ 2277 h 2277"/>
                    <a:gd name="T48" fmla="*/ 372 w 2276"/>
                    <a:gd name="T49" fmla="*/ 2267 h 2277"/>
                    <a:gd name="T50" fmla="*/ 328 w 2276"/>
                    <a:gd name="T51" fmla="*/ 2237 h 2277"/>
                    <a:gd name="T52" fmla="*/ 23 w 2276"/>
                    <a:gd name="T53" fmla="*/ 1928 h 2277"/>
                    <a:gd name="T54" fmla="*/ 3 w 2276"/>
                    <a:gd name="T55" fmla="*/ 1880 h 2277"/>
                    <a:gd name="T56" fmla="*/ 3 w 2276"/>
                    <a:gd name="T57" fmla="*/ 1829 h 2277"/>
                    <a:gd name="T58" fmla="*/ 23 w 2276"/>
                    <a:gd name="T59" fmla="*/ 1780 h 2277"/>
                    <a:gd name="T60" fmla="*/ 1758 w 2276"/>
                    <a:gd name="T61" fmla="*/ 41 h 2277"/>
                    <a:gd name="T62" fmla="*/ 1803 w 2276"/>
                    <a:gd name="T63" fmla="*/ 11 h 2277"/>
                    <a:gd name="T64" fmla="*/ 1854 w 2276"/>
                    <a:gd name="T65" fmla="*/ 0 h 2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276" h="2277">
                      <a:moveTo>
                        <a:pt x="396" y="1728"/>
                      </a:moveTo>
                      <a:lnTo>
                        <a:pt x="362" y="1731"/>
                      </a:lnTo>
                      <a:lnTo>
                        <a:pt x="330" y="1743"/>
                      </a:lnTo>
                      <a:lnTo>
                        <a:pt x="303" y="1760"/>
                      </a:lnTo>
                      <a:lnTo>
                        <a:pt x="279" y="1784"/>
                      </a:lnTo>
                      <a:lnTo>
                        <a:pt x="262" y="1812"/>
                      </a:lnTo>
                      <a:lnTo>
                        <a:pt x="251" y="1843"/>
                      </a:lnTo>
                      <a:lnTo>
                        <a:pt x="247" y="1877"/>
                      </a:lnTo>
                      <a:lnTo>
                        <a:pt x="251" y="1911"/>
                      </a:lnTo>
                      <a:lnTo>
                        <a:pt x="262" y="1942"/>
                      </a:lnTo>
                      <a:lnTo>
                        <a:pt x="279" y="1969"/>
                      </a:lnTo>
                      <a:lnTo>
                        <a:pt x="303" y="1993"/>
                      </a:lnTo>
                      <a:lnTo>
                        <a:pt x="330" y="2010"/>
                      </a:lnTo>
                      <a:lnTo>
                        <a:pt x="362" y="2022"/>
                      </a:lnTo>
                      <a:lnTo>
                        <a:pt x="396" y="2026"/>
                      </a:lnTo>
                      <a:lnTo>
                        <a:pt x="430" y="2022"/>
                      </a:lnTo>
                      <a:lnTo>
                        <a:pt x="462" y="2010"/>
                      </a:lnTo>
                      <a:lnTo>
                        <a:pt x="489" y="1993"/>
                      </a:lnTo>
                      <a:lnTo>
                        <a:pt x="512" y="1969"/>
                      </a:lnTo>
                      <a:lnTo>
                        <a:pt x="529" y="1942"/>
                      </a:lnTo>
                      <a:lnTo>
                        <a:pt x="540" y="1911"/>
                      </a:lnTo>
                      <a:lnTo>
                        <a:pt x="544" y="1877"/>
                      </a:lnTo>
                      <a:lnTo>
                        <a:pt x="540" y="1843"/>
                      </a:lnTo>
                      <a:lnTo>
                        <a:pt x="529" y="1812"/>
                      </a:lnTo>
                      <a:lnTo>
                        <a:pt x="512" y="1784"/>
                      </a:lnTo>
                      <a:lnTo>
                        <a:pt x="489" y="1760"/>
                      </a:lnTo>
                      <a:lnTo>
                        <a:pt x="462" y="1743"/>
                      </a:lnTo>
                      <a:lnTo>
                        <a:pt x="430" y="1731"/>
                      </a:lnTo>
                      <a:lnTo>
                        <a:pt x="396" y="1728"/>
                      </a:lnTo>
                      <a:close/>
                      <a:moveTo>
                        <a:pt x="1854" y="0"/>
                      </a:moveTo>
                      <a:lnTo>
                        <a:pt x="1879" y="3"/>
                      </a:lnTo>
                      <a:lnTo>
                        <a:pt x="1904" y="11"/>
                      </a:lnTo>
                      <a:lnTo>
                        <a:pt x="1928" y="23"/>
                      </a:lnTo>
                      <a:lnTo>
                        <a:pt x="1949" y="41"/>
                      </a:lnTo>
                      <a:lnTo>
                        <a:pt x="2237" y="327"/>
                      </a:lnTo>
                      <a:lnTo>
                        <a:pt x="2254" y="348"/>
                      </a:lnTo>
                      <a:lnTo>
                        <a:pt x="2267" y="372"/>
                      </a:lnTo>
                      <a:lnTo>
                        <a:pt x="2274" y="398"/>
                      </a:lnTo>
                      <a:lnTo>
                        <a:pt x="2276" y="423"/>
                      </a:lnTo>
                      <a:lnTo>
                        <a:pt x="2274" y="450"/>
                      </a:lnTo>
                      <a:lnTo>
                        <a:pt x="2267" y="474"/>
                      </a:lnTo>
                      <a:lnTo>
                        <a:pt x="2254" y="498"/>
                      </a:lnTo>
                      <a:lnTo>
                        <a:pt x="2237" y="519"/>
                      </a:lnTo>
                      <a:lnTo>
                        <a:pt x="518" y="2237"/>
                      </a:lnTo>
                      <a:lnTo>
                        <a:pt x="497" y="2254"/>
                      </a:lnTo>
                      <a:lnTo>
                        <a:pt x="473" y="2267"/>
                      </a:lnTo>
                      <a:lnTo>
                        <a:pt x="448" y="2274"/>
                      </a:lnTo>
                      <a:lnTo>
                        <a:pt x="422" y="2277"/>
                      </a:lnTo>
                      <a:lnTo>
                        <a:pt x="397" y="2274"/>
                      </a:lnTo>
                      <a:lnTo>
                        <a:pt x="372" y="2267"/>
                      </a:lnTo>
                      <a:lnTo>
                        <a:pt x="349" y="2254"/>
                      </a:lnTo>
                      <a:lnTo>
                        <a:pt x="328" y="2237"/>
                      </a:lnTo>
                      <a:lnTo>
                        <a:pt x="40" y="1950"/>
                      </a:lnTo>
                      <a:lnTo>
                        <a:pt x="23" y="1928"/>
                      </a:lnTo>
                      <a:lnTo>
                        <a:pt x="10" y="1905"/>
                      </a:lnTo>
                      <a:lnTo>
                        <a:pt x="3" y="1880"/>
                      </a:lnTo>
                      <a:lnTo>
                        <a:pt x="0" y="1854"/>
                      </a:lnTo>
                      <a:lnTo>
                        <a:pt x="3" y="1829"/>
                      </a:lnTo>
                      <a:lnTo>
                        <a:pt x="10" y="1802"/>
                      </a:lnTo>
                      <a:lnTo>
                        <a:pt x="23" y="1780"/>
                      </a:lnTo>
                      <a:lnTo>
                        <a:pt x="40" y="1758"/>
                      </a:lnTo>
                      <a:lnTo>
                        <a:pt x="1758" y="41"/>
                      </a:lnTo>
                      <a:lnTo>
                        <a:pt x="1779" y="23"/>
                      </a:lnTo>
                      <a:lnTo>
                        <a:pt x="1803" y="11"/>
                      </a:lnTo>
                      <a:lnTo>
                        <a:pt x="1828" y="3"/>
                      </a:lnTo>
                      <a:lnTo>
                        <a:pt x="185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32" name="Freeform 234"/>
                <p:cNvSpPr>
                  <a:spLocks noEditPoints="1"/>
                </p:cNvSpPr>
                <p:nvPr/>
              </p:nvSpPr>
              <p:spPr bwMode="auto">
                <a:xfrm>
                  <a:off x="5557869" y="6116861"/>
                  <a:ext cx="429672" cy="205326"/>
                </a:xfrm>
                <a:custGeom>
                  <a:avLst/>
                  <a:gdLst>
                    <a:gd name="T0" fmla="*/ 3123 w 3750"/>
                    <a:gd name="T1" fmla="*/ 309 h 1792"/>
                    <a:gd name="T2" fmla="*/ 3075 w 3750"/>
                    <a:gd name="T3" fmla="*/ 414 h 1792"/>
                    <a:gd name="T4" fmla="*/ 3096 w 3750"/>
                    <a:gd name="T5" fmla="*/ 1411 h 1792"/>
                    <a:gd name="T6" fmla="*/ 3177 w 3750"/>
                    <a:gd name="T7" fmla="*/ 1468 h 1792"/>
                    <a:gd name="T8" fmla="*/ 3285 w 3750"/>
                    <a:gd name="T9" fmla="*/ 1441 h 1792"/>
                    <a:gd name="T10" fmla="*/ 3333 w 3750"/>
                    <a:gd name="T11" fmla="*/ 1336 h 1792"/>
                    <a:gd name="T12" fmla="*/ 3311 w 3750"/>
                    <a:gd name="T13" fmla="*/ 339 h 1792"/>
                    <a:gd name="T14" fmla="*/ 3230 w 3750"/>
                    <a:gd name="T15" fmla="*/ 283 h 1792"/>
                    <a:gd name="T16" fmla="*/ 2613 w 3750"/>
                    <a:gd name="T17" fmla="*/ 293 h 1792"/>
                    <a:gd name="T18" fmla="*/ 2545 w 3750"/>
                    <a:gd name="T19" fmla="*/ 384 h 1792"/>
                    <a:gd name="T20" fmla="*/ 2552 w 3750"/>
                    <a:gd name="T21" fmla="*/ 1389 h 1792"/>
                    <a:gd name="T22" fmla="*/ 2620 w 3750"/>
                    <a:gd name="T23" fmla="*/ 1460 h 1792"/>
                    <a:gd name="T24" fmla="*/ 2728 w 3750"/>
                    <a:gd name="T25" fmla="*/ 1457 h 1792"/>
                    <a:gd name="T26" fmla="*/ 2797 w 3750"/>
                    <a:gd name="T27" fmla="*/ 1368 h 1792"/>
                    <a:gd name="T28" fmla="*/ 2791 w 3750"/>
                    <a:gd name="T29" fmla="*/ 362 h 1792"/>
                    <a:gd name="T30" fmla="*/ 2721 w 3750"/>
                    <a:gd name="T31" fmla="*/ 291 h 1792"/>
                    <a:gd name="T32" fmla="*/ 2109 w 3750"/>
                    <a:gd name="T33" fmla="*/ 284 h 1792"/>
                    <a:gd name="T34" fmla="*/ 2022 w 3750"/>
                    <a:gd name="T35" fmla="*/ 355 h 1792"/>
                    <a:gd name="T36" fmla="*/ 2012 w 3750"/>
                    <a:gd name="T37" fmla="*/ 1364 h 1792"/>
                    <a:gd name="T38" fmla="*/ 2066 w 3750"/>
                    <a:gd name="T39" fmla="*/ 1448 h 1792"/>
                    <a:gd name="T40" fmla="*/ 2168 w 3750"/>
                    <a:gd name="T41" fmla="*/ 1468 h 1792"/>
                    <a:gd name="T42" fmla="*/ 2255 w 3750"/>
                    <a:gd name="T43" fmla="*/ 1395 h 1792"/>
                    <a:gd name="T44" fmla="*/ 2265 w 3750"/>
                    <a:gd name="T45" fmla="*/ 387 h 1792"/>
                    <a:gd name="T46" fmla="*/ 2211 w 3750"/>
                    <a:gd name="T47" fmla="*/ 303 h 1792"/>
                    <a:gd name="T48" fmla="*/ 1606 w 3750"/>
                    <a:gd name="T49" fmla="*/ 280 h 1792"/>
                    <a:gd name="T50" fmla="*/ 1504 w 3750"/>
                    <a:gd name="T51" fmla="*/ 330 h 1792"/>
                    <a:gd name="T52" fmla="*/ 1477 w 3750"/>
                    <a:gd name="T53" fmla="*/ 1336 h 1792"/>
                    <a:gd name="T54" fmla="*/ 1514 w 3750"/>
                    <a:gd name="T55" fmla="*/ 1431 h 1792"/>
                    <a:gd name="T56" fmla="*/ 1606 w 3750"/>
                    <a:gd name="T57" fmla="*/ 1470 h 1792"/>
                    <a:gd name="T58" fmla="*/ 1707 w 3750"/>
                    <a:gd name="T59" fmla="*/ 1420 h 1792"/>
                    <a:gd name="T60" fmla="*/ 1736 w 3750"/>
                    <a:gd name="T61" fmla="*/ 414 h 1792"/>
                    <a:gd name="T62" fmla="*/ 1698 w 3750"/>
                    <a:gd name="T63" fmla="*/ 320 h 1792"/>
                    <a:gd name="T64" fmla="*/ 1606 w 3750"/>
                    <a:gd name="T65" fmla="*/ 280 h 1792"/>
                    <a:gd name="T66" fmla="*/ 992 w 3750"/>
                    <a:gd name="T67" fmla="*/ 309 h 1792"/>
                    <a:gd name="T68" fmla="*/ 943 w 3750"/>
                    <a:gd name="T69" fmla="*/ 414 h 1792"/>
                    <a:gd name="T70" fmla="*/ 966 w 3750"/>
                    <a:gd name="T71" fmla="*/ 1411 h 1792"/>
                    <a:gd name="T72" fmla="*/ 1047 w 3750"/>
                    <a:gd name="T73" fmla="*/ 1468 h 1792"/>
                    <a:gd name="T74" fmla="*/ 1154 w 3750"/>
                    <a:gd name="T75" fmla="*/ 1441 h 1792"/>
                    <a:gd name="T76" fmla="*/ 1202 w 3750"/>
                    <a:gd name="T77" fmla="*/ 1336 h 1792"/>
                    <a:gd name="T78" fmla="*/ 1181 w 3750"/>
                    <a:gd name="T79" fmla="*/ 339 h 1792"/>
                    <a:gd name="T80" fmla="*/ 1100 w 3750"/>
                    <a:gd name="T81" fmla="*/ 283 h 1792"/>
                    <a:gd name="T82" fmla="*/ 484 w 3750"/>
                    <a:gd name="T83" fmla="*/ 293 h 1792"/>
                    <a:gd name="T84" fmla="*/ 414 w 3750"/>
                    <a:gd name="T85" fmla="*/ 384 h 1792"/>
                    <a:gd name="T86" fmla="*/ 422 w 3750"/>
                    <a:gd name="T87" fmla="*/ 1389 h 1792"/>
                    <a:gd name="T88" fmla="*/ 490 w 3750"/>
                    <a:gd name="T89" fmla="*/ 1460 h 1792"/>
                    <a:gd name="T90" fmla="*/ 598 w 3750"/>
                    <a:gd name="T91" fmla="*/ 1457 h 1792"/>
                    <a:gd name="T92" fmla="*/ 666 w 3750"/>
                    <a:gd name="T93" fmla="*/ 1368 h 1792"/>
                    <a:gd name="T94" fmla="*/ 660 w 3750"/>
                    <a:gd name="T95" fmla="*/ 362 h 1792"/>
                    <a:gd name="T96" fmla="*/ 591 w 3750"/>
                    <a:gd name="T97" fmla="*/ 291 h 1792"/>
                    <a:gd name="T98" fmla="*/ 3750 w 3750"/>
                    <a:gd name="T99" fmla="*/ 0 h 1792"/>
                    <a:gd name="T100" fmla="*/ 3619 w 3750"/>
                    <a:gd name="T101" fmla="*/ 1646 h 1792"/>
                    <a:gd name="T102" fmla="*/ 3496 w 3750"/>
                    <a:gd name="T103" fmla="*/ 1762 h 1792"/>
                    <a:gd name="T104" fmla="*/ 380 w 3750"/>
                    <a:gd name="T105" fmla="*/ 1792 h 1792"/>
                    <a:gd name="T106" fmla="*/ 217 w 3750"/>
                    <a:gd name="T107" fmla="*/ 1739 h 1792"/>
                    <a:gd name="T108" fmla="*/ 112 w 3750"/>
                    <a:gd name="T109" fmla="*/ 1607 h 17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750" h="1792">
                      <a:moveTo>
                        <a:pt x="3203" y="280"/>
                      </a:moveTo>
                      <a:lnTo>
                        <a:pt x="3174" y="284"/>
                      </a:lnTo>
                      <a:lnTo>
                        <a:pt x="3147" y="293"/>
                      </a:lnTo>
                      <a:lnTo>
                        <a:pt x="3123" y="309"/>
                      </a:lnTo>
                      <a:lnTo>
                        <a:pt x="3102" y="330"/>
                      </a:lnTo>
                      <a:lnTo>
                        <a:pt x="3088" y="355"/>
                      </a:lnTo>
                      <a:lnTo>
                        <a:pt x="3077" y="384"/>
                      </a:lnTo>
                      <a:lnTo>
                        <a:pt x="3075" y="414"/>
                      </a:lnTo>
                      <a:lnTo>
                        <a:pt x="3075" y="1336"/>
                      </a:lnTo>
                      <a:lnTo>
                        <a:pt x="3077" y="1364"/>
                      </a:lnTo>
                      <a:lnTo>
                        <a:pt x="3084" y="1389"/>
                      </a:lnTo>
                      <a:lnTo>
                        <a:pt x="3096" y="1411"/>
                      </a:lnTo>
                      <a:lnTo>
                        <a:pt x="3111" y="1431"/>
                      </a:lnTo>
                      <a:lnTo>
                        <a:pt x="3131" y="1448"/>
                      </a:lnTo>
                      <a:lnTo>
                        <a:pt x="3153" y="1460"/>
                      </a:lnTo>
                      <a:lnTo>
                        <a:pt x="3177" y="1468"/>
                      </a:lnTo>
                      <a:lnTo>
                        <a:pt x="3203" y="1470"/>
                      </a:lnTo>
                      <a:lnTo>
                        <a:pt x="3234" y="1468"/>
                      </a:lnTo>
                      <a:lnTo>
                        <a:pt x="3261" y="1457"/>
                      </a:lnTo>
                      <a:lnTo>
                        <a:pt x="3285" y="1441"/>
                      </a:lnTo>
                      <a:lnTo>
                        <a:pt x="3305" y="1420"/>
                      </a:lnTo>
                      <a:lnTo>
                        <a:pt x="3320" y="1395"/>
                      </a:lnTo>
                      <a:lnTo>
                        <a:pt x="3330" y="1368"/>
                      </a:lnTo>
                      <a:lnTo>
                        <a:pt x="3333" y="1336"/>
                      </a:lnTo>
                      <a:lnTo>
                        <a:pt x="3333" y="414"/>
                      </a:lnTo>
                      <a:lnTo>
                        <a:pt x="3331" y="387"/>
                      </a:lnTo>
                      <a:lnTo>
                        <a:pt x="3323" y="362"/>
                      </a:lnTo>
                      <a:lnTo>
                        <a:pt x="3311" y="339"/>
                      </a:lnTo>
                      <a:lnTo>
                        <a:pt x="3295" y="320"/>
                      </a:lnTo>
                      <a:lnTo>
                        <a:pt x="3276" y="303"/>
                      </a:lnTo>
                      <a:lnTo>
                        <a:pt x="3255" y="291"/>
                      </a:lnTo>
                      <a:lnTo>
                        <a:pt x="3230" y="283"/>
                      </a:lnTo>
                      <a:lnTo>
                        <a:pt x="3203" y="280"/>
                      </a:lnTo>
                      <a:close/>
                      <a:moveTo>
                        <a:pt x="2671" y="280"/>
                      </a:moveTo>
                      <a:lnTo>
                        <a:pt x="2641" y="284"/>
                      </a:lnTo>
                      <a:lnTo>
                        <a:pt x="2613" y="293"/>
                      </a:lnTo>
                      <a:lnTo>
                        <a:pt x="2590" y="309"/>
                      </a:lnTo>
                      <a:lnTo>
                        <a:pt x="2570" y="330"/>
                      </a:lnTo>
                      <a:lnTo>
                        <a:pt x="2554" y="355"/>
                      </a:lnTo>
                      <a:lnTo>
                        <a:pt x="2545" y="384"/>
                      </a:lnTo>
                      <a:lnTo>
                        <a:pt x="2541" y="414"/>
                      </a:lnTo>
                      <a:lnTo>
                        <a:pt x="2541" y="1336"/>
                      </a:lnTo>
                      <a:lnTo>
                        <a:pt x="2544" y="1364"/>
                      </a:lnTo>
                      <a:lnTo>
                        <a:pt x="2552" y="1389"/>
                      </a:lnTo>
                      <a:lnTo>
                        <a:pt x="2564" y="1411"/>
                      </a:lnTo>
                      <a:lnTo>
                        <a:pt x="2579" y="1431"/>
                      </a:lnTo>
                      <a:lnTo>
                        <a:pt x="2599" y="1448"/>
                      </a:lnTo>
                      <a:lnTo>
                        <a:pt x="2620" y="1460"/>
                      </a:lnTo>
                      <a:lnTo>
                        <a:pt x="2645" y="1468"/>
                      </a:lnTo>
                      <a:lnTo>
                        <a:pt x="2671" y="1470"/>
                      </a:lnTo>
                      <a:lnTo>
                        <a:pt x="2700" y="1468"/>
                      </a:lnTo>
                      <a:lnTo>
                        <a:pt x="2728" y="1457"/>
                      </a:lnTo>
                      <a:lnTo>
                        <a:pt x="2751" y="1441"/>
                      </a:lnTo>
                      <a:lnTo>
                        <a:pt x="2772" y="1420"/>
                      </a:lnTo>
                      <a:lnTo>
                        <a:pt x="2787" y="1395"/>
                      </a:lnTo>
                      <a:lnTo>
                        <a:pt x="2797" y="1368"/>
                      </a:lnTo>
                      <a:lnTo>
                        <a:pt x="2800" y="1336"/>
                      </a:lnTo>
                      <a:lnTo>
                        <a:pt x="2800" y="414"/>
                      </a:lnTo>
                      <a:lnTo>
                        <a:pt x="2797" y="387"/>
                      </a:lnTo>
                      <a:lnTo>
                        <a:pt x="2791" y="362"/>
                      </a:lnTo>
                      <a:lnTo>
                        <a:pt x="2779" y="339"/>
                      </a:lnTo>
                      <a:lnTo>
                        <a:pt x="2763" y="320"/>
                      </a:lnTo>
                      <a:lnTo>
                        <a:pt x="2744" y="303"/>
                      </a:lnTo>
                      <a:lnTo>
                        <a:pt x="2721" y="291"/>
                      </a:lnTo>
                      <a:lnTo>
                        <a:pt x="2698" y="283"/>
                      </a:lnTo>
                      <a:lnTo>
                        <a:pt x="2671" y="280"/>
                      </a:lnTo>
                      <a:close/>
                      <a:moveTo>
                        <a:pt x="2138" y="280"/>
                      </a:moveTo>
                      <a:lnTo>
                        <a:pt x="2109" y="284"/>
                      </a:lnTo>
                      <a:lnTo>
                        <a:pt x="2081" y="293"/>
                      </a:lnTo>
                      <a:lnTo>
                        <a:pt x="2058" y="309"/>
                      </a:lnTo>
                      <a:lnTo>
                        <a:pt x="2038" y="330"/>
                      </a:lnTo>
                      <a:lnTo>
                        <a:pt x="2022" y="355"/>
                      </a:lnTo>
                      <a:lnTo>
                        <a:pt x="2012" y="384"/>
                      </a:lnTo>
                      <a:lnTo>
                        <a:pt x="2009" y="414"/>
                      </a:lnTo>
                      <a:lnTo>
                        <a:pt x="2009" y="1336"/>
                      </a:lnTo>
                      <a:lnTo>
                        <a:pt x="2012" y="1364"/>
                      </a:lnTo>
                      <a:lnTo>
                        <a:pt x="2020" y="1389"/>
                      </a:lnTo>
                      <a:lnTo>
                        <a:pt x="2031" y="1411"/>
                      </a:lnTo>
                      <a:lnTo>
                        <a:pt x="2047" y="1431"/>
                      </a:lnTo>
                      <a:lnTo>
                        <a:pt x="2066" y="1448"/>
                      </a:lnTo>
                      <a:lnTo>
                        <a:pt x="2088" y="1460"/>
                      </a:lnTo>
                      <a:lnTo>
                        <a:pt x="2113" y="1468"/>
                      </a:lnTo>
                      <a:lnTo>
                        <a:pt x="2138" y="1470"/>
                      </a:lnTo>
                      <a:lnTo>
                        <a:pt x="2168" y="1468"/>
                      </a:lnTo>
                      <a:lnTo>
                        <a:pt x="2196" y="1457"/>
                      </a:lnTo>
                      <a:lnTo>
                        <a:pt x="2219" y="1441"/>
                      </a:lnTo>
                      <a:lnTo>
                        <a:pt x="2239" y="1420"/>
                      </a:lnTo>
                      <a:lnTo>
                        <a:pt x="2255" y="1395"/>
                      </a:lnTo>
                      <a:lnTo>
                        <a:pt x="2264" y="1368"/>
                      </a:lnTo>
                      <a:lnTo>
                        <a:pt x="2268" y="1336"/>
                      </a:lnTo>
                      <a:lnTo>
                        <a:pt x="2268" y="414"/>
                      </a:lnTo>
                      <a:lnTo>
                        <a:pt x="2265" y="387"/>
                      </a:lnTo>
                      <a:lnTo>
                        <a:pt x="2257" y="362"/>
                      </a:lnTo>
                      <a:lnTo>
                        <a:pt x="2246" y="339"/>
                      </a:lnTo>
                      <a:lnTo>
                        <a:pt x="2230" y="320"/>
                      </a:lnTo>
                      <a:lnTo>
                        <a:pt x="2211" y="303"/>
                      </a:lnTo>
                      <a:lnTo>
                        <a:pt x="2189" y="291"/>
                      </a:lnTo>
                      <a:lnTo>
                        <a:pt x="2164" y="283"/>
                      </a:lnTo>
                      <a:lnTo>
                        <a:pt x="2138" y="280"/>
                      </a:lnTo>
                      <a:close/>
                      <a:moveTo>
                        <a:pt x="1606" y="280"/>
                      </a:moveTo>
                      <a:lnTo>
                        <a:pt x="1577" y="284"/>
                      </a:lnTo>
                      <a:lnTo>
                        <a:pt x="1549" y="293"/>
                      </a:lnTo>
                      <a:lnTo>
                        <a:pt x="1524" y="309"/>
                      </a:lnTo>
                      <a:lnTo>
                        <a:pt x="1504" y="330"/>
                      </a:lnTo>
                      <a:lnTo>
                        <a:pt x="1490" y="355"/>
                      </a:lnTo>
                      <a:lnTo>
                        <a:pt x="1480" y="384"/>
                      </a:lnTo>
                      <a:lnTo>
                        <a:pt x="1477" y="414"/>
                      </a:lnTo>
                      <a:lnTo>
                        <a:pt x="1477" y="1336"/>
                      </a:lnTo>
                      <a:lnTo>
                        <a:pt x="1480" y="1364"/>
                      </a:lnTo>
                      <a:lnTo>
                        <a:pt x="1486" y="1389"/>
                      </a:lnTo>
                      <a:lnTo>
                        <a:pt x="1498" y="1411"/>
                      </a:lnTo>
                      <a:lnTo>
                        <a:pt x="1514" y="1431"/>
                      </a:lnTo>
                      <a:lnTo>
                        <a:pt x="1533" y="1448"/>
                      </a:lnTo>
                      <a:lnTo>
                        <a:pt x="1556" y="1460"/>
                      </a:lnTo>
                      <a:lnTo>
                        <a:pt x="1579" y="1468"/>
                      </a:lnTo>
                      <a:lnTo>
                        <a:pt x="1606" y="1470"/>
                      </a:lnTo>
                      <a:lnTo>
                        <a:pt x="1636" y="1468"/>
                      </a:lnTo>
                      <a:lnTo>
                        <a:pt x="1662" y="1457"/>
                      </a:lnTo>
                      <a:lnTo>
                        <a:pt x="1687" y="1441"/>
                      </a:lnTo>
                      <a:lnTo>
                        <a:pt x="1707" y="1420"/>
                      </a:lnTo>
                      <a:lnTo>
                        <a:pt x="1723" y="1395"/>
                      </a:lnTo>
                      <a:lnTo>
                        <a:pt x="1732" y="1368"/>
                      </a:lnTo>
                      <a:lnTo>
                        <a:pt x="1736" y="1336"/>
                      </a:lnTo>
                      <a:lnTo>
                        <a:pt x="1736" y="414"/>
                      </a:lnTo>
                      <a:lnTo>
                        <a:pt x="1733" y="387"/>
                      </a:lnTo>
                      <a:lnTo>
                        <a:pt x="1725" y="362"/>
                      </a:lnTo>
                      <a:lnTo>
                        <a:pt x="1713" y="339"/>
                      </a:lnTo>
                      <a:lnTo>
                        <a:pt x="1698" y="320"/>
                      </a:lnTo>
                      <a:lnTo>
                        <a:pt x="1678" y="303"/>
                      </a:lnTo>
                      <a:lnTo>
                        <a:pt x="1656" y="291"/>
                      </a:lnTo>
                      <a:lnTo>
                        <a:pt x="1632" y="283"/>
                      </a:lnTo>
                      <a:lnTo>
                        <a:pt x="1606" y="280"/>
                      </a:lnTo>
                      <a:close/>
                      <a:moveTo>
                        <a:pt x="1073" y="280"/>
                      </a:moveTo>
                      <a:lnTo>
                        <a:pt x="1043" y="284"/>
                      </a:lnTo>
                      <a:lnTo>
                        <a:pt x="1016" y="293"/>
                      </a:lnTo>
                      <a:lnTo>
                        <a:pt x="992" y="309"/>
                      </a:lnTo>
                      <a:lnTo>
                        <a:pt x="972" y="330"/>
                      </a:lnTo>
                      <a:lnTo>
                        <a:pt x="957" y="355"/>
                      </a:lnTo>
                      <a:lnTo>
                        <a:pt x="947" y="384"/>
                      </a:lnTo>
                      <a:lnTo>
                        <a:pt x="943" y="414"/>
                      </a:lnTo>
                      <a:lnTo>
                        <a:pt x="943" y="1336"/>
                      </a:lnTo>
                      <a:lnTo>
                        <a:pt x="946" y="1364"/>
                      </a:lnTo>
                      <a:lnTo>
                        <a:pt x="954" y="1389"/>
                      </a:lnTo>
                      <a:lnTo>
                        <a:pt x="966" y="1411"/>
                      </a:lnTo>
                      <a:lnTo>
                        <a:pt x="982" y="1431"/>
                      </a:lnTo>
                      <a:lnTo>
                        <a:pt x="1001" y="1448"/>
                      </a:lnTo>
                      <a:lnTo>
                        <a:pt x="1022" y="1460"/>
                      </a:lnTo>
                      <a:lnTo>
                        <a:pt x="1047" y="1468"/>
                      </a:lnTo>
                      <a:lnTo>
                        <a:pt x="1073" y="1470"/>
                      </a:lnTo>
                      <a:lnTo>
                        <a:pt x="1102" y="1468"/>
                      </a:lnTo>
                      <a:lnTo>
                        <a:pt x="1130" y="1457"/>
                      </a:lnTo>
                      <a:lnTo>
                        <a:pt x="1154" y="1441"/>
                      </a:lnTo>
                      <a:lnTo>
                        <a:pt x="1175" y="1420"/>
                      </a:lnTo>
                      <a:lnTo>
                        <a:pt x="1189" y="1395"/>
                      </a:lnTo>
                      <a:lnTo>
                        <a:pt x="1200" y="1368"/>
                      </a:lnTo>
                      <a:lnTo>
                        <a:pt x="1202" y="1336"/>
                      </a:lnTo>
                      <a:lnTo>
                        <a:pt x="1202" y="414"/>
                      </a:lnTo>
                      <a:lnTo>
                        <a:pt x="1200" y="387"/>
                      </a:lnTo>
                      <a:lnTo>
                        <a:pt x="1193" y="362"/>
                      </a:lnTo>
                      <a:lnTo>
                        <a:pt x="1181" y="339"/>
                      </a:lnTo>
                      <a:lnTo>
                        <a:pt x="1164" y="320"/>
                      </a:lnTo>
                      <a:lnTo>
                        <a:pt x="1146" y="303"/>
                      </a:lnTo>
                      <a:lnTo>
                        <a:pt x="1123" y="291"/>
                      </a:lnTo>
                      <a:lnTo>
                        <a:pt x="1100" y="283"/>
                      </a:lnTo>
                      <a:lnTo>
                        <a:pt x="1073" y="280"/>
                      </a:lnTo>
                      <a:close/>
                      <a:moveTo>
                        <a:pt x="540" y="280"/>
                      </a:moveTo>
                      <a:lnTo>
                        <a:pt x="511" y="284"/>
                      </a:lnTo>
                      <a:lnTo>
                        <a:pt x="484" y="293"/>
                      </a:lnTo>
                      <a:lnTo>
                        <a:pt x="460" y="309"/>
                      </a:lnTo>
                      <a:lnTo>
                        <a:pt x="439" y="330"/>
                      </a:lnTo>
                      <a:lnTo>
                        <a:pt x="424" y="355"/>
                      </a:lnTo>
                      <a:lnTo>
                        <a:pt x="414" y="384"/>
                      </a:lnTo>
                      <a:lnTo>
                        <a:pt x="411" y="414"/>
                      </a:lnTo>
                      <a:lnTo>
                        <a:pt x="411" y="1336"/>
                      </a:lnTo>
                      <a:lnTo>
                        <a:pt x="414" y="1364"/>
                      </a:lnTo>
                      <a:lnTo>
                        <a:pt x="422" y="1389"/>
                      </a:lnTo>
                      <a:lnTo>
                        <a:pt x="434" y="1411"/>
                      </a:lnTo>
                      <a:lnTo>
                        <a:pt x="449" y="1431"/>
                      </a:lnTo>
                      <a:lnTo>
                        <a:pt x="468" y="1448"/>
                      </a:lnTo>
                      <a:lnTo>
                        <a:pt x="490" y="1460"/>
                      </a:lnTo>
                      <a:lnTo>
                        <a:pt x="515" y="1468"/>
                      </a:lnTo>
                      <a:lnTo>
                        <a:pt x="540" y="1470"/>
                      </a:lnTo>
                      <a:lnTo>
                        <a:pt x="570" y="1468"/>
                      </a:lnTo>
                      <a:lnTo>
                        <a:pt x="598" y="1457"/>
                      </a:lnTo>
                      <a:lnTo>
                        <a:pt x="622" y="1441"/>
                      </a:lnTo>
                      <a:lnTo>
                        <a:pt x="641" y="1420"/>
                      </a:lnTo>
                      <a:lnTo>
                        <a:pt x="657" y="1395"/>
                      </a:lnTo>
                      <a:lnTo>
                        <a:pt x="666" y="1368"/>
                      </a:lnTo>
                      <a:lnTo>
                        <a:pt x="670" y="1336"/>
                      </a:lnTo>
                      <a:lnTo>
                        <a:pt x="670" y="414"/>
                      </a:lnTo>
                      <a:lnTo>
                        <a:pt x="667" y="387"/>
                      </a:lnTo>
                      <a:lnTo>
                        <a:pt x="660" y="362"/>
                      </a:lnTo>
                      <a:lnTo>
                        <a:pt x="648" y="339"/>
                      </a:lnTo>
                      <a:lnTo>
                        <a:pt x="632" y="320"/>
                      </a:lnTo>
                      <a:lnTo>
                        <a:pt x="614" y="303"/>
                      </a:lnTo>
                      <a:lnTo>
                        <a:pt x="591" y="291"/>
                      </a:lnTo>
                      <a:lnTo>
                        <a:pt x="566" y="283"/>
                      </a:lnTo>
                      <a:lnTo>
                        <a:pt x="540" y="280"/>
                      </a:lnTo>
                      <a:close/>
                      <a:moveTo>
                        <a:pt x="0" y="0"/>
                      </a:moveTo>
                      <a:lnTo>
                        <a:pt x="3750" y="0"/>
                      </a:lnTo>
                      <a:lnTo>
                        <a:pt x="3657" y="1521"/>
                      </a:lnTo>
                      <a:lnTo>
                        <a:pt x="3650" y="1566"/>
                      </a:lnTo>
                      <a:lnTo>
                        <a:pt x="3638" y="1607"/>
                      </a:lnTo>
                      <a:lnTo>
                        <a:pt x="3619" y="1646"/>
                      </a:lnTo>
                      <a:lnTo>
                        <a:pt x="3595" y="1682"/>
                      </a:lnTo>
                      <a:lnTo>
                        <a:pt x="3566" y="1712"/>
                      </a:lnTo>
                      <a:lnTo>
                        <a:pt x="3533" y="1739"/>
                      </a:lnTo>
                      <a:lnTo>
                        <a:pt x="3496" y="1762"/>
                      </a:lnTo>
                      <a:lnTo>
                        <a:pt x="3456" y="1778"/>
                      </a:lnTo>
                      <a:lnTo>
                        <a:pt x="3414" y="1788"/>
                      </a:lnTo>
                      <a:lnTo>
                        <a:pt x="3370" y="1792"/>
                      </a:lnTo>
                      <a:lnTo>
                        <a:pt x="380" y="1792"/>
                      </a:lnTo>
                      <a:lnTo>
                        <a:pt x="336" y="1788"/>
                      </a:lnTo>
                      <a:lnTo>
                        <a:pt x="294" y="1778"/>
                      </a:lnTo>
                      <a:lnTo>
                        <a:pt x="254" y="1762"/>
                      </a:lnTo>
                      <a:lnTo>
                        <a:pt x="217" y="1739"/>
                      </a:lnTo>
                      <a:lnTo>
                        <a:pt x="184" y="1712"/>
                      </a:lnTo>
                      <a:lnTo>
                        <a:pt x="155" y="1682"/>
                      </a:lnTo>
                      <a:lnTo>
                        <a:pt x="130" y="1646"/>
                      </a:lnTo>
                      <a:lnTo>
                        <a:pt x="112" y="1607"/>
                      </a:lnTo>
                      <a:lnTo>
                        <a:pt x="99" y="1566"/>
                      </a:lnTo>
                      <a:lnTo>
                        <a:pt x="93" y="152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</p:grpSp>
        </p:grpSp>
        <p:sp>
          <p:nvSpPr>
            <p:cNvPr id="426" name="ZoneTexte 425"/>
            <p:cNvSpPr txBox="1"/>
            <p:nvPr/>
          </p:nvSpPr>
          <p:spPr>
            <a:xfrm>
              <a:off x="7253337" y="5953122"/>
              <a:ext cx="274480" cy="5486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BE" dirty="0"/>
            </a:p>
          </p:txBody>
        </p:sp>
      </p:grpSp>
      <p:grpSp>
        <p:nvGrpSpPr>
          <p:cNvPr id="433" name="Groupe 2996"/>
          <p:cNvGrpSpPr/>
          <p:nvPr/>
        </p:nvGrpSpPr>
        <p:grpSpPr>
          <a:xfrm>
            <a:off x="6991528" y="1289082"/>
            <a:ext cx="396785" cy="777497"/>
            <a:chOff x="7831242" y="5269433"/>
            <a:chExt cx="589739" cy="1155433"/>
          </a:xfrm>
        </p:grpSpPr>
        <p:grpSp>
          <p:nvGrpSpPr>
            <p:cNvPr id="434" name="Groupe 57"/>
            <p:cNvGrpSpPr/>
            <p:nvPr/>
          </p:nvGrpSpPr>
          <p:grpSpPr>
            <a:xfrm>
              <a:off x="7831242" y="5269433"/>
              <a:ext cx="589739" cy="589739"/>
              <a:chOff x="7543886" y="5269433"/>
              <a:chExt cx="589739" cy="589739"/>
            </a:xfrm>
          </p:grpSpPr>
          <p:sp>
            <p:nvSpPr>
              <p:cNvPr id="436" name="Ellipse 435"/>
              <p:cNvSpPr/>
              <p:nvPr/>
            </p:nvSpPr>
            <p:spPr>
              <a:xfrm>
                <a:off x="7543886" y="5269433"/>
                <a:ext cx="589739" cy="589739"/>
              </a:xfrm>
              <a:prstGeom prst="ellipse">
                <a:avLst/>
              </a:prstGeom>
              <a:solidFill>
                <a:srgbClr val="1289B4"/>
              </a:solidFill>
              <a:ln w="38100">
                <a:solidFill>
                  <a:srgbClr val="29DBFF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fr-BE" dirty="0"/>
              </a:p>
            </p:txBody>
          </p:sp>
          <p:sp>
            <p:nvSpPr>
              <p:cNvPr id="437" name="Freeform 30"/>
              <p:cNvSpPr>
                <a:spLocks noEditPoints="1"/>
              </p:cNvSpPr>
              <p:nvPr/>
            </p:nvSpPr>
            <p:spPr bwMode="auto">
              <a:xfrm>
                <a:off x="7703646" y="5418235"/>
                <a:ext cx="252989" cy="320298"/>
              </a:xfrm>
              <a:custGeom>
                <a:avLst/>
                <a:gdLst>
                  <a:gd name="T0" fmla="*/ 1536 w 3053"/>
                  <a:gd name="T1" fmla="*/ 3235 h 3863"/>
                  <a:gd name="T2" fmla="*/ 2766 w 3053"/>
                  <a:gd name="T3" fmla="*/ 3266 h 3863"/>
                  <a:gd name="T4" fmla="*/ 2749 w 3053"/>
                  <a:gd name="T5" fmla="*/ 3154 h 3863"/>
                  <a:gd name="T6" fmla="*/ 1536 w 3053"/>
                  <a:gd name="T7" fmla="*/ 2791 h 3863"/>
                  <a:gd name="T8" fmla="*/ 2729 w 3053"/>
                  <a:gd name="T9" fmla="*/ 2875 h 3863"/>
                  <a:gd name="T10" fmla="*/ 2780 w 3053"/>
                  <a:gd name="T11" fmla="*/ 2773 h 3863"/>
                  <a:gd name="T12" fmla="*/ 692 w 3053"/>
                  <a:gd name="T13" fmla="*/ 2653 h 3863"/>
                  <a:gd name="T14" fmla="*/ 497 w 3053"/>
                  <a:gd name="T15" fmla="*/ 2848 h 3863"/>
                  <a:gd name="T16" fmla="*/ 556 w 3053"/>
                  <a:gd name="T17" fmla="*/ 3123 h 3863"/>
                  <a:gd name="T18" fmla="*/ 819 w 3053"/>
                  <a:gd name="T19" fmla="*/ 3219 h 3863"/>
                  <a:gd name="T20" fmla="*/ 1040 w 3053"/>
                  <a:gd name="T21" fmla="*/ 3055 h 3863"/>
                  <a:gd name="T22" fmla="*/ 1020 w 3053"/>
                  <a:gd name="T23" fmla="*/ 2773 h 3863"/>
                  <a:gd name="T24" fmla="*/ 776 w 3053"/>
                  <a:gd name="T25" fmla="*/ 2640 h 3863"/>
                  <a:gd name="T26" fmla="*/ 1048 w 3053"/>
                  <a:gd name="T27" fmla="*/ 2659 h 3863"/>
                  <a:gd name="T28" fmla="*/ 1157 w 3053"/>
                  <a:gd name="T29" fmla="*/ 2984 h 3863"/>
                  <a:gd name="T30" fmla="*/ 971 w 3053"/>
                  <a:gd name="T31" fmla="*/ 3265 h 3863"/>
                  <a:gd name="T32" fmla="*/ 625 w 3053"/>
                  <a:gd name="T33" fmla="*/ 3287 h 3863"/>
                  <a:gd name="T34" fmla="*/ 404 w 3053"/>
                  <a:gd name="T35" fmla="*/ 3034 h 3863"/>
                  <a:gd name="T36" fmla="*/ 470 w 3053"/>
                  <a:gd name="T37" fmla="*/ 2697 h 3863"/>
                  <a:gd name="T38" fmla="*/ 776 w 3053"/>
                  <a:gd name="T39" fmla="*/ 2546 h 3863"/>
                  <a:gd name="T40" fmla="*/ 455 w 3053"/>
                  <a:gd name="T41" fmla="*/ 2531 h 3863"/>
                  <a:gd name="T42" fmla="*/ 266 w 3053"/>
                  <a:gd name="T43" fmla="*/ 2872 h 3863"/>
                  <a:gd name="T44" fmla="*/ 381 w 3053"/>
                  <a:gd name="T45" fmla="*/ 3259 h 3863"/>
                  <a:gd name="T46" fmla="*/ 356 w 3053"/>
                  <a:gd name="T47" fmla="*/ 3465 h 3863"/>
                  <a:gd name="T48" fmla="*/ 631 w 3053"/>
                  <a:gd name="T49" fmla="*/ 3591 h 3863"/>
                  <a:gd name="T50" fmla="*/ 911 w 3053"/>
                  <a:gd name="T51" fmla="*/ 3578 h 3863"/>
                  <a:gd name="T52" fmla="*/ 1183 w 3053"/>
                  <a:gd name="T53" fmla="*/ 3475 h 3863"/>
                  <a:gd name="T54" fmla="*/ 1130 w 3053"/>
                  <a:gd name="T55" fmla="*/ 3302 h 3863"/>
                  <a:gd name="T56" fmla="*/ 1289 w 3053"/>
                  <a:gd name="T57" fmla="*/ 2932 h 3863"/>
                  <a:gd name="T58" fmla="*/ 1139 w 3053"/>
                  <a:gd name="T59" fmla="*/ 2569 h 3863"/>
                  <a:gd name="T60" fmla="*/ 776 w 3053"/>
                  <a:gd name="T61" fmla="*/ 2418 h 3863"/>
                  <a:gd name="T62" fmla="*/ 3002 w 3053"/>
                  <a:gd name="T63" fmla="*/ 3755 h 3863"/>
                  <a:gd name="T64" fmla="*/ 263 w 3053"/>
                  <a:gd name="T65" fmla="*/ 3863 h 3863"/>
                  <a:gd name="T66" fmla="*/ 29 w 3053"/>
                  <a:gd name="T67" fmla="*/ 3721 h 3863"/>
                  <a:gd name="T68" fmla="*/ 3053 w 3053"/>
                  <a:gd name="T69" fmla="*/ 2035 h 3863"/>
                  <a:gd name="T70" fmla="*/ 263 w 3053"/>
                  <a:gd name="T71" fmla="*/ 1036 h 3863"/>
                  <a:gd name="T72" fmla="*/ 1456 w 3053"/>
                  <a:gd name="T73" fmla="*/ 1119 h 3863"/>
                  <a:gd name="T74" fmla="*/ 1508 w 3053"/>
                  <a:gd name="T75" fmla="*/ 1018 h 3863"/>
                  <a:gd name="T76" fmla="*/ 287 w 3053"/>
                  <a:gd name="T77" fmla="*/ 600 h 3863"/>
                  <a:gd name="T78" fmla="*/ 304 w 3053"/>
                  <a:gd name="T79" fmla="*/ 713 h 3863"/>
                  <a:gd name="T80" fmla="*/ 1521 w 3053"/>
                  <a:gd name="T81" fmla="*/ 652 h 3863"/>
                  <a:gd name="T82" fmla="*/ 2303 w 3053"/>
                  <a:gd name="T83" fmla="*/ 439 h 3863"/>
                  <a:gd name="T84" fmla="*/ 2501 w 3053"/>
                  <a:gd name="T85" fmla="*/ 577 h 3863"/>
                  <a:gd name="T86" fmla="*/ 2454 w 3053"/>
                  <a:gd name="T87" fmla="*/ 797 h 3863"/>
                  <a:gd name="T88" fmla="*/ 2608 w 3053"/>
                  <a:gd name="T89" fmla="*/ 994 h 3863"/>
                  <a:gd name="T90" fmla="*/ 2668 w 3053"/>
                  <a:gd name="T91" fmla="*/ 1292 h 3863"/>
                  <a:gd name="T92" fmla="*/ 1939 w 3053"/>
                  <a:gd name="T93" fmla="*/ 1292 h 3863"/>
                  <a:gd name="T94" fmla="*/ 1999 w 3053"/>
                  <a:gd name="T95" fmla="*/ 994 h 3863"/>
                  <a:gd name="T96" fmla="*/ 2152 w 3053"/>
                  <a:gd name="T97" fmla="*/ 797 h 3863"/>
                  <a:gd name="T98" fmla="*/ 2105 w 3053"/>
                  <a:gd name="T99" fmla="*/ 577 h 3863"/>
                  <a:gd name="T100" fmla="*/ 2303 w 3053"/>
                  <a:gd name="T101" fmla="*/ 439 h 3863"/>
                  <a:gd name="T102" fmla="*/ 1785 w 3053"/>
                  <a:gd name="T103" fmla="*/ 329 h 3863"/>
                  <a:gd name="T104" fmla="*/ 1857 w 3053"/>
                  <a:gd name="T105" fmla="*/ 1469 h 3863"/>
                  <a:gd name="T106" fmla="*/ 2794 w 3053"/>
                  <a:gd name="T107" fmla="*/ 1432 h 3863"/>
                  <a:gd name="T108" fmla="*/ 2794 w 3053"/>
                  <a:gd name="T109" fmla="*/ 276 h 3863"/>
                  <a:gd name="T110" fmla="*/ 2790 w 3053"/>
                  <a:gd name="T111" fmla="*/ 0 h 3863"/>
                  <a:gd name="T112" fmla="*/ 3024 w 3053"/>
                  <a:gd name="T113" fmla="*/ 142 h 3863"/>
                  <a:gd name="T114" fmla="*/ 4 w 3053"/>
                  <a:gd name="T115" fmla="*/ 220 h 3863"/>
                  <a:gd name="T116" fmla="*/ 180 w 3053"/>
                  <a:gd name="T117" fmla="*/ 13 h 3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53" h="3863">
                    <a:moveTo>
                      <a:pt x="1597" y="3151"/>
                    </a:moveTo>
                    <a:lnTo>
                      <a:pt x="1577" y="3154"/>
                    </a:lnTo>
                    <a:lnTo>
                      <a:pt x="1559" y="3163"/>
                    </a:lnTo>
                    <a:lnTo>
                      <a:pt x="1545" y="3177"/>
                    </a:lnTo>
                    <a:lnTo>
                      <a:pt x="1536" y="3195"/>
                    </a:lnTo>
                    <a:lnTo>
                      <a:pt x="1534" y="3215"/>
                    </a:lnTo>
                    <a:lnTo>
                      <a:pt x="1536" y="3235"/>
                    </a:lnTo>
                    <a:lnTo>
                      <a:pt x="1545" y="3252"/>
                    </a:lnTo>
                    <a:lnTo>
                      <a:pt x="1559" y="3266"/>
                    </a:lnTo>
                    <a:lnTo>
                      <a:pt x="1577" y="3275"/>
                    </a:lnTo>
                    <a:lnTo>
                      <a:pt x="1597" y="3278"/>
                    </a:lnTo>
                    <a:lnTo>
                      <a:pt x="2729" y="3278"/>
                    </a:lnTo>
                    <a:lnTo>
                      <a:pt x="2749" y="3275"/>
                    </a:lnTo>
                    <a:lnTo>
                      <a:pt x="2766" y="3266"/>
                    </a:lnTo>
                    <a:lnTo>
                      <a:pt x="2780" y="3252"/>
                    </a:lnTo>
                    <a:lnTo>
                      <a:pt x="2790" y="3235"/>
                    </a:lnTo>
                    <a:lnTo>
                      <a:pt x="2792" y="3215"/>
                    </a:lnTo>
                    <a:lnTo>
                      <a:pt x="2790" y="3195"/>
                    </a:lnTo>
                    <a:lnTo>
                      <a:pt x="2780" y="3177"/>
                    </a:lnTo>
                    <a:lnTo>
                      <a:pt x="2766" y="3163"/>
                    </a:lnTo>
                    <a:lnTo>
                      <a:pt x="2749" y="3154"/>
                    </a:lnTo>
                    <a:lnTo>
                      <a:pt x="2729" y="3151"/>
                    </a:lnTo>
                    <a:lnTo>
                      <a:pt x="1597" y="3151"/>
                    </a:lnTo>
                    <a:close/>
                    <a:moveTo>
                      <a:pt x="1597" y="2747"/>
                    </a:moveTo>
                    <a:lnTo>
                      <a:pt x="1577" y="2751"/>
                    </a:lnTo>
                    <a:lnTo>
                      <a:pt x="1559" y="2760"/>
                    </a:lnTo>
                    <a:lnTo>
                      <a:pt x="1545" y="2773"/>
                    </a:lnTo>
                    <a:lnTo>
                      <a:pt x="1536" y="2791"/>
                    </a:lnTo>
                    <a:lnTo>
                      <a:pt x="1534" y="2812"/>
                    </a:lnTo>
                    <a:lnTo>
                      <a:pt x="1536" y="2832"/>
                    </a:lnTo>
                    <a:lnTo>
                      <a:pt x="1545" y="2849"/>
                    </a:lnTo>
                    <a:lnTo>
                      <a:pt x="1559" y="2862"/>
                    </a:lnTo>
                    <a:lnTo>
                      <a:pt x="1577" y="2872"/>
                    </a:lnTo>
                    <a:lnTo>
                      <a:pt x="1597" y="2875"/>
                    </a:lnTo>
                    <a:lnTo>
                      <a:pt x="2729" y="2875"/>
                    </a:lnTo>
                    <a:lnTo>
                      <a:pt x="2749" y="2872"/>
                    </a:lnTo>
                    <a:lnTo>
                      <a:pt x="2766" y="2862"/>
                    </a:lnTo>
                    <a:lnTo>
                      <a:pt x="2780" y="2849"/>
                    </a:lnTo>
                    <a:lnTo>
                      <a:pt x="2790" y="2832"/>
                    </a:lnTo>
                    <a:lnTo>
                      <a:pt x="2792" y="2812"/>
                    </a:lnTo>
                    <a:lnTo>
                      <a:pt x="2790" y="2791"/>
                    </a:lnTo>
                    <a:lnTo>
                      <a:pt x="2780" y="2773"/>
                    </a:lnTo>
                    <a:lnTo>
                      <a:pt x="2766" y="2760"/>
                    </a:lnTo>
                    <a:lnTo>
                      <a:pt x="2749" y="2751"/>
                    </a:lnTo>
                    <a:lnTo>
                      <a:pt x="2729" y="2747"/>
                    </a:lnTo>
                    <a:lnTo>
                      <a:pt x="1597" y="2747"/>
                    </a:lnTo>
                    <a:close/>
                    <a:moveTo>
                      <a:pt x="776" y="2640"/>
                    </a:moveTo>
                    <a:lnTo>
                      <a:pt x="733" y="2644"/>
                    </a:lnTo>
                    <a:lnTo>
                      <a:pt x="692" y="2653"/>
                    </a:lnTo>
                    <a:lnTo>
                      <a:pt x="653" y="2667"/>
                    </a:lnTo>
                    <a:lnTo>
                      <a:pt x="617" y="2687"/>
                    </a:lnTo>
                    <a:lnTo>
                      <a:pt x="585" y="2712"/>
                    </a:lnTo>
                    <a:lnTo>
                      <a:pt x="556" y="2741"/>
                    </a:lnTo>
                    <a:lnTo>
                      <a:pt x="531" y="2773"/>
                    </a:lnTo>
                    <a:lnTo>
                      <a:pt x="511" y="2809"/>
                    </a:lnTo>
                    <a:lnTo>
                      <a:pt x="497" y="2848"/>
                    </a:lnTo>
                    <a:lnTo>
                      <a:pt x="488" y="2889"/>
                    </a:lnTo>
                    <a:lnTo>
                      <a:pt x="484" y="2932"/>
                    </a:lnTo>
                    <a:lnTo>
                      <a:pt x="488" y="2975"/>
                    </a:lnTo>
                    <a:lnTo>
                      <a:pt x="497" y="3016"/>
                    </a:lnTo>
                    <a:lnTo>
                      <a:pt x="511" y="3055"/>
                    </a:lnTo>
                    <a:lnTo>
                      <a:pt x="531" y="3090"/>
                    </a:lnTo>
                    <a:lnTo>
                      <a:pt x="556" y="3123"/>
                    </a:lnTo>
                    <a:lnTo>
                      <a:pt x="585" y="3151"/>
                    </a:lnTo>
                    <a:lnTo>
                      <a:pt x="617" y="3176"/>
                    </a:lnTo>
                    <a:lnTo>
                      <a:pt x="653" y="3196"/>
                    </a:lnTo>
                    <a:lnTo>
                      <a:pt x="692" y="3210"/>
                    </a:lnTo>
                    <a:lnTo>
                      <a:pt x="733" y="3219"/>
                    </a:lnTo>
                    <a:lnTo>
                      <a:pt x="776" y="3223"/>
                    </a:lnTo>
                    <a:lnTo>
                      <a:pt x="819" y="3219"/>
                    </a:lnTo>
                    <a:lnTo>
                      <a:pt x="860" y="3210"/>
                    </a:lnTo>
                    <a:lnTo>
                      <a:pt x="899" y="3196"/>
                    </a:lnTo>
                    <a:lnTo>
                      <a:pt x="934" y="3176"/>
                    </a:lnTo>
                    <a:lnTo>
                      <a:pt x="967" y="3151"/>
                    </a:lnTo>
                    <a:lnTo>
                      <a:pt x="995" y="3123"/>
                    </a:lnTo>
                    <a:lnTo>
                      <a:pt x="1020" y="3090"/>
                    </a:lnTo>
                    <a:lnTo>
                      <a:pt x="1040" y="3055"/>
                    </a:lnTo>
                    <a:lnTo>
                      <a:pt x="1054" y="3016"/>
                    </a:lnTo>
                    <a:lnTo>
                      <a:pt x="1063" y="2975"/>
                    </a:lnTo>
                    <a:lnTo>
                      <a:pt x="1067" y="2932"/>
                    </a:lnTo>
                    <a:lnTo>
                      <a:pt x="1063" y="2889"/>
                    </a:lnTo>
                    <a:lnTo>
                      <a:pt x="1054" y="2848"/>
                    </a:lnTo>
                    <a:lnTo>
                      <a:pt x="1040" y="2809"/>
                    </a:lnTo>
                    <a:lnTo>
                      <a:pt x="1020" y="2773"/>
                    </a:lnTo>
                    <a:lnTo>
                      <a:pt x="995" y="2741"/>
                    </a:lnTo>
                    <a:lnTo>
                      <a:pt x="967" y="2712"/>
                    </a:lnTo>
                    <a:lnTo>
                      <a:pt x="934" y="2687"/>
                    </a:lnTo>
                    <a:lnTo>
                      <a:pt x="899" y="2667"/>
                    </a:lnTo>
                    <a:lnTo>
                      <a:pt x="860" y="2653"/>
                    </a:lnTo>
                    <a:lnTo>
                      <a:pt x="819" y="2644"/>
                    </a:lnTo>
                    <a:lnTo>
                      <a:pt x="776" y="2640"/>
                    </a:lnTo>
                    <a:close/>
                    <a:moveTo>
                      <a:pt x="776" y="2546"/>
                    </a:moveTo>
                    <a:lnTo>
                      <a:pt x="828" y="2550"/>
                    </a:lnTo>
                    <a:lnTo>
                      <a:pt x="878" y="2560"/>
                    </a:lnTo>
                    <a:lnTo>
                      <a:pt x="926" y="2577"/>
                    </a:lnTo>
                    <a:lnTo>
                      <a:pt x="971" y="2599"/>
                    </a:lnTo>
                    <a:lnTo>
                      <a:pt x="1012" y="2626"/>
                    </a:lnTo>
                    <a:lnTo>
                      <a:pt x="1048" y="2659"/>
                    </a:lnTo>
                    <a:lnTo>
                      <a:pt x="1081" y="2697"/>
                    </a:lnTo>
                    <a:lnTo>
                      <a:pt x="1109" y="2737"/>
                    </a:lnTo>
                    <a:lnTo>
                      <a:pt x="1132" y="2781"/>
                    </a:lnTo>
                    <a:lnTo>
                      <a:pt x="1148" y="2829"/>
                    </a:lnTo>
                    <a:lnTo>
                      <a:pt x="1157" y="2880"/>
                    </a:lnTo>
                    <a:lnTo>
                      <a:pt x="1161" y="2932"/>
                    </a:lnTo>
                    <a:lnTo>
                      <a:pt x="1157" y="2984"/>
                    </a:lnTo>
                    <a:lnTo>
                      <a:pt x="1148" y="3034"/>
                    </a:lnTo>
                    <a:lnTo>
                      <a:pt x="1132" y="3082"/>
                    </a:lnTo>
                    <a:lnTo>
                      <a:pt x="1109" y="3127"/>
                    </a:lnTo>
                    <a:lnTo>
                      <a:pt x="1081" y="3168"/>
                    </a:lnTo>
                    <a:lnTo>
                      <a:pt x="1048" y="3204"/>
                    </a:lnTo>
                    <a:lnTo>
                      <a:pt x="1012" y="3237"/>
                    </a:lnTo>
                    <a:lnTo>
                      <a:pt x="971" y="3265"/>
                    </a:lnTo>
                    <a:lnTo>
                      <a:pt x="926" y="3287"/>
                    </a:lnTo>
                    <a:lnTo>
                      <a:pt x="878" y="3304"/>
                    </a:lnTo>
                    <a:lnTo>
                      <a:pt x="828" y="3313"/>
                    </a:lnTo>
                    <a:lnTo>
                      <a:pt x="776" y="3317"/>
                    </a:lnTo>
                    <a:lnTo>
                      <a:pt x="724" y="3313"/>
                    </a:lnTo>
                    <a:lnTo>
                      <a:pt x="673" y="3304"/>
                    </a:lnTo>
                    <a:lnTo>
                      <a:pt x="625" y="3287"/>
                    </a:lnTo>
                    <a:lnTo>
                      <a:pt x="581" y="3265"/>
                    </a:lnTo>
                    <a:lnTo>
                      <a:pt x="541" y="3237"/>
                    </a:lnTo>
                    <a:lnTo>
                      <a:pt x="503" y="3204"/>
                    </a:lnTo>
                    <a:lnTo>
                      <a:pt x="470" y="3168"/>
                    </a:lnTo>
                    <a:lnTo>
                      <a:pt x="443" y="3127"/>
                    </a:lnTo>
                    <a:lnTo>
                      <a:pt x="421" y="3082"/>
                    </a:lnTo>
                    <a:lnTo>
                      <a:pt x="404" y="3034"/>
                    </a:lnTo>
                    <a:lnTo>
                      <a:pt x="394" y="2984"/>
                    </a:lnTo>
                    <a:lnTo>
                      <a:pt x="390" y="2932"/>
                    </a:lnTo>
                    <a:lnTo>
                      <a:pt x="394" y="2880"/>
                    </a:lnTo>
                    <a:lnTo>
                      <a:pt x="404" y="2829"/>
                    </a:lnTo>
                    <a:lnTo>
                      <a:pt x="421" y="2781"/>
                    </a:lnTo>
                    <a:lnTo>
                      <a:pt x="443" y="2737"/>
                    </a:lnTo>
                    <a:lnTo>
                      <a:pt x="470" y="2697"/>
                    </a:lnTo>
                    <a:lnTo>
                      <a:pt x="503" y="2659"/>
                    </a:lnTo>
                    <a:lnTo>
                      <a:pt x="541" y="2626"/>
                    </a:lnTo>
                    <a:lnTo>
                      <a:pt x="581" y="2599"/>
                    </a:lnTo>
                    <a:lnTo>
                      <a:pt x="625" y="2577"/>
                    </a:lnTo>
                    <a:lnTo>
                      <a:pt x="673" y="2560"/>
                    </a:lnTo>
                    <a:lnTo>
                      <a:pt x="724" y="2550"/>
                    </a:lnTo>
                    <a:lnTo>
                      <a:pt x="776" y="2546"/>
                    </a:lnTo>
                    <a:close/>
                    <a:moveTo>
                      <a:pt x="776" y="2418"/>
                    </a:moveTo>
                    <a:lnTo>
                      <a:pt x="716" y="2422"/>
                    </a:lnTo>
                    <a:lnTo>
                      <a:pt x="658" y="2432"/>
                    </a:lnTo>
                    <a:lnTo>
                      <a:pt x="603" y="2449"/>
                    </a:lnTo>
                    <a:lnTo>
                      <a:pt x="550" y="2471"/>
                    </a:lnTo>
                    <a:lnTo>
                      <a:pt x="501" y="2498"/>
                    </a:lnTo>
                    <a:lnTo>
                      <a:pt x="455" y="2531"/>
                    </a:lnTo>
                    <a:lnTo>
                      <a:pt x="412" y="2569"/>
                    </a:lnTo>
                    <a:lnTo>
                      <a:pt x="375" y="2611"/>
                    </a:lnTo>
                    <a:lnTo>
                      <a:pt x="342" y="2657"/>
                    </a:lnTo>
                    <a:lnTo>
                      <a:pt x="315" y="2706"/>
                    </a:lnTo>
                    <a:lnTo>
                      <a:pt x="293" y="2759"/>
                    </a:lnTo>
                    <a:lnTo>
                      <a:pt x="276" y="2814"/>
                    </a:lnTo>
                    <a:lnTo>
                      <a:pt x="266" y="2872"/>
                    </a:lnTo>
                    <a:lnTo>
                      <a:pt x="262" y="2932"/>
                    </a:lnTo>
                    <a:lnTo>
                      <a:pt x="266" y="2993"/>
                    </a:lnTo>
                    <a:lnTo>
                      <a:pt x="276" y="3053"/>
                    </a:lnTo>
                    <a:lnTo>
                      <a:pt x="294" y="3109"/>
                    </a:lnTo>
                    <a:lnTo>
                      <a:pt x="317" y="3163"/>
                    </a:lnTo>
                    <a:lnTo>
                      <a:pt x="347" y="3213"/>
                    </a:lnTo>
                    <a:lnTo>
                      <a:pt x="381" y="3259"/>
                    </a:lnTo>
                    <a:lnTo>
                      <a:pt x="421" y="3302"/>
                    </a:lnTo>
                    <a:lnTo>
                      <a:pt x="350" y="3388"/>
                    </a:lnTo>
                    <a:lnTo>
                      <a:pt x="342" y="3404"/>
                    </a:lnTo>
                    <a:lnTo>
                      <a:pt x="338" y="3419"/>
                    </a:lnTo>
                    <a:lnTo>
                      <a:pt x="341" y="3435"/>
                    </a:lnTo>
                    <a:lnTo>
                      <a:pt x="345" y="3451"/>
                    </a:lnTo>
                    <a:lnTo>
                      <a:pt x="356" y="3465"/>
                    </a:lnTo>
                    <a:lnTo>
                      <a:pt x="369" y="3475"/>
                    </a:lnTo>
                    <a:lnTo>
                      <a:pt x="555" y="3596"/>
                    </a:lnTo>
                    <a:lnTo>
                      <a:pt x="570" y="3603"/>
                    </a:lnTo>
                    <a:lnTo>
                      <a:pt x="586" y="3606"/>
                    </a:lnTo>
                    <a:lnTo>
                      <a:pt x="603" y="3606"/>
                    </a:lnTo>
                    <a:lnTo>
                      <a:pt x="618" y="3600"/>
                    </a:lnTo>
                    <a:lnTo>
                      <a:pt x="631" y="3591"/>
                    </a:lnTo>
                    <a:lnTo>
                      <a:pt x="642" y="3578"/>
                    </a:lnTo>
                    <a:lnTo>
                      <a:pt x="710" y="3441"/>
                    </a:lnTo>
                    <a:lnTo>
                      <a:pt x="743" y="3444"/>
                    </a:lnTo>
                    <a:lnTo>
                      <a:pt x="776" y="3445"/>
                    </a:lnTo>
                    <a:lnTo>
                      <a:pt x="808" y="3444"/>
                    </a:lnTo>
                    <a:lnTo>
                      <a:pt x="841" y="3441"/>
                    </a:lnTo>
                    <a:lnTo>
                      <a:pt x="911" y="3578"/>
                    </a:lnTo>
                    <a:lnTo>
                      <a:pt x="920" y="3591"/>
                    </a:lnTo>
                    <a:lnTo>
                      <a:pt x="933" y="3600"/>
                    </a:lnTo>
                    <a:lnTo>
                      <a:pt x="948" y="3606"/>
                    </a:lnTo>
                    <a:lnTo>
                      <a:pt x="966" y="3606"/>
                    </a:lnTo>
                    <a:lnTo>
                      <a:pt x="982" y="3603"/>
                    </a:lnTo>
                    <a:lnTo>
                      <a:pt x="998" y="3596"/>
                    </a:lnTo>
                    <a:lnTo>
                      <a:pt x="1183" y="3475"/>
                    </a:lnTo>
                    <a:lnTo>
                      <a:pt x="1196" y="3465"/>
                    </a:lnTo>
                    <a:lnTo>
                      <a:pt x="1206" y="3451"/>
                    </a:lnTo>
                    <a:lnTo>
                      <a:pt x="1212" y="3435"/>
                    </a:lnTo>
                    <a:lnTo>
                      <a:pt x="1213" y="3419"/>
                    </a:lnTo>
                    <a:lnTo>
                      <a:pt x="1209" y="3404"/>
                    </a:lnTo>
                    <a:lnTo>
                      <a:pt x="1201" y="3388"/>
                    </a:lnTo>
                    <a:lnTo>
                      <a:pt x="1130" y="3302"/>
                    </a:lnTo>
                    <a:lnTo>
                      <a:pt x="1170" y="3259"/>
                    </a:lnTo>
                    <a:lnTo>
                      <a:pt x="1204" y="3213"/>
                    </a:lnTo>
                    <a:lnTo>
                      <a:pt x="1234" y="3163"/>
                    </a:lnTo>
                    <a:lnTo>
                      <a:pt x="1257" y="3109"/>
                    </a:lnTo>
                    <a:lnTo>
                      <a:pt x="1275" y="3053"/>
                    </a:lnTo>
                    <a:lnTo>
                      <a:pt x="1286" y="2993"/>
                    </a:lnTo>
                    <a:lnTo>
                      <a:pt x="1289" y="2932"/>
                    </a:lnTo>
                    <a:lnTo>
                      <a:pt x="1286" y="2872"/>
                    </a:lnTo>
                    <a:lnTo>
                      <a:pt x="1276" y="2814"/>
                    </a:lnTo>
                    <a:lnTo>
                      <a:pt x="1260" y="2759"/>
                    </a:lnTo>
                    <a:lnTo>
                      <a:pt x="1237" y="2706"/>
                    </a:lnTo>
                    <a:lnTo>
                      <a:pt x="1209" y="2657"/>
                    </a:lnTo>
                    <a:lnTo>
                      <a:pt x="1176" y="2611"/>
                    </a:lnTo>
                    <a:lnTo>
                      <a:pt x="1139" y="2569"/>
                    </a:lnTo>
                    <a:lnTo>
                      <a:pt x="1096" y="2531"/>
                    </a:lnTo>
                    <a:lnTo>
                      <a:pt x="1051" y="2498"/>
                    </a:lnTo>
                    <a:lnTo>
                      <a:pt x="1001" y="2471"/>
                    </a:lnTo>
                    <a:lnTo>
                      <a:pt x="948" y="2449"/>
                    </a:lnTo>
                    <a:lnTo>
                      <a:pt x="893" y="2432"/>
                    </a:lnTo>
                    <a:lnTo>
                      <a:pt x="836" y="2422"/>
                    </a:lnTo>
                    <a:lnTo>
                      <a:pt x="776" y="2418"/>
                    </a:lnTo>
                    <a:close/>
                    <a:moveTo>
                      <a:pt x="0" y="2162"/>
                    </a:moveTo>
                    <a:lnTo>
                      <a:pt x="3053" y="2162"/>
                    </a:lnTo>
                    <a:lnTo>
                      <a:pt x="3053" y="3600"/>
                    </a:lnTo>
                    <a:lnTo>
                      <a:pt x="3049" y="3642"/>
                    </a:lnTo>
                    <a:lnTo>
                      <a:pt x="3040" y="3683"/>
                    </a:lnTo>
                    <a:lnTo>
                      <a:pt x="3024" y="3721"/>
                    </a:lnTo>
                    <a:lnTo>
                      <a:pt x="3002" y="3755"/>
                    </a:lnTo>
                    <a:lnTo>
                      <a:pt x="2977" y="3785"/>
                    </a:lnTo>
                    <a:lnTo>
                      <a:pt x="2945" y="3812"/>
                    </a:lnTo>
                    <a:lnTo>
                      <a:pt x="2911" y="3834"/>
                    </a:lnTo>
                    <a:lnTo>
                      <a:pt x="2873" y="3850"/>
                    </a:lnTo>
                    <a:lnTo>
                      <a:pt x="2833" y="3859"/>
                    </a:lnTo>
                    <a:lnTo>
                      <a:pt x="2790" y="3863"/>
                    </a:lnTo>
                    <a:lnTo>
                      <a:pt x="263" y="3863"/>
                    </a:lnTo>
                    <a:lnTo>
                      <a:pt x="220" y="3859"/>
                    </a:lnTo>
                    <a:lnTo>
                      <a:pt x="180" y="3850"/>
                    </a:lnTo>
                    <a:lnTo>
                      <a:pt x="142" y="3834"/>
                    </a:lnTo>
                    <a:lnTo>
                      <a:pt x="108" y="3812"/>
                    </a:lnTo>
                    <a:lnTo>
                      <a:pt x="78" y="3785"/>
                    </a:lnTo>
                    <a:lnTo>
                      <a:pt x="51" y="3755"/>
                    </a:lnTo>
                    <a:lnTo>
                      <a:pt x="29" y="3721"/>
                    </a:lnTo>
                    <a:lnTo>
                      <a:pt x="13" y="3683"/>
                    </a:lnTo>
                    <a:lnTo>
                      <a:pt x="4" y="3642"/>
                    </a:lnTo>
                    <a:lnTo>
                      <a:pt x="0" y="3600"/>
                    </a:lnTo>
                    <a:lnTo>
                      <a:pt x="0" y="2162"/>
                    </a:lnTo>
                    <a:close/>
                    <a:moveTo>
                      <a:pt x="0" y="1828"/>
                    </a:moveTo>
                    <a:lnTo>
                      <a:pt x="3053" y="1828"/>
                    </a:lnTo>
                    <a:lnTo>
                      <a:pt x="3053" y="2035"/>
                    </a:lnTo>
                    <a:lnTo>
                      <a:pt x="0" y="2035"/>
                    </a:lnTo>
                    <a:lnTo>
                      <a:pt x="0" y="1828"/>
                    </a:lnTo>
                    <a:close/>
                    <a:moveTo>
                      <a:pt x="324" y="991"/>
                    </a:moveTo>
                    <a:lnTo>
                      <a:pt x="304" y="995"/>
                    </a:lnTo>
                    <a:lnTo>
                      <a:pt x="287" y="1004"/>
                    </a:lnTo>
                    <a:lnTo>
                      <a:pt x="273" y="1018"/>
                    </a:lnTo>
                    <a:lnTo>
                      <a:pt x="263" y="1036"/>
                    </a:lnTo>
                    <a:lnTo>
                      <a:pt x="261" y="1056"/>
                    </a:lnTo>
                    <a:lnTo>
                      <a:pt x="263" y="1076"/>
                    </a:lnTo>
                    <a:lnTo>
                      <a:pt x="273" y="1093"/>
                    </a:lnTo>
                    <a:lnTo>
                      <a:pt x="287" y="1108"/>
                    </a:lnTo>
                    <a:lnTo>
                      <a:pt x="304" y="1116"/>
                    </a:lnTo>
                    <a:lnTo>
                      <a:pt x="324" y="1119"/>
                    </a:lnTo>
                    <a:lnTo>
                      <a:pt x="1456" y="1119"/>
                    </a:lnTo>
                    <a:lnTo>
                      <a:pt x="1476" y="1116"/>
                    </a:lnTo>
                    <a:lnTo>
                      <a:pt x="1494" y="1108"/>
                    </a:lnTo>
                    <a:lnTo>
                      <a:pt x="1508" y="1093"/>
                    </a:lnTo>
                    <a:lnTo>
                      <a:pt x="1517" y="1076"/>
                    </a:lnTo>
                    <a:lnTo>
                      <a:pt x="1521" y="1056"/>
                    </a:lnTo>
                    <a:lnTo>
                      <a:pt x="1517" y="1036"/>
                    </a:lnTo>
                    <a:lnTo>
                      <a:pt x="1508" y="1018"/>
                    </a:lnTo>
                    <a:lnTo>
                      <a:pt x="1494" y="1004"/>
                    </a:lnTo>
                    <a:lnTo>
                      <a:pt x="1476" y="995"/>
                    </a:lnTo>
                    <a:lnTo>
                      <a:pt x="1456" y="991"/>
                    </a:lnTo>
                    <a:lnTo>
                      <a:pt x="324" y="991"/>
                    </a:lnTo>
                    <a:close/>
                    <a:moveTo>
                      <a:pt x="324" y="588"/>
                    </a:moveTo>
                    <a:lnTo>
                      <a:pt x="304" y="592"/>
                    </a:lnTo>
                    <a:lnTo>
                      <a:pt x="287" y="600"/>
                    </a:lnTo>
                    <a:lnTo>
                      <a:pt x="273" y="614"/>
                    </a:lnTo>
                    <a:lnTo>
                      <a:pt x="263" y="632"/>
                    </a:lnTo>
                    <a:lnTo>
                      <a:pt x="261" y="652"/>
                    </a:lnTo>
                    <a:lnTo>
                      <a:pt x="263" y="673"/>
                    </a:lnTo>
                    <a:lnTo>
                      <a:pt x="273" y="689"/>
                    </a:lnTo>
                    <a:lnTo>
                      <a:pt x="287" y="703"/>
                    </a:lnTo>
                    <a:lnTo>
                      <a:pt x="304" y="713"/>
                    </a:lnTo>
                    <a:lnTo>
                      <a:pt x="324" y="716"/>
                    </a:lnTo>
                    <a:lnTo>
                      <a:pt x="1456" y="716"/>
                    </a:lnTo>
                    <a:lnTo>
                      <a:pt x="1476" y="713"/>
                    </a:lnTo>
                    <a:lnTo>
                      <a:pt x="1494" y="703"/>
                    </a:lnTo>
                    <a:lnTo>
                      <a:pt x="1508" y="689"/>
                    </a:lnTo>
                    <a:lnTo>
                      <a:pt x="1517" y="673"/>
                    </a:lnTo>
                    <a:lnTo>
                      <a:pt x="1521" y="652"/>
                    </a:lnTo>
                    <a:lnTo>
                      <a:pt x="1517" y="632"/>
                    </a:lnTo>
                    <a:lnTo>
                      <a:pt x="1508" y="614"/>
                    </a:lnTo>
                    <a:lnTo>
                      <a:pt x="1494" y="600"/>
                    </a:lnTo>
                    <a:lnTo>
                      <a:pt x="1476" y="592"/>
                    </a:lnTo>
                    <a:lnTo>
                      <a:pt x="1456" y="588"/>
                    </a:lnTo>
                    <a:lnTo>
                      <a:pt x="324" y="588"/>
                    </a:lnTo>
                    <a:close/>
                    <a:moveTo>
                      <a:pt x="2303" y="439"/>
                    </a:moveTo>
                    <a:lnTo>
                      <a:pt x="2341" y="443"/>
                    </a:lnTo>
                    <a:lnTo>
                      <a:pt x="2376" y="452"/>
                    </a:lnTo>
                    <a:lnTo>
                      <a:pt x="2409" y="467"/>
                    </a:lnTo>
                    <a:lnTo>
                      <a:pt x="2438" y="489"/>
                    </a:lnTo>
                    <a:lnTo>
                      <a:pt x="2464" y="514"/>
                    </a:lnTo>
                    <a:lnTo>
                      <a:pt x="2485" y="544"/>
                    </a:lnTo>
                    <a:lnTo>
                      <a:pt x="2501" y="577"/>
                    </a:lnTo>
                    <a:lnTo>
                      <a:pt x="2511" y="612"/>
                    </a:lnTo>
                    <a:lnTo>
                      <a:pt x="2514" y="651"/>
                    </a:lnTo>
                    <a:lnTo>
                      <a:pt x="2511" y="684"/>
                    </a:lnTo>
                    <a:lnTo>
                      <a:pt x="2504" y="715"/>
                    </a:lnTo>
                    <a:lnTo>
                      <a:pt x="2491" y="746"/>
                    </a:lnTo>
                    <a:lnTo>
                      <a:pt x="2475" y="773"/>
                    </a:lnTo>
                    <a:lnTo>
                      <a:pt x="2454" y="797"/>
                    </a:lnTo>
                    <a:lnTo>
                      <a:pt x="2430" y="819"/>
                    </a:lnTo>
                    <a:lnTo>
                      <a:pt x="2464" y="836"/>
                    </a:lnTo>
                    <a:lnTo>
                      <a:pt x="2497" y="859"/>
                    </a:lnTo>
                    <a:lnTo>
                      <a:pt x="2528" y="886"/>
                    </a:lnTo>
                    <a:lnTo>
                      <a:pt x="2557" y="917"/>
                    </a:lnTo>
                    <a:lnTo>
                      <a:pt x="2583" y="952"/>
                    </a:lnTo>
                    <a:lnTo>
                      <a:pt x="2608" y="994"/>
                    </a:lnTo>
                    <a:lnTo>
                      <a:pt x="2628" y="1038"/>
                    </a:lnTo>
                    <a:lnTo>
                      <a:pt x="2645" y="1086"/>
                    </a:lnTo>
                    <a:lnTo>
                      <a:pt x="2659" y="1140"/>
                    </a:lnTo>
                    <a:lnTo>
                      <a:pt x="2669" y="1199"/>
                    </a:lnTo>
                    <a:lnTo>
                      <a:pt x="2675" y="1261"/>
                    </a:lnTo>
                    <a:lnTo>
                      <a:pt x="2672" y="1279"/>
                    </a:lnTo>
                    <a:lnTo>
                      <a:pt x="2668" y="1292"/>
                    </a:lnTo>
                    <a:lnTo>
                      <a:pt x="2658" y="1300"/>
                    </a:lnTo>
                    <a:lnTo>
                      <a:pt x="2645" y="1305"/>
                    </a:lnTo>
                    <a:lnTo>
                      <a:pt x="2628" y="1307"/>
                    </a:lnTo>
                    <a:lnTo>
                      <a:pt x="1978" y="1307"/>
                    </a:lnTo>
                    <a:lnTo>
                      <a:pt x="1961" y="1305"/>
                    </a:lnTo>
                    <a:lnTo>
                      <a:pt x="1947" y="1300"/>
                    </a:lnTo>
                    <a:lnTo>
                      <a:pt x="1939" y="1292"/>
                    </a:lnTo>
                    <a:lnTo>
                      <a:pt x="1933" y="1279"/>
                    </a:lnTo>
                    <a:lnTo>
                      <a:pt x="1931" y="1261"/>
                    </a:lnTo>
                    <a:lnTo>
                      <a:pt x="1937" y="1199"/>
                    </a:lnTo>
                    <a:lnTo>
                      <a:pt x="1946" y="1140"/>
                    </a:lnTo>
                    <a:lnTo>
                      <a:pt x="1960" y="1088"/>
                    </a:lnTo>
                    <a:lnTo>
                      <a:pt x="1978" y="1038"/>
                    </a:lnTo>
                    <a:lnTo>
                      <a:pt x="1999" y="994"/>
                    </a:lnTo>
                    <a:lnTo>
                      <a:pt x="2022" y="952"/>
                    </a:lnTo>
                    <a:lnTo>
                      <a:pt x="2048" y="917"/>
                    </a:lnTo>
                    <a:lnTo>
                      <a:pt x="2078" y="886"/>
                    </a:lnTo>
                    <a:lnTo>
                      <a:pt x="2108" y="859"/>
                    </a:lnTo>
                    <a:lnTo>
                      <a:pt x="2141" y="836"/>
                    </a:lnTo>
                    <a:lnTo>
                      <a:pt x="2175" y="819"/>
                    </a:lnTo>
                    <a:lnTo>
                      <a:pt x="2152" y="797"/>
                    </a:lnTo>
                    <a:lnTo>
                      <a:pt x="2130" y="773"/>
                    </a:lnTo>
                    <a:lnTo>
                      <a:pt x="2114" y="746"/>
                    </a:lnTo>
                    <a:lnTo>
                      <a:pt x="2102" y="715"/>
                    </a:lnTo>
                    <a:lnTo>
                      <a:pt x="2094" y="684"/>
                    </a:lnTo>
                    <a:lnTo>
                      <a:pt x="2092" y="651"/>
                    </a:lnTo>
                    <a:lnTo>
                      <a:pt x="2095" y="612"/>
                    </a:lnTo>
                    <a:lnTo>
                      <a:pt x="2105" y="577"/>
                    </a:lnTo>
                    <a:lnTo>
                      <a:pt x="2120" y="544"/>
                    </a:lnTo>
                    <a:lnTo>
                      <a:pt x="2141" y="514"/>
                    </a:lnTo>
                    <a:lnTo>
                      <a:pt x="2167" y="489"/>
                    </a:lnTo>
                    <a:lnTo>
                      <a:pt x="2196" y="467"/>
                    </a:lnTo>
                    <a:lnTo>
                      <a:pt x="2229" y="452"/>
                    </a:lnTo>
                    <a:lnTo>
                      <a:pt x="2264" y="443"/>
                    </a:lnTo>
                    <a:lnTo>
                      <a:pt x="2303" y="439"/>
                    </a:lnTo>
                    <a:close/>
                    <a:moveTo>
                      <a:pt x="1917" y="225"/>
                    </a:moveTo>
                    <a:lnTo>
                      <a:pt x="1885" y="229"/>
                    </a:lnTo>
                    <a:lnTo>
                      <a:pt x="1857" y="238"/>
                    </a:lnTo>
                    <a:lnTo>
                      <a:pt x="1832" y="255"/>
                    </a:lnTo>
                    <a:lnTo>
                      <a:pt x="1811" y="276"/>
                    </a:lnTo>
                    <a:lnTo>
                      <a:pt x="1794" y="301"/>
                    </a:lnTo>
                    <a:lnTo>
                      <a:pt x="1785" y="329"/>
                    </a:lnTo>
                    <a:lnTo>
                      <a:pt x="1781" y="361"/>
                    </a:lnTo>
                    <a:lnTo>
                      <a:pt x="1781" y="1347"/>
                    </a:lnTo>
                    <a:lnTo>
                      <a:pt x="1785" y="1379"/>
                    </a:lnTo>
                    <a:lnTo>
                      <a:pt x="1794" y="1407"/>
                    </a:lnTo>
                    <a:lnTo>
                      <a:pt x="1811" y="1432"/>
                    </a:lnTo>
                    <a:lnTo>
                      <a:pt x="1832" y="1453"/>
                    </a:lnTo>
                    <a:lnTo>
                      <a:pt x="1857" y="1469"/>
                    </a:lnTo>
                    <a:lnTo>
                      <a:pt x="1885" y="1480"/>
                    </a:lnTo>
                    <a:lnTo>
                      <a:pt x="1917" y="1483"/>
                    </a:lnTo>
                    <a:lnTo>
                      <a:pt x="2690" y="1483"/>
                    </a:lnTo>
                    <a:lnTo>
                      <a:pt x="2720" y="1480"/>
                    </a:lnTo>
                    <a:lnTo>
                      <a:pt x="2749" y="1469"/>
                    </a:lnTo>
                    <a:lnTo>
                      <a:pt x="2774" y="1453"/>
                    </a:lnTo>
                    <a:lnTo>
                      <a:pt x="2794" y="1432"/>
                    </a:lnTo>
                    <a:lnTo>
                      <a:pt x="2811" y="1407"/>
                    </a:lnTo>
                    <a:lnTo>
                      <a:pt x="2821" y="1379"/>
                    </a:lnTo>
                    <a:lnTo>
                      <a:pt x="2825" y="1347"/>
                    </a:lnTo>
                    <a:lnTo>
                      <a:pt x="2825" y="361"/>
                    </a:lnTo>
                    <a:lnTo>
                      <a:pt x="2821" y="329"/>
                    </a:lnTo>
                    <a:lnTo>
                      <a:pt x="2811" y="301"/>
                    </a:lnTo>
                    <a:lnTo>
                      <a:pt x="2794" y="276"/>
                    </a:lnTo>
                    <a:lnTo>
                      <a:pt x="2774" y="255"/>
                    </a:lnTo>
                    <a:lnTo>
                      <a:pt x="2749" y="238"/>
                    </a:lnTo>
                    <a:lnTo>
                      <a:pt x="2720" y="229"/>
                    </a:lnTo>
                    <a:lnTo>
                      <a:pt x="2690" y="225"/>
                    </a:lnTo>
                    <a:lnTo>
                      <a:pt x="1917" y="225"/>
                    </a:lnTo>
                    <a:close/>
                    <a:moveTo>
                      <a:pt x="263" y="0"/>
                    </a:moveTo>
                    <a:lnTo>
                      <a:pt x="2790" y="0"/>
                    </a:lnTo>
                    <a:lnTo>
                      <a:pt x="2833" y="3"/>
                    </a:lnTo>
                    <a:lnTo>
                      <a:pt x="2873" y="13"/>
                    </a:lnTo>
                    <a:lnTo>
                      <a:pt x="2911" y="29"/>
                    </a:lnTo>
                    <a:lnTo>
                      <a:pt x="2945" y="50"/>
                    </a:lnTo>
                    <a:lnTo>
                      <a:pt x="2977" y="77"/>
                    </a:lnTo>
                    <a:lnTo>
                      <a:pt x="3002" y="108"/>
                    </a:lnTo>
                    <a:lnTo>
                      <a:pt x="3024" y="142"/>
                    </a:lnTo>
                    <a:lnTo>
                      <a:pt x="3040" y="180"/>
                    </a:lnTo>
                    <a:lnTo>
                      <a:pt x="3049" y="220"/>
                    </a:lnTo>
                    <a:lnTo>
                      <a:pt x="3053" y="263"/>
                    </a:lnTo>
                    <a:lnTo>
                      <a:pt x="3053" y="1699"/>
                    </a:lnTo>
                    <a:lnTo>
                      <a:pt x="0" y="1699"/>
                    </a:lnTo>
                    <a:lnTo>
                      <a:pt x="0" y="263"/>
                    </a:lnTo>
                    <a:lnTo>
                      <a:pt x="4" y="220"/>
                    </a:lnTo>
                    <a:lnTo>
                      <a:pt x="13" y="180"/>
                    </a:lnTo>
                    <a:lnTo>
                      <a:pt x="29" y="142"/>
                    </a:lnTo>
                    <a:lnTo>
                      <a:pt x="51" y="108"/>
                    </a:lnTo>
                    <a:lnTo>
                      <a:pt x="78" y="77"/>
                    </a:lnTo>
                    <a:lnTo>
                      <a:pt x="108" y="50"/>
                    </a:lnTo>
                    <a:lnTo>
                      <a:pt x="142" y="29"/>
                    </a:lnTo>
                    <a:lnTo>
                      <a:pt x="180" y="13"/>
                    </a:lnTo>
                    <a:lnTo>
                      <a:pt x="220" y="3"/>
                    </a:lnTo>
                    <a:lnTo>
                      <a:pt x="263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fr-BE" dirty="0"/>
              </a:p>
            </p:txBody>
          </p:sp>
        </p:grpSp>
        <p:sp>
          <p:nvSpPr>
            <p:cNvPr id="435" name="ZoneTexte 434"/>
            <p:cNvSpPr txBox="1"/>
            <p:nvPr/>
          </p:nvSpPr>
          <p:spPr>
            <a:xfrm>
              <a:off x="7988873" y="5876174"/>
              <a:ext cx="274480" cy="5486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BE" dirty="0"/>
            </a:p>
          </p:txBody>
        </p:sp>
      </p:grpSp>
      <p:grpSp>
        <p:nvGrpSpPr>
          <p:cNvPr id="438" name="Groupe 2997"/>
          <p:cNvGrpSpPr/>
          <p:nvPr/>
        </p:nvGrpSpPr>
        <p:grpSpPr>
          <a:xfrm>
            <a:off x="6772093" y="798621"/>
            <a:ext cx="396785" cy="777497"/>
            <a:chOff x="8629603" y="5269433"/>
            <a:chExt cx="589739" cy="1155433"/>
          </a:xfrm>
        </p:grpSpPr>
        <p:grpSp>
          <p:nvGrpSpPr>
            <p:cNvPr id="439" name="Groupe 60"/>
            <p:cNvGrpSpPr/>
            <p:nvPr/>
          </p:nvGrpSpPr>
          <p:grpSpPr>
            <a:xfrm>
              <a:off x="8629603" y="5269433"/>
              <a:ext cx="589739" cy="589739"/>
              <a:chOff x="8288686" y="5269433"/>
              <a:chExt cx="589739" cy="589739"/>
            </a:xfrm>
          </p:grpSpPr>
          <p:sp>
            <p:nvSpPr>
              <p:cNvPr id="441" name="Ellipse 440"/>
              <p:cNvSpPr/>
              <p:nvPr/>
            </p:nvSpPr>
            <p:spPr>
              <a:xfrm>
                <a:off x="8288686" y="5269433"/>
                <a:ext cx="589739" cy="589739"/>
              </a:xfrm>
              <a:prstGeom prst="ellipse">
                <a:avLst/>
              </a:prstGeom>
              <a:solidFill>
                <a:srgbClr val="1289B4"/>
              </a:solidFill>
              <a:ln w="38100">
                <a:solidFill>
                  <a:srgbClr val="29DBFF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fr-BE" dirty="0"/>
              </a:p>
            </p:txBody>
          </p:sp>
          <p:grpSp>
            <p:nvGrpSpPr>
              <p:cNvPr id="442" name="Group 4"/>
              <p:cNvGrpSpPr>
                <a:grpSpLocks noChangeAspect="1"/>
              </p:cNvGrpSpPr>
              <p:nvPr/>
            </p:nvGrpSpPr>
            <p:grpSpPr bwMode="auto">
              <a:xfrm>
                <a:off x="8363985" y="5431369"/>
                <a:ext cx="435710" cy="282240"/>
                <a:chOff x="5696" y="3700"/>
                <a:chExt cx="494" cy="320"/>
              </a:xfrm>
              <a:solidFill>
                <a:schemeClr val="bg1"/>
              </a:solidFill>
            </p:grpSpPr>
            <p:sp>
              <p:nvSpPr>
                <p:cNvPr id="443" name="Freeform 6"/>
                <p:cNvSpPr>
                  <a:spLocks/>
                </p:cNvSpPr>
                <p:nvPr/>
              </p:nvSpPr>
              <p:spPr bwMode="auto">
                <a:xfrm>
                  <a:off x="5696" y="3700"/>
                  <a:ext cx="494" cy="197"/>
                </a:xfrm>
                <a:custGeom>
                  <a:avLst/>
                  <a:gdLst>
                    <a:gd name="T0" fmla="*/ 1747 w 3456"/>
                    <a:gd name="T1" fmla="*/ 0 h 1379"/>
                    <a:gd name="T2" fmla="*/ 3456 w 3456"/>
                    <a:gd name="T3" fmla="*/ 662 h 1379"/>
                    <a:gd name="T4" fmla="*/ 1779 w 3456"/>
                    <a:gd name="T5" fmla="*/ 1379 h 1379"/>
                    <a:gd name="T6" fmla="*/ 0 w 3456"/>
                    <a:gd name="T7" fmla="*/ 689 h 1379"/>
                    <a:gd name="T8" fmla="*/ 1747 w 3456"/>
                    <a:gd name="T9" fmla="*/ 0 h 1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56" h="1379">
                      <a:moveTo>
                        <a:pt x="1747" y="0"/>
                      </a:moveTo>
                      <a:lnTo>
                        <a:pt x="3456" y="662"/>
                      </a:lnTo>
                      <a:lnTo>
                        <a:pt x="1779" y="1379"/>
                      </a:lnTo>
                      <a:lnTo>
                        <a:pt x="0" y="689"/>
                      </a:lnTo>
                      <a:lnTo>
                        <a:pt x="174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44" name="Freeform 7"/>
                <p:cNvSpPr>
                  <a:spLocks/>
                </p:cNvSpPr>
                <p:nvPr/>
              </p:nvSpPr>
              <p:spPr bwMode="auto">
                <a:xfrm>
                  <a:off x="5781" y="3855"/>
                  <a:ext cx="323" cy="165"/>
                </a:xfrm>
                <a:custGeom>
                  <a:avLst/>
                  <a:gdLst>
                    <a:gd name="T0" fmla="*/ 2262 w 2262"/>
                    <a:gd name="T1" fmla="*/ 0 h 1155"/>
                    <a:gd name="T2" fmla="*/ 2262 w 2262"/>
                    <a:gd name="T3" fmla="*/ 732 h 1155"/>
                    <a:gd name="T4" fmla="*/ 2257 w 2262"/>
                    <a:gd name="T5" fmla="*/ 766 h 1155"/>
                    <a:gd name="T6" fmla="*/ 2247 w 2262"/>
                    <a:gd name="T7" fmla="*/ 800 h 1155"/>
                    <a:gd name="T8" fmla="*/ 2229 w 2262"/>
                    <a:gd name="T9" fmla="*/ 833 h 1155"/>
                    <a:gd name="T10" fmla="*/ 2204 w 2262"/>
                    <a:gd name="T11" fmla="*/ 866 h 1155"/>
                    <a:gd name="T12" fmla="*/ 2173 w 2262"/>
                    <a:gd name="T13" fmla="*/ 896 h 1155"/>
                    <a:gd name="T14" fmla="*/ 2136 w 2262"/>
                    <a:gd name="T15" fmla="*/ 927 h 1155"/>
                    <a:gd name="T16" fmla="*/ 2092 w 2262"/>
                    <a:gd name="T17" fmla="*/ 955 h 1155"/>
                    <a:gd name="T18" fmla="*/ 2044 w 2262"/>
                    <a:gd name="T19" fmla="*/ 982 h 1155"/>
                    <a:gd name="T20" fmla="*/ 1989 w 2262"/>
                    <a:gd name="T21" fmla="*/ 1007 h 1155"/>
                    <a:gd name="T22" fmla="*/ 1930 w 2262"/>
                    <a:gd name="T23" fmla="*/ 1031 h 1155"/>
                    <a:gd name="T24" fmla="*/ 1867 w 2262"/>
                    <a:gd name="T25" fmla="*/ 1053 h 1155"/>
                    <a:gd name="T26" fmla="*/ 1798 w 2262"/>
                    <a:gd name="T27" fmla="*/ 1073 h 1155"/>
                    <a:gd name="T28" fmla="*/ 1726 w 2262"/>
                    <a:gd name="T29" fmla="*/ 1092 h 1155"/>
                    <a:gd name="T30" fmla="*/ 1651 w 2262"/>
                    <a:gd name="T31" fmla="*/ 1108 h 1155"/>
                    <a:gd name="T32" fmla="*/ 1571 w 2262"/>
                    <a:gd name="T33" fmla="*/ 1123 h 1155"/>
                    <a:gd name="T34" fmla="*/ 1488 w 2262"/>
                    <a:gd name="T35" fmla="*/ 1134 h 1155"/>
                    <a:gd name="T36" fmla="*/ 1402 w 2262"/>
                    <a:gd name="T37" fmla="*/ 1143 h 1155"/>
                    <a:gd name="T38" fmla="*/ 1314 w 2262"/>
                    <a:gd name="T39" fmla="*/ 1150 h 1155"/>
                    <a:gd name="T40" fmla="*/ 1224 w 2262"/>
                    <a:gd name="T41" fmla="*/ 1154 h 1155"/>
                    <a:gd name="T42" fmla="*/ 1131 w 2262"/>
                    <a:gd name="T43" fmla="*/ 1155 h 1155"/>
                    <a:gd name="T44" fmla="*/ 1039 w 2262"/>
                    <a:gd name="T45" fmla="*/ 1154 h 1155"/>
                    <a:gd name="T46" fmla="*/ 948 w 2262"/>
                    <a:gd name="T47" fmla="*/ 1150 h 1155"/>
                    <a:gd name="T48" fmla="*/ 860 w 2262"/>
                    <a:gd name="T49" fmla="*/ 1143 h 1155"/>
                    <a:gd name="T50" fmla="*/ 774 w 2262"/>
                    <a:gd name="T51" fmla="*/ 1134 h 1155"/>
                    <a:gd name="T52" fmla="*/ 691 w 2262"/>
                    <a:gd name="T53" fmla="*/ 1123 h 1155"/>
                    <a:gd name="T54" fmla="*/ 611 w 2262"/>
                    <a:gd name="T55" fmla="*/ 1108 h 1155"/>
                    <a:gd name="T56" fmla="*/ 536 w 2262"/>
                    <a:gd name="T57" fmla="*/ 1092 h 1155"/>
                    <a:gd name="T58" fmla="*/ 463 w 2262"/>
                    <a:gd name="T59" fmla="*/ 1073 h 1155"/>
                    <a:gd name="T60" fmla="*/ 395 w 2262"/>
                    <a:gd name="T61" fmla="*/ 1053 h 1155"/>
                    <a:gd name="T62" fmla="*/ 331 w 2262"/>
                    <a:gd name="T63" fmla="*/ 1031 h 1155"/>
                    <a:gd name="T64" fmla="*/ 273 w 2262"/>
                    <a:gd name="T65" fmla="*/ 1007 h 1155"/>
                    <a:gd name="T66" fmla="*/ 218 w 2262"/>
                    <a:gd name="T67" fmla="*/ 982 h 1155"/>
                    <a:gd name="T68" fmla="*/ 170 w 2262"/>
                    <a:gd name="T69" fmla="*/ 955 h 1155"/>
                    <a:gd name="T70" fmla="*/ 127 w 2262"/>
                    <a:gd name="T71" fmla="*/ 927 h 1155"/>
                    <a:gd name="T72" fmla="*/ 89 w 2262"/>
                    <a:gd name="T73" fmla="*/ 896 h 1155"/>
                    <a:gd name="T74" fmla="*/ 58 w 2262"/>
                    <a:gd name="T75" fmla="*/ 866 h 1155"/>
                    <a:gd name="T76" fmla="*/ 34 w 2262"/>
                    <a:gd name="T77" fmla="*/ 833 h 1155"/>
                    <a:gd name="T78" fmla="*/ 15 w 2262"/>
                    <a:gd name="T79" fmla="*/ 800 h 1155"/>
                    <a:gd name="T80" fmla="*/ 4 w 2262"/>
                    <a:gd name="T81" fmla="*/ 766 h 1155"/>
                    <a:gd name="T82" fmla="*/ 0 w 2262"/>
                    <a:gd name="T83" fmla="*/ 732 h 1155"/>
                    <a:gd name="T84" fmla="*/ 0 w 2262"/>
                    <a:gd name="T85" fmla="*/ 0 h 1155"/>
                    <a:gd name="T86" fmla="*/ 1185 w 2262"/>
                    <a:gd name="T87" fmla="*/ 459 h 1155"/>
                    <a:gd name="T88" fmla="*/ 2262 w 2262"/>
                    <a:gd name="T89" fmla="*/ 0 h 1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262" h="1155">
                      <a:moveTo>
                        <a:pt x="2262" y="0"/>
                      </a:moveTo>
                      <a:lnTo>
                        <a:pt x="2262" y="732"/>
                      </a:lnTo>
                      <a:lnTo>
                        <a:pt x="2257" y="766"/>
                      </a:lnTo>
                      <a:lnTo>
                        <a:pt x="2247" y="800"/>
                      </a:lnTo>
                      <a:lnTo>
                        <a:pt x="2229" y="833"/>
                      </a:lnTo>
                      <a:lnTo>
                        <a:pt x="2204" y="866"/>
                      </a:lnTo>
                      <a:lnTo>
                        <a:pt x="2173" y="896"/>
                      </a:lnTo>
                      <a:lnTo>
                        <a:pt x="2136" y="927"/>
                      </a:lnTo>
                      <a:lnTo>
                        <a:pt x="2092" y="955"/>
                      </a:lnTo>
                      <a:lnTo>
                        <a:pt x="2044" y="982"/>
                      </a:lnTo>
                      <a:lnTo>
                        <a:pt x="1989" y="1007"/>
                      </a:lnTo>
                      <a:lnTo>
                        <a:pt x="1930" y="1031"/>
                      </a:lnTo>
                      <a:lnTo>
                        <a:pt x="1867" y="1053"/>
                      </a:lnTo>
                      <a:lnTo>
                        <a:pt x="1798" y="1073"/>
                      </a:lnTo>
                      <a:lnTo>
                        <a:pt x="1726" y="1092"/>
                      </a:lnTo>
                      <a:lnTo>
                        <a:pt x="1651" y="1108"/>
                      </a:lnTo>
                      <a:lnTo>
                        <a:pt x="1571" y="1123"/>
                      </a:lnTo>
                      <a:lnTo>
                        <a:pt x="1488" y="1134"/>
                      </a:lnTo>
                      <a:lnTo>
                        <a:pt x="1402" y="1143"/>
                      </a:lnTo>
                      <a:lnTo>
                        <a:pt x="1314" y="1150"/>
                      </a:lnTo>
                      <a:lnTo>
                        <a:pt x="1224" y="1154"/>
                      </a:lnTo>
                      <a:lnTo>
                        <a:pt x="1131" y="1155"/>
                      </a:lnTo>
                      <a:lnTo>
                        <a:pt x="1039" y="1154"/>
                      </a:lnTo>
                      <a:lnTo>
                        <a:pt x="948" y="1150"/>
                      </a:lnTo>
                      <a:lnTo>
                        <a:pt x="860" y="1143"/>
                      </a:lnTo>
                      <a:lnTo>
                        <a:pt x="774" y="1134"/>
                      </a:lnTo>
                      <a:lnTo>
                        <a:pt x="691" y="1123"/>
                      </a:lnTo>
                      <a:lnTo>
                        <a:pt x="611" y="1108"/>
                      </a:lnTo>
                      <a:lnTo>
                        <a:pt x="536" y="1092"/>
                      </a:lnTo>
                      <a:lnTo>
                        <a:pt x="463" y="1073"/>
                      </a:lnTo>
                      <a:lnTo>
                        <a:pt x="395" y="1053"/>
                      </a:lnTo>
                      <a:lnTo>
                        <a:pt x="331" y="1031"/>
                      </a:lnTo>
                      <a:lnTo>
                        <a:pt x="273" y="1007"/>
                      </a:lnTo>
                      <a:lnTo>
                        <a:pt x="218" y="982"/>
                      </a:lnTo>
                      <a:lnTo>
                        <a:pt x="170" y="955"/>
                      </a:lnTo>
                      <a:lnTo>
                        <a:pt x="127" y="927"/>
                      </a:lnTo>
                      <a:lnTo>
                        <a:pt x="89" y="896"/>
                      </a:lnTo>
                      <a:lnTo>
                        <a:pt x="58" y="866"/>
                      </a:lnTo>
                      <a:lnTo>
                        <a:pt x="34" y="833"/>
                      </a:lnTo>
                      <a:lnTo>
                        <a:pt x="15" y="800"/>
                      </a:lnTo>
                      <a:lnTo>
                        <a:pt x="4" y="766"/>
                      </a:lnTo>
                      <a:lnTo>
                        <a:pt x="0" y="732"/>
                      </a:lnTo>
                      <a:lnTo>
                        <a:pt x="0" y="0"/>
                      </a:lnTo>
                      <a:lnTo>
                        <a:pt x="1185" y="459"/>
                      </a:lnTo>
                      <a:lnTo>
                        <a:pt x="226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45" name="Rectangle 8"/>
                <p:cNvSpPr>
                  <a:spLocks noChangeArrowheads="1"/>
                </p:cNvSpPr>
                <p:nvPr/>
              </p:nvSpPr>
              <p:spPr bwMode="auto">
                <a:xfrm>
                  <a:off x="6130" y="3799"/>
                  <a:ext cx="21" cy="164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  <p:sp>
              <p:nvSpPr>
                <p:cNvPr id="446" name="Freeform 9"/>
                <p:cNvSpPr>
                  <a:spLocks/>
                </p:cNvSpPr>
                <p:nvPr/>
              </p:nvSpPr>
              <p:spPr bwMode="auto">
                <a:xfrm>
                  <a:off x="6113" y="3891"/>
                  <a:ext cx="55" cy="55"/>
                </a:xfrm>
                <a:custGeom>
                  <a:avLst/>
                  <a:gdLst>
                    <a:gd name="T0" fmla="*/ 192 w 385"/>
                    <a:gd name="T1" fmla="*/ 0 h 385"/>
                    <a:gd name="T2" fmla="*/ 228 w 385"/>
                    <a:gd name="T3" fmla="*/ 3 h 385"/>
                    <a:gd name="T4" fmla="*/ 260 w 385"/>
                    <a:gd name="T5" fmla="*/ 12 h 385"/>
                    <a:gd name="T6" fmla="*/ 290 w 385"/>
                    <a:gd name="T7" fmla="*/ 26 h 385"/>
                    <a:gd name="T8" fmla="*/ 317 w 385"/>
                    <a:gd name="T9" fmla="*/ 45 h 385"/>
                    <a:gd name="T10" fmla="*/ 340 w 385"/>
                    <a:gd name="T11" fmla="*/ 69 h 385"/>
                    <a:gd name="T12" fmla="*/ 359 w 385"/>
                    <a:gd name="T13" fmla="*/ 95 h 385"/>
                    <a:gd name="T14" fmla="*/ 373 w 385"/>
                    <a:gd name="T15" fmla="*/ 126 h 385"/>
                    <a:gd name="T16" fmla="*/ 382 w 385"/>
                    <a:gd name="T17" fmla="*/ 158 h 385"/>
                    <a:gd name="T18" fmla="*/ 385 w 385"/>
                    <a:gd name="T19" fmla="*/ 193 h 385"/>
                    <a:gd name="T20" fmla="*/ 382 w 385"/>
                    <a:gd name="T21" fmla="*/ 227 h 385"/>
                    <a:gd name="T22" fmla="*/ 373 w 385"/>
                    <a:gd name="T23" fmla="*/ 260 h 385"/>
                    <a:gd name="T24" fmla="*/ 359 w 385"/>
                    <a:gd name="T25" fmla="*/ 290 h 385"/>
                    <a:gd name="T26" fmla="*/ 340 w 385"/>
                    <a:gd name="T27" fmla="*/ 316 h 385"/>
                    <a:gd name="T28" fmla="*/ 317 w 385"/>
                    <a:gd name="T29" fmla="*/ 339 h 385"/>
                    <a:gd name="T30" fmla="*/ 290 w 385"/>
                    <a:gd name="T31" fmla="*/ 358 h 385"/>
                    <a:gd name="T32" fmla="*/ 260 w 385"/>
                    <a:gd name="T33" fmla="*/ 373 h 385"/>
                    <a:gd name="T34" fmla="*/ 228 w 385"/>
                    <a:gd name="T35" fmla="*/ 382 h 385"/>
                    <a:gd name="T36" fmla="*/ 192 w 385"/>
                    <a:gd name="T37" fmla="*/ 385 h 385"/>
                    <a:gd name="T38" fmla="*/ 158 w 385"/>
                    <a:gd name="T39" fmla="*/ 382 h 385"/>
                    <a:gd name="T40" fmla="*/ 125 w 385"/>
                    <a:gd name="T41" fmla="*/ 373 h 385"/>
                    <a:gd name="T42" fmla="*/ 96 w 385"/>
                    <a:gd name="T43" fmla="*/ 358 h 385"/>
                    <a:gd name="T44" fmla="*/ 68 w 385"/>
                    <a:gd name="T45" fmla="*/ 339 h 385"/>
                    <a:gd name="T46" fmla="*/ 45 w 385"/>
                    <a:gd name="T47" fmla="*/ 316 h 385"/>
                    <a:gd name="T48" fmla="*/ 27 w 385"/>
                    <a:gd name="T49" fmla="*/ 290 h 385"/>
                    <a:gd name="T50" fmla="*/ 12 w 385"/>
                    <a:gd name="T51" fmla="*/ 260 h 385"/>
                    <a:gd name="T52" fmla="*/ 3 w 385"/>
                    <a:gd name="T53" fmla="*/ 227 h 385"/>
                    <a:gd name="T54" fmla="*/ 0 w 385"/>
                    <a:gd name="T55" fmla="*/ 193 h 385"/>
                    <a:gd name="T56" fmla="*/ 3 w 385"/>
                    <a:gd name="T57" fmla="*/ 158 h 385"/>
                    <a:gd name="T58" fmla="*/ 12 w 385"/>
                    <a:gd name="T59" fmla="*/ 126 h 385"/>
                    <a:gd name="T60" fmla="*/ 27 w 385"/>
                    <a:gd name="T61" fmla="*/ 95 h 385"/>
                    <a:gd name="T62" fmla="*/ 45 w 385"/>
                    <a:gd name="T63" fmla="*/ 69 h 385"/>
                    <a:gd name="T64" fmla="*/ 68 w 385"/>
                    <a:gd name="T65" fmla="*/ 45 h 385"/>
                    <a:gd name="T66" fmla="*/ 96 w 385"/>
                    <a:gd name="T67" fmla="*/ 26 h 385"/>
                    <a:gd name="T68" fmla="*/ 125 w 385"/>
                    <a:gd name="T69" fmla="*/ 12 h 385"/>
                    <a:gd name="T70" fmla="*/ 158 w 385"/>
                    <a:gd name="T71" fmla="*/ 3 h 385"/>
                    <a:gd name="T72" fmla="*/ 192 w 385"/>
                    <a:gd name="T73" fmla="*/ 0 h 3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85" h="385">
                      <a:moveTo>
                        <a:pt x="192" y="0"/>
                      </a:moveTo>
                      <a:lnTo>
                        <a:pt x="228" y="3"/>
                      </a:lnTo>
                      <a:lnTo>
                        <a:pt x="260" y="12"/>
                      </a:lnTo>
                      <a:lnTo>
                        <a:pt x="290" y="26"/>
                      </a:lnTo>
                      <a:lnTo>
                        <a:pt x="317" y="45"/>
                      </a:lnTo>
                      <a:lnTo>
                        <a:pt x="340" y="69"/>
                      </a:lnTo>
                      <a:lnTo>
                        <a:pt x="359" y="95"/>
                      </a:lnTo>
                      <a:lnTo>
                        <a:pt x="373" y="126"/>
                      </a:lnTo>
                      <a:lnTo>
                        <a:pt x="382" y="158"/>
                      </a:lnTo>
                      <a:lnTo>
                        <a:pt x="385" y="193"/>
                      </a:lnTo>
                      <a:lnTo>
                        <a:pt x="382" y="227"/>
                      </a:lnTo>
                      <a:lnTo>
                        <a:pt x="373" y="260"/>
                      </a:lnTo>
                      <a:lnTo>
                        <a:pt x="359" y="290"/>
                      </a:lnTo>
                      <a:lnTo>
                        <a:pt x="340" y="316"/>
                      </a:lnTo>
                      <a:lnTo>
                        <a:pt x="317" y="339"/>
                      </a:lnTo>
                      <a:lnTo>
                        <a:pt x="290" y="358"/>
                      </a:lnTo>
                      <a:lnTo>
                        <a:pt x="260" y="373"/>
                      </a:lnTo>
                      <a:lnTo>
                        <a:pt x="228" y="382"/>
                      </a:lnTo>
                      <a:lnTo>
                        <a:pt x="192" y="385"/>
                      </a:lnTo>
                      <a:lnTo>
                        <a:pt x="158" y="382"/>
                      </a:lnTo>
                      <a:lnTo>
                        <a:pt x="125" y="373"/>
                      </a:lnTo>
                      <a:lnTo>
                        <a:pt x="96" y="358"/>
                      </a:lnTo>
                      <a:lnTo>
                        <a:pt x="68" y="339"/>
                      </a:lnTo>
                      <a:lnTo>
                        <a:pt x="45" y="316"/>
                      </a:lnTo>
                      <a:lnTo>
                        <a:pt x="27" y="290"/>
                      </a:lnTo>
                      <a:lnTo>
                        <a:pt x="12" y="260"/>
                      </a:lnTo>
                      <a:lnTo>
                        <a:pt x="3" y="227"/>
                      </a:lnTo>
                      <a:lnTo>
                        <a:pt x="0" y="193"/>
                      </a:lnTo>
                      <a:lnTo>
                        <a:pt x="3" y="158"/>
                      </a:lnTo>
                      <a:lnTo>
                        <a:pt x="12" y="126"/>
                      </a:lnTo>
                      <a:lnTo>
                        <a:pt x="27" y="95"/>
                      </a:lnTo>
                      <a:lnTo>
                        <a:pt x="45" y="69"/>
                      </a:lnTo>
                      <a:lnTo>
                        <a:pt x="68" y="45"/>
                      </a:lnTo>
                      <a:lnTo>
                        <a:pt x="96" y="26"/>
                      </a:lnTo>
                      <a:lnTo>
                        <a:pt x="125" y="12"/>
                      </a:lnTo>
                      <a:lnTo>
                        <a:pt x="158" y="3"/>
                      </a:lnTo>
                      <a:lnTo>
                        <a:pt x="19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12" tIns="45706" rIns="91412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BE" dirty="0"/>
                </a:p>
              </p:txBody>
            </p:sp>
          </p:grpSp>
        </p:grpSp>
        <p:sp>
          <p:nvSpPr>
            <p:cNvPr id="440" name="ZoneTexte 439"/>
            <p:cNvSpPr txBox="1"/>
            <p:nvPr/>
          </p:nvSpPr>
          <p:spPr>
            <a:xfrm>
              <a:off x="8787232" y="5876174"/>
              <a:ext cx="274480" cy="5486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BE" dirty="0"/>
            </a:p>
          </p:txBody>
        </p:sp>
      </p:grpSp>
      <p:grpSp>
        <p:nvGrpSpPr>
          <p:cNvPr id="447" name="Groupe 2998"/>
          <p:cNvGrpSpPr/>
          <p:nvPr/>
        </p:nvGrpSpPr>
        <p:grpSpPr>
          <a:xfrm>
            <a:off x="6408410" y="373281"/>
            <a:ext cx="396785" cy="654425"/>
            <a:chOff x="9674181" y="5269433"/>
            <a:chExt cx="589739" cy="972538"/>
          </a:xfrm>
        </p:grpSpPr>
        <p:grpSp>
          <p:nvGrpSpPr>
            <p:cNvPr id="448" name="Groupe 61"/>
            <p:cNvGrpSpPr/>
            <p:nvPr/>
          </p:nvGrpSpPr>
          <p:grpSpPr>
            <a:xfrm>
              <a:off x="9674181" y="5269433"/>
              <a:ext cx="589739" cy="589739"/>
              <a:chOff x="9033489" y="5269433"/>
              <a:chExt cx="589739" cy="589739"/>
            </a:xfrm>
          </p:grpSpPr>
          <p:sp>
            <p:nvSpPr>
              <p:cNvPr id="450" name="Ellipse 449"/>
              <p:cNvSpPr/>
              <p:nvPr/>
            </p:nvSpPr>
            <p:spPr>
              <a:xfrm>
                <a:off x="9033489" y="5269433"/>
                <a:ext cx="589739" cy="589739"/>
              </a:xfrm>
              <a:prstGeom prst="ellipse">
                <a:avLst/>
              </a:prstGeom>
              <a:solidFill>
                <a:srgbClr val="1289B4"/>
              </a:solidFill>
              <a:ln w="38100">
                <a:solidFill>
                  <a:srgbClr val="29DBFF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algn="ctr"/>
                <a:endParaRPr lang="fr-BE" dirty="0"/>
              </a:p>
            </p:txBody>
          </p:sp>
          <p:sp>
            <p:nvSpPr>
              <p:cNvPr id="451" name="Freeform 188"/>
              <p:cNvSpPr>
                <a:spLocks noEditPoints="1"/>
              </p:cNvSpPr>
              <p:nvPr/>
            </p:nvSpPr>
            <p:spPr bwMode="auto">
              <a:xfrm>
                <a:off x="9173814" y="5370049"/>
                <a:ext cx="330519" cy="388495"/>
              </a:xfrm>
              <a:custGeom>
                <a:avLst/>
                <a:gdLst>
                  <a:gd name="T0" fmla="*/ 301 w 3053"/>
                  <a:gd name="T1" fmla="*/ 2719 h 3585"/>
                  <a:gd name="T2" fmla="*/ 280 w 3053"/>
                  <a:gd name="T3" fmla="*/ 2759 h 3585"/>
                  <a:gd name="T4" fmla="*/ 290 w 3053"/>
                  <a:gd name="T5" fmla="*/ 3281 h 3585"/>
                  <a:gd name="T6" fmla="*/ 329 w 3053"/>
                  <a:gd name="T7" fmla="*/ 3300 h 3585"/>
                  <a:gd name="T8" fmla="*/ 608 w 3053"/>
                  <a:gd name="T9" fmla="*/ 3290 h 3585"/>
                  <a:gd name="T10" fmla="*/ 629 w 3053"/>
                  <a:gd name="T11" fmla="*/ 3251 h 3585"/>
                  <a:gd name="T12" fmla="*/ 619 w 3053"/>
                  <a:gd name="T13" fmla="*/ 2730 h 3585"/>
                  <a:gd name="T14" fmla="*/ 580 w 3053"/>
                  <a:gd name="T15" fmla="*/ 2710 h 3585"/>
                  <a:gd name="T16" fmla="*/ 1217 w 3053"/>
                  <a:gd name="T17" fmla="*/ 2425 h 3585"/>
                  <a:gd name="T18" fmla="*/ 1264 w 3053"/>
                  <a:gd name="T19" fmla="*/ 2445 h 3585"/>
                  <a:gd name="T20" fmla="*/ 1284 w 3053"/>
                  <a:gd name="T21" fmla="*/ 2491 h 3585"/>
                  <a:gd name="T22" fmla="*/ 1528 w 3053"/>
                  <a:gd name="T23" fmla="*/ 2771 h 3585"/>
                  <a:gd name="T24" fmla="*/ 2501 w 3053"/>
                  <a:gd name="T25" fmla="*/ 2771 h 3585"/>
                  <a:gd name="T26" fmla="*/ 2873 w 3053"/>
                  <a:gd name="T27" fmla="*/ 2781 h 3585"/>
                  <a:gd name="T28" fmla="*/ 2924 w 3053"/>
                  <a:gd name="T29" fmla="*/ 2831 h 3585"/>
                  <a:gd name="T30" fmla="*/ 2983 w 3053"/>
                  <a:gd name="T31" fmla="*/ 2924 h 3585"/>
                  <a:gd name="T32" fmla="*/ 2986 w 3053"/>
                  <a:gd name="T33" fmla="*/ 2965 h 3585"/>
                  <a:gd name="T34" fmla="*/ 1887 w 3053"/>
                  <a:gd name="T35" fmla="*/ 3025 h 3585"/>
                  <a:gd name="T36" fmla="*/ 1517 w 3053"/>
                  <a:gd name="T37" fmla="*/ 3089 h 3585"/>
                  <a:gd name="T38" fmla="*/ 1533 w 3053"/>
                  <a:gd name="T39" fmla="*/ 3113 h 3585"/>
                  <a:gd name="T40" fmla="*/ 2570 w 3053"/>
                  <a:gd name="T41" fmla="*/ 3115 h 3585"/>
                  <a:gd name="T42" fmla="*/ 2911 w 3053"/>
                  <a:gd name="T43" fmla="*/ 3143 h 3585"/>
                  <a:gd name="T44" fmla="*/ 2886 w 3053"/>
                  <a:gd name="T45" fmla="*/ 3194 h 3585"/>
                  <a:gd name="T46" fmla="*/ 2850 w 3053"/>
                  <a:gd name="T47" fmla="*/ 3230 h 3585"/>
                  <a:gd name="T48" fmla="*/ 1528 w 3053"/>
                  <a:gd name="T49" fmla="*/ 3239 h 3585"/>
                  <a:gd name="T50" fmla="*/ 1284 w 3053"/>
                  <a:gd name="T51" fmla="*/ 3518 h 3585"/>
                  <a:gd name="T52" fmla="*/ 1264 w 3053"/>
                  <a:gd name="T53" fmla="*/ 3565 h 3585"/>
                  <a:gd name="T54" fmla="*/ 1217 w 3053"/>
                  <a:gd name="T55" fmla="*/ 3585 h 3585"/>
                  <a:gd name="T56" fmla="*/ 205 w 3053"/>
                  <a:gd name="T57" fmla="*/ 3576 h 3585"/>
                  <a:gd name="T58" fmla="*/ 158 w 3053"/>
                  <a:gd name="T59" fmla="*/ 3541 h 3585"/>
                  <a:gd name="T60" fmla="*/ 107 w 3053"/>
                  <a:gd name="T61" fmla="*/ 3491 h 3585"/>
                  <a:gd name="T62" fmla="*/ 71 w 3053"/>
                  <a:gd name="T63" fmla="*/ 3443 h 3585"/>
                  <a:gd name="T64" fmla="*/ 63 w 3053"/>
                  <a:gd name="T65" fmla="*/ 2589 h 3585"/>
                  <a:gd name="T66" fmla="*/ 81 w 3053"/>
                  <a:gd name="T67" fmla="*/ 2552 h 3585"/>
                  <a:gd name="T68" fmla="*/ 124 w 3053"/>
                  <a:gd name="T69" fmla="*/ 2502 h 3585"/>
                  <a:gd name="T70" fmla="*/ 174 w 3053"/>
                  <a:gd name="T71" fmla="*/ 2455 h 3585"/>
                  <a:gd name="T72" fmla="*/ 218 w 3053"/>
                  <a:gd name="T73" fmla="*/ 2428 h 3585"/>
                  <a:gd name="T74" fmla="*/ 721 w 3053"/>
                  <a:gd name="T75" fmla="*/ 108 h 3585"/>
                  <a:gd name="T76" fmla="*/ 999 w 3053"/>
                  <a:gd name="T77" fmla="*/ 323 h 3585"/>
                  <a:gd name="T78" fmla="*/ 584 w 3053"/>
                  <a:gd name="T79" fmla="*/ 108 h 3585"/>
                  <a:gd name="T80" fmla="*/ 3053 w 3053"/>
                  <a:gd name="T81" fmla="*/ 1612 h 3585"/>
                  <a:gd name="T82" fmla="*/ 1474 w 3053"/>
                  <a:gd name="T83" fmla="*/ 2577 h 3585"/>
                  <a:gd name="T84" fmla="*/ 1461 w 3053"/>
                  <a:gd name="T85" fmla="*/ 2410 h 3585"/>
                  <a:gd name="T86" fmla="*/ 1399 w 3053"/>
                  <a:gd name="T87" fmla="*/ 2311 h 3585"/>
                  <a:gd name="T88" fmla="*/ 1298 w 3053"/>
                  <a:gd name="T89" fmla="*/ 2249 h 3585"/>
                  <a:gd name="T90" fmla="*/ 286 w 3053"/>
                  <a:gd name="T91" fmla="*/ 2236 h 3585"/>
                  <a:gd name="T92" fmla="*/ 0 w 3053"/>
                  <a:gd name="T93" fmla="*/ 1441 h 3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053" h="3585">
                    <a:moveTo>
                      <a:pt x="329" y="2710"/>
                    </a:moveTo>
                    <a:lnTo>
                      <a:pt x="314" y="2712"/>
                    </a:lnTo>
                    <a:lnTo>
                      <a:pt x="301" y="2719"/>
                    </a:lnTo>
                    <a:lnTo>
                      <a:pt x="290" y="2730"/>
                    </a:lnTo>
                    <a:lnTo>
                      <a:pt x="282" y="2744"/>
                    </a:lnTo>
                    <a:lnTo>
                      <a:pt x="280" y="2759"/>
                    </a:lnTo>
                    <a:lnTo>
                      <a:pt x="280" y="3251"/>
                    </a:lnTo>
                    <a:lnTo>
                      <a:pt x="282" y="3266"/>
                    </a:lnTo>
                    <a:lnTo>
                      <a:pt x="290" y="3281"/>
                    </a:lnTo>
                    <a:lnTo>
                      <a:pt x="301" y="3290"/>
                    </a:lnTo>
                    <a:lnTo>
                      <a:pt x="314" y="3298"/>
                    </a:lnTo>
                    <a:lnTo>
                      <a:pt x="329" y="3300"/>
                    </a:lnTo>
                    <a:lnTo>
                      <a:pt x="580" y="3300"/>
                    </a:lnTo>
                    <a:lnTo>
                      <a:pt x="595" y="3298"/>
                    </a:lnTo>
                    <a:lnTo>
                      <a:pt x="608" y="3290"/>
                    </a:lnTo>
                    <a:lnTo>
                      <a:pt x="619" y="3281"/>
                    </a:lnTo>
                    <a:lnTo>
                      <a:pt x="627" y="3266"/>
                    </a:lnTo>
                    <a:lnTo>
                      <a:pt x="629" y="3251"/>
                    </a:lnTo>
                    <a:lnTo>
                      <a:pt x="629" y="2759"/>
                    </a:lnTo>
                    <a:lnTo>
                      <a:pt x="627" y="2744"/>
                    </a:lnTo>
                    <a:lnTo>
                      <a:pt x="619" y="2730"/>
                    </a:lnTo>
                    <a:lnTo>
                      <a:pt x="608" y="2719"/>
                    </a:lnTo>
                    <a:lnTo>
                      <a:pt x="595" y="2712"/>
                    </a:lnTo>
                    <a:lnTo>
                      <a:pt x="580" y="2710"/>
                    </a:lnTo>
                    <a:lnTo>
                      <a:pt x="329" y="2710"/>
                    </a:lnTo>
                    <a:close/>
                    <a:moveTo>
                      <a:pt x="228" y="2425"/>
                    </a:moveTo>
                    <a:lnTo>
                      <a:pt x="1217" y="2425"/>
                    </a:lnTo>
                    <a:lnTo>
                      <a:pt x="1235" y="2428"/>
                    </a:lnTo>
                    <a:lnTo>
                      <a:pt x="1251" y="2434"/>
                    </a:lnTo>
                    <a:lnTo>
                      <a:pt x="1264" y="2445"/>
                    </a:lnTo>
                    <a:lnTo>
                      <a:pt x="1274" y="2458"/>
                    </a:lnTo>
                    <a:lnTo>
                      <a:pt x="1281" y="2473"/>
                    </a:lnTo>
                    <a:lnTo>
                      <a:pt x="1284" y="2491"/>
                    </a:lnTo>
                    <a:lnTo>
                      <a:pt x="1284" y="2706"/>
                    </a:lnTo>
                    <a:lnTo>
                      <a:pt x="1440" y="2706"/>
                    </a:lnTo>
                    <a:lnTo>
                      <a:pt x="1528" y="2771"/>
                    </a:lnTo>
                    <a:lnTo>
                      <a:pt x="2181" y="2771"/>
                    </a:lnTo>
                    <a:lnTo>
                      <a:pt x="2340" y="2771"/>
                    </a:lnTo>
                    <a:lnTo>
                      <a:pt x="2501" y="2771"/>
                    </a:lnTo>
                    <a:lnTo>
                      <a:pt x="2836" y="2771"/>
                    </a:lnTo>
                    <a:lnTo>
                      <a:pt x="2856" y="2773"/>
                    </a:lnTo>
                    <a:lnTo>
                      <a:pt x="2873" y="2781"/>
                    </a:lnTo>
                    <a:lnTo>
                      <a:pt x="2890" y="2792"/>
                    </a:lnTo>
                    <a:lnTo>
                      <a:pt x="2903" y="2806"/>
                    </a:lnTo>
                    <a:lnTo>
                      <a:pt x="2924" y="2831"/>
                    </a:lnTo>
                    <a:lnTo>
                      <a:pt x="2943" y="2862"/>
                    </a:lnTo>
                    <a:lnTo>
                      <a:pt x="2964" y="2893"/>
                    </a:lnTo>
                    <a:lnTo>
                      <a:pt x="2983" y="2924"/>
                    </a:lnTo>
                    <a:lnTo>
                      <a:pt x="2988" y="2936"/>
                    </a:lnTo>
                    <a:lnTo>
                      <a:pt x="2989" y="2950"/>
                    </a:lnTo>
                    <a:lnTo>
                      <a:pt x="2986" y="2965"/>
                    </a:lnTo>
                    <a:lnTo>
                      <a:pt x="2961" y="3025"/>
                    </a:lnTo>
                    <a:lnTo>
                      <a:pt x="2064" y="3025"/>
                    </a:lnTo>
                    <a:lnTo>
                      <a:pt x="1887" y="3025"/>
                    </a:lnTo>
                    <a:lnTo>
                      <a:pt x="1705" y="3025"/>
                    </a:lnTo>
                    <a:lnTo>
                      <a:pt x="1517" y="3025"/>
                    </a:lnTo>
                    <a:lnTo>
                      <a:pt x="1517" y="3089"/>
                    </a:lnTo>
                    <a:lnTo>
                      <a:pt x="1519" y="3098"/>
                    </a:lnTo>
                    <a:lnTo>
                      <a:pt x="1525" y="3107"/>
                    </a:lnTo>
                    <a:lnTo>
                      <a:pt x="1533" y="3113"/>
                    </a:lnTo>
                    <a:lnTo>
                      <a:pt x="1543" y="3115"/>
                    </a:lnTo>
                    <a:lnTo>
                      <a:pt x="2400" y="3115"/>
                    </a:lnTo>
                    <a:lnTo>
                      <a:pt x="2570" y="3115"/>
                    </a:lnTo>
                    <a:lnTo>
                      <a:pt x="2744" y="3115"/>
                    </a:lnTo>
                    <a:lnTo>
                      <a:pt x="2924" y="3115"/>
                    </a:lnTo>
                    <a:lnTo>
                      <a:pt x="2911" y="3143"/>
                    </a:lnTo>
                    <a:lnTo>
                      <a:pt x="2904" y="3161"/>
                    </a:lnTo>
                    <a:lnTo>
                      <a:pt x="2895" y="3178"/>
                    </a:lnTo>
                    <a:lnTo>
                      <a:pt x="2886" y="3194"/>
                    </a:lnTo>
                    <a:lnTo>
                      <a:pt x="2875" y="3210"/>
                    </a:lnTo>
                    <a:lnTo>
                      <a:pt x="2863" y="3222"/>
                    </a:lnTo>
                    <a:lnTo>
                      <a:pt x="2850" y="3230"/>
                    </a:lnTo>
                    <a:lnTo>
                      <a:pt x="2834" y="3237"/>
                    </a:lnTo>
                    <a:lnTo>
                      <a:pt x="2815" y="3239"/>
                    </a:lnTo>
                    <a:lnTo>
                      <a:pt x="1528" y="3239"/>
                    </a:lnTo>
                    <a:lnTo>
                      <a:pt x="1440" y="3304"/>
                    </a:lnTo>
                    <a:lnTo>
                      <a:pt x="1284" y="3304"/>
                    </a:lnTo>
                    <a:lnTo>
                      <a:pt x="1284" y="3518"/>
                    </a:lnTo>
                    <a:lnTo>
                      <a:pt x="1281" y="3536"/>
                    </a:lnTo>
                    <a:lnTo>
                      <a:pt x="1274" y="3552"/>
                    </a:lnTo>
                    <a:lnTo>
                      <a:pt x="1264" y="3565"/>
                    </a:lnTo>
                    <a:lnTo>
                      <a:pt x="1251" y="3576"/>
                    </a:lnTo>
                    <a:lnTo>
                      <a:pt x="1235" y="3583"/>
                    </a:lnTo>
                    <a:lnTo>
                      <a:pt x="1217" y="3585"/>
                    </a:lnTo>
                    <a:lnTo>
                      <a:pt x="228" y="3585"/>
                    </a:lnTo>
                    <a:lnTo>
                      <a:pt x="218" y="3583"/>
                    </a:lnTo>
                    <a:lnTo>
                      <a:pt x="205" y="3576"/>
                    </a:lnTo>
                    <a:lnTo>
                      <a:pt x="190" y="3568"/>
                    </a:lnTo>
                    <a:lnTo>
                      <a:pt x="174" y="3556"/>
                    </a:lnTo>
                    <a:lnTo>
                      <a:pt x="158" y="3541"/>
                    </a:lnTo>
                    <a:lnTo>
                      <a:pt x="140" y="3525"/>
                    </a:lnTo>
                    <a:lnTo>
                      <a:pt x="124" y="3509"/>
                    </a:lnTo>
                    <a:lnTo>
                      <a:pt x="107" y="3491"/>
                    </a:lnTo>
                    <a:lnTo>
                      <a:pt x="93" y="3474"/>
                    </a:lnTo>
                    <a:lnTo>
                      <a:pt x="81" y="3458"/>
                    </a:lnTo>
                    <a:lnTo>
                      <a:pt x="71" y="3443"/>
                    </a:lnTo>
                    <a:lnTo>
                      <a:pt x="66" y="3431"/>
                    </a:lnTo>
                    <a:lnTo>
                      <a:pt x="63" y="3421"/>
                    </a:lnTo>
                    <a:lnTo>
                      <a:pt x="63" y="2589"/>
                    </a:lnTo>
                    <a:lnTo>
                      <a:pt x="66" y="2579"/>
                    </a:lnTo>
                    <a:lnTo>
                      <a:pt x="71" y="2566"/>
                    </a:lnTo>
                    <a:lnTo>
                      <a:pt x="81" y="2552"/>
                    </a:lnTo>
                    <a:lnTo>
                      <a:pt x="93" y="2536"/>
                    </a:lnTo>
                    <a:lnTo>
                      <a:pt x="107" y="2519"/>
                    </a:lnTo>
                    <a:lnTo>
                      <a:pt x="124" y="2502"/>
                    </a:lnTo>
                    <a:lnTo>
                      <a:pt x="140" y="2485"/>
                    </a:lnTo>
                    <a:lnTo>
                      <a:pt x="158" y="2469"/>
                    </a:lnTo>
                    <a:lnTo>
                      <a:pt x="174" y="2455"/>
                    </a:lnTo>
                    <a:lnTo>
                      <a:pt x="190" y="2443"/>
                    </a:lnTo>
                    <a:lnTo>
                      <a:pt x="205" y="2433"/>
                    </a:lnTo>
                    <a:lnTo>
                      <a:pt x="218" y="2428"/>
                    </a:lnTo>
                    <a:lnTo>
                      <a:pt x="228" y="2425"/>
                    </a:lnTo>
                    <a:close/>
                    <a:moveTo>
                      <a:pt x="584" y="108"/>
                    </a:moveTo>
                    <a:lnTo>
                      <a:pt x="721" y="108"/>
                    </a:lnTo>
                    <a:lnTo>
                      <a:pt x="858" y="108"/>
                    </a:lnTo>
                    <a:lnTo>
                      <a:pt x="999" y="108"/>
                    </a:lnTo>
                    <a:lnTo>
                      <a:pt x="999" y="323"/>
                    </a:lnTo>
                    <a:lnTo>
                      <a:pt x="443" y="851"/>
                    </a:lnTo>
                    <a:lnTo>
                      <a:pt x="443" y="108"/>
                    </a:lnTo>
                    <a:lnTo>
                      <a:pt x="584" y="108"/>
                    </a:lnTo>
                    <a:close/>
                    <a:moveTo>
                      <a:pt x="1527" y="0"/>
                    </a:moveTo>
                    <a:lnTo>
                      <a:pt x="3053" y="1441"/>
                    </a:lnTo>
                    <a:lnTo>
                      <a:pt x="3053" y="1612"/>
                    </a:lnTo>
                    <a:lnTo>
                      <a:pt x="2767" y="1612"/>
                    </a:lnTo>
                    <a:lnTo>
                      <a:pt x="2767" y="2577"/>
                    </a:lnTo>
                    <a:lnTo>
                      <a:pt x="1474" y="2577"/>
                    </a:lnTo>
                    <a:lnTo>
                      <a:pt x="1474" y="2491"/>
                    </a:lnTo>
                    <a:lnTo>
                      <a:pt x="1471" y="2449"/>
                    </a:lnTo>
                    <a:lnTo>
                      <a:pt x="1461" y="2410"/>
                    </a:lnTo>
                    <a:lnTo>
                      <a:pt x="1446" y="2374"/>
                    </a:lnTo>
                    <a:lnTo>
                      <a:pt x="1424" y="2340"/>
                    </a:lnTo>
                    <a:lnTo>
                      <a:pt x="1399" y="2311"/>
                    </a:lnTo>
                    <a:lnTo>
                      <a:pt x="1369" y="2285"/>
                    </a:lnTo>
                    <a:lnTo>
                      <a:pt x="1335" y="2264"/>
                    </a:lnTo>
                    <a:lnTo>
                      <a:pt x="1298" y="2249"/>
                    </a:lnTo>
                    <a:lnTo>
                      <a:pt x="1259" y="2239"/>
                    </a:lnTo>
                    <a:lnTo>
                      <a:pt x="1217" y="2236"/>
                    </a:lnTo>
                    <a:lnTo>
                      <a:pt x="286" y="2236"/>
                    </a:lnTo>
                    <a:lnTo>
                      <a:pt x="286" y="1612"/>
                    </a:lnTo>
                    <a:lnTo>
                      <a:pt x="0" y="1612"/>
                    </a:lnTo>
                    <a:lnTo>
                      <a:pt x="0" y="1441"/>
                    </a:lnTo>
                    <a:lnTo>
                      <a:pt x="1527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fr-BE" dirty="0"/>
              </a:p>
            </p:txBody>
          </p:sp>
        </p:grpSp>
        <p:sp>
          <p:nvSpPr>
            <p:cNvPr id="449" name="ZoneTexte 448"/>
            <p:cNvSpPr txBox="1"/>
            <p:nvPr/>
          </p:nvSpPr>
          <p:spPr>
            <a:xfrm>
              <a:off x="9831821" y="5876176"/>
              <a:ext cx="274480" cy="3657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BE" sz="1000" dirty="0"/>
            </a:p>
          </p:txBody>
        </p:sp>
      </p:grpSp>
      <p:grpSp>
        <p:nvGrpSpPr>
          <p:cNvPr id="452" name="Group 177"/>
          <p:cNvGrpSpPr>
            <a:grpSpLocks noChangeAspect="1"/>
          </p:cNvGrpSpPr>
          <p:nvPr/>
        </p:nvGrpSpPr>
        <p:grpSpPr>
          <a:xfrm>
            <a:off x="5623938" y="2338390"/>
            <a:ext cx="317412" cy="573263"/>
            <a:chOff x="3776015" y="3758265"/>
            <a:chExt cx="1415334" cy="2555774"/>
          </a:xfrm>
          <a:solidFill>
            <a:schemeClr val="bg1"/>
          </a:solidFill>
        </p:grpSpPr>
        <p:sp>
          <p:nvSpPr>
            <p:cNvPr id="453" name="Freeform 1"/>
            <p:cNvSpPr>
              <a:spLocks noChangeAspect="1" noChangeArrowheads="1"/>
            </p:cNvSpPr>
            <p:nvPr/>
          </p:nvSpPr>
          <p:spPr bwMode="auto">
            <a:xfrm>
              <a:off x="4562475" y="5165725"/>
              <a:ext cx="304800" cy="427038"/>
            </a:xfrm>
            <a:custGeom>
              <a:avLst/>
              <a:gdLst>
                <a:gd name="T0" fmla="*/ 844 w 845"/>
                <a:gd name="T1" fmla="*/ 844 h 1188"/>
                <a:gd name="T2" fmla="*/ 844 w 845"/>
                <a:gd name="T3" fmla="*/ 844 h 1188"/>
                <a:gd name="T4" fmla="*/ 781 w 845"/>
                <a:gd name="T5" fmla="*/ 1031 h 1188"/>
                <a:gd name="T6" fmla="*/ 469 w 845"/>
                <a:gd name="T7" fmla="*/ 1187 h 1188"/>
                <a:gd name="T8" fmla="*/ 250 w 845"/>
                <a:gd name="T9" fmla="*/ 1094 h 1188"/>
                <a:gd name="T10" fmla="*/ 0 w 845"/>
                <a:gd name="T11" fmla="*/ 937 h 1188"/>
                <a:gd name="T12" fmla="*/ 0 w 845"/>
                <a:gd name="T13" fmla="*/ 0 h 1188"/>
                <a:gd name="T14" fmla="*/ 844 w 845"/>
                <a:gd name="T15" fmla="*/ 844 h 1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5" h="1188">
                  <a:moveTo>
                    <a:pt x="844" y="844"/>
                  </a:moveTo>
                  <a:lnTo>
                    <a:pt x="844" y="844"/>
                  </a:lnTo>
                  <a:cubicBezTo>
                    <a:pt x="844" y="906"/>
                    <a:pt x="812" y="969"/>
                    <a:pt x="781" y="1031"/>
                  </a:cubicBezTo>
                  <a:cubicBezTo>
                    <a:pt x="719" y="1125"/>
                    <a:pt x="594" y="1187"/>
                    <a:pt x="469" y="1187"/>
                  </a:cubicBezTo>
                  <a:cubicBezTo>
                    <a:pt x="406" y="1187"/>
                    <a:pt x="312" y="1156"/>
                    <a:pt x="250" y="1094"/>
                  </a:cubicBezTo>
                  <a:cubicBezTo>
                    <a:pt x="0" y="937"/>
                    <a:pt x="0" y="937"/>
                    <a:pt x="0" y="9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44" y="84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54" name="Freeform 2"/>
            <p:cNvSpPr>
              <a:spLocks noChangeAspect="1" noChangeArrowheads="1"/>
            </p:cNvSpPr>
            <p:nvPr/>
          </p:nvSpPr>
          <p:spPr bwMode="auto">
            <a:xfrm>
              <a:off x="3776015" y="3903726"/>
              <a:ext cx="203200" cy="214310"/>
            </a:xfrm>
            <a:custGeom>
              <a:avLst/>
              <a:gdLst>
                <a:gd name="T0" fmla="*/ 563 w 564"/>
                <a:gd name="T1" fmla="*/ 282 h 595"/>
                <a:gd name="T2" fmla="*/ 563 w 564"/>
                <a:gd name="T3" fmla="*/ 282 h 595"/>
                <a:gd name="T4" fmla="*/ 282 w 564"/>
                <a:gd name="T5" fmla="*/ 0 h 595"/>
                <a:gd name="T6" fmla="*/ 0 w 564"/>
                <a:gd name="T7" fmla="*/ 282 h 595"/>
                <a:gd name="T8" fmla="*/ 282 w 564"/>
                <a:gd name="T9" fmla="*/ 594 h 595"/>
                <a:gd name="T10" fmla="*/ 563 w 564"/>
                <a:gd name="T11" fmla="*/ 28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4" h="595">
                  <a:moveTo>
                    <a:pt x="563" y="282"/>
                  </a:moveTo>
                  <a:lnTo>
                    <a:pt x="563" y="282"/>
                  </a:lnTo>
                  <a:cubicBezTo>
                    <a:pt x="563" y="125"/>
                    <a:pt x="438" y="0"/>
                    <a:pt x="282" y="0"/>
                  </a:cubicBezTo>
                  <a:cubicBezTo>
                    <a:pt x="125" y="0"/>
                    <a:pt x="0" y="125"/>
                    <a:pt x="0" y="282"/>
                  </a:cubicBezTo>
                  <a:cubicBezTo>
                    <a:pt x="0" y="469"/>
                    <a:pt x="125" y="594"/>
                    <a:pt x="282" y="594"/>
                  </a:cubicBezTo>
                  <a:cubicBezTo>
                    <a:pt x="438" y="594"/>
                    <a:pt x="563" y="469"/>
                    <a:pt x="563" y="28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55" name="Freeform 3"/>
            <p:cNvSpPr>
              <a:spLocks noChangeAspect="1" noChangeArrowheads="1"/>
            </p:cNvSpPr>
            <p:nvPr/>
          </p:nvSpPr>
          <p:spPr bwMode="auto">
            <a:xfrm>
              <a:off x="3953671" y="3758265"/>
              <a:ext cx="1237678" cy="2555774"/>
            </a:xfrm>
            <a:custGeom>
              <a:avLst/>
              <a:gdLst>
                <a:gd name="T0" fmla="*/ 4343 w 4344"/>
                <a:gd name="T1" fmla="*/ 1344 h 8969"/>
                <a:gd name="T2" fmla="*/ 4343 w 4344"/>
                <a:gd name="T3" fmla="*/ 1344 h 8969"/>
                <a:gd name="T4" fmla="*/ 4343 w 4344"/>
                <a:gd name="T5" fmla="*/ 469 h 8969"/>
                <a:gd name="T6" fmla="*/ 3968 w 4344"/>
                <a:gd name="T7" fmla="*/ 0 h 8969"/>
                <a:gd name="T8" fmla="*/ 406 w 4344"/>
                <a:gd name="T9" fmla="*/ 0 h 8969"/>
                <a:gd name="T10" fmla="*/ 94 w 4344"/>
                <a:gd name="T11" fmla="*/ 219 h 8969"/>
                <a:gd name="T12" fmla="*/ 844 w 4344"/>
                <a:gd name="T13" fmla="*/ 969 h 8969"/>
                <a:gd name="T14" fmla="*/ 63 w 4344"/>
                <a:gd name="T15" fmla="*/ 1719 h 8969"/>
                <a:gd name="T16" fmla="*/ 0 w 4344"/>
                <a:gd name="T17" fmla="*/ 1719 h 8969"/>
                <a:gd name="T18" fmla="*/ 0 w 4344"/>
                <a:gd name="T19" fmla="*/ 2375 h 8969"/>
                <a:gd name="T20" fmla="*/ 0 w 4344"/>
                <a:gd name="T21" fmla="*/ 2375 h 8969"/>
                <a:gd name="T22" fmla="*/ 0 w 4344"/>
                <a:gd name="T23" fmla="*/ 3094 h 8969"/>
                <a:gd name="T24" fmla="*/ 406 w 4344"/>
                <a:gd name="T25" fmla="*/ 3531 h 8969"/>
                <a:gd name="T26" fmla="*/ 1375 w 4344"/>
                <a:gd name="T27" fmla="*/ 3531 h 8969"/>
                <a:gd name="T28" fmla="*/ 1375 w 4344"/>
                <a:gd name="T29" fmla="*/ 3906 h 8969"/>
                <a:gd name="T30" fmla="*/ 1375 w 4344"/>
                <a:gd name="T31" fmla="*/ 5374 h 8969"/>
                <a:gd name="T32" fmla="*/ 1781 w 4344"/>
                <a:gd name="T33" fmla="*/ 6124 h 8969"/>
                <a:gd name="T34" fmla="*/ 688 w 4344"/>
                <a:gd name="T35" fmla="*/ 8405 h 8969"/>
                <a:gd name="T36" fmla="*/ 750 w 4344"/>
                <a:gd name="T37" fmla="*/ 8562 h 8969"/>
                <a:gd name="T38" fmla="*/ 1375 w 4344"/>
                <a:gd name="T39" fmla="*/ 8905 h 8969"/>
                <a:gd name="T40" fmla="*/ 1438 w 4344"/>
                <a:gd name="T41" fmla="*/ 8905 h 8969"/>
                <a:gd name="T42" fmla="*/ 1469 w 4344"/>
                <a:gd name="T43" fmla="*/ 8905 h 8969"/>
                <a:gd name="T44" fmla="*/ 1531 w 4344"/>
                <a:gd name="T45" fmla="*/ 8843 h 8969"/>
                <a:gd name="T46" fmla="*/ 2405 w 4344"/>
                <a:gd name="T47" fmla="*/ 6968 h 8969"/>
                <a:gd name="T48" fmla="*/ 3437 w 4344"/>
                <a:gd name="T49" fmla="*/ 8905 h 8969"/>
                <a:gd name="T50" fmla="*/ 3499 w 4344"/>
                <a:gd name="T51" fmla="*/ 8968 h 8969"/>
                <a:gd name="T52" fmla="*/ 3530 w 4344"/>
                <a:gd name="T53" fmla="*/ 8968 h 8969"/>
                <a:gd name="T54" fmla="*/ 3593 w 4344"/>
                <a:gd name="T55" fmla="*/ 8968 h 8969"/>
                <a:gd name="T56" fmla="*/ 4280 w 4344"/>
                <a:gd name="T57" fmla="*/ 8655 h 8969"/>
                <a:gd name="T58" fmla="*/ 4312 w 4344"/>
                <a:gd name="T59" fmla="*/ 8593 h 8969"/>
                <a:gd name="T60" fmla="*/ 4312 w 4344"/>
                <a:gd name="T61" fmla="*/ 8530 h 8969"/>
                <a:gd name="T62" fmla="*/ 3030 w 4344"/>
                <a:gd name="T63" fmla="*/ 5843 h 8969"/>
                <a:gd name="T64" fmla="*/ 3030 w 4344"/>
                <a:gd name="T65" fmla="*/ 5655 h 8969"/>
                <a:gd name="T66" fmla="*/ 3030 w 4344"/>
                <a:gd name="T67" fmla="*/ 5655 h 8969"/>
                <a:gd name="T68" fmla="*/ 3030 w 4344"/>
                <a:gd name="T69" fmla="*/ 3688 h 8969"/>
                <a:gd name="T70" fmla="*/ 3030 w 4344"/>
                <a:gd name="T71" fmla="*/ 3531 h 8969"/>
                <a:gd name="T72" fmla="*/ 3968 w 4344"/>
                <a:gd name="T73" fmla="*/ 3531 h 8969"/>
                <a:gd name="T74" fmla="*/ 4343 w 4344"/>
                <a:gd name="T75" fmla="*/ 3094 h 8969"/>
                <a:gd name="T76" fmla="*/ 4343 w 4344"/>
                <a:gd name="T77" fmla="*/ 2375 h 8969"/>
                <a:gd name="T78" fmla="*/ 4343 w 4344"/>
                <a:gd name="T79" fmla="*/ 2375 h 8969"/>
                <a:gd name="T80" fmla="*/ 4343 w 4344"/>
                <a:gd name="T81" fmla="*/ 1344 h 8969"/>
                <a:gd name="T82" fmla="*/ 3593 w 4344"/>
                <a:gd name="T83" fmla="*/ 2844 h 8969"/>
                <a:gd name="T84" fmla="*/ 3593 w 4344"/>
                <a:gd name="T85" fmla="*/ 2844 h 8969"/>
                <a:gd name="T86" fmla="*/ 1000 w 4344"/>
                <a:gd name="T87" fmla="*/ 2844 h 8969"/>
                <a:gd name="T88" fmla="*/ 1000 w 4344"/>
                <a:gd name="T89" fmla="*/ 625 h 8969"/>
                <a:gd name="T90" fmla="*/ 3593 w 4344"/>
                <a:gd name="T91" fmla="*/ 625 h 8969"/>
                <a:gd name="T92" fmla="*/ 3593 w 4344"/>
                <a:gd name="T93" fmla="*/ 2844 h 8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344" h="8969">
                  <a:moveTo>
                    <a:pt x="4343" y="1344"/>
                  </a:moveTo>
                  <a:lnTo>
                    <a:pt x="4343" y="1344"/>
                  </a:lnTo>
                  <a:cubicBezTo>
                    <a:pt x="4343" y="469"/>
                    <a:pt x="4343" y="469"/>
                    <a:pt x="4343" y="469"/>
                  </a:cubicBezTo>
                  <a:cubicBezTo>
                    <a:pt x="4343" y="219"/>
                    <a:pt x="4187" y="0"/>
                    <a:pt x="3968" y="0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250" y="0"/>
                    <a:pt x="156" y="94"/>
                    <a:pt x="94" y="219"/>
                  </a:cubicBezTo>
                  <a:cubicBezTo>
                    <a:pt x="500" y="219"/>
                    <a:pt x="844" y="563"/>
                    <a:pt x="844" y="969"/>
                  </a:cubicBezTo>
                  <a:cubicBezTo>
                    <a:pt x="844" y="1375"/>
                    <a:pt x="500" y="1719"/>
                    <a:pt x="63" y="1719"/>
                  </a:cubicBezTo>
                  <a:cubicBezTo>
                    <a:pt x="31" y="1719"/>
                    <a:pt x="31" y="1719"/>
                    <a:pt x="0" y="1719"/>
                  </a:cubicBezTo>
                  <a:cubicBezTo>
                    <a:pt x="0" y="2375"/>
                    <a:pt x="0" y="2375"/>
                    <a:pt x="0" y="2375"/>
                  </a:cubicBezTo>
                  <a:lnTo>
                    <a:pt x="0" y="2375"/>
                  </a:lnTo>
                  <a:cubicBezTo>
                    <a:pt x="0" y="3094"/>
                    <a:pt x="0" y="3094"/>
                    <a:pt x="0" y="3094"/>
                  </a:cubicBezTo>
                  <a:cubicBezTo>
                    <a:pt x="0" y="3344"/>
                    <a:pt x="188" y="3531"/>
                    <a:pt x="406" y="3531"/>
                  </a:cubicBezTo>
                  <a:cubicBezTo>
                    <a:pt x="1375" y="3531"/>
                    <a:pt x="1375" y="3531"/>
                    <a:pt x="1375" y="3531"/>
                  </a:cubicBezTo>
                  <a:cubicBezTo>
                    <a:pt x="1375" y="3656"/>
                    <a:pt x="1375" y="3813"/>
                    <a:pt x="1375" y="3906"/>
                  </a:cubicBezTo>
                  <a:cubicBezTo>
                    <a:pt x="1375" y="5374"/>
                    <a:pt x="1375" y="5374"/>
                    <a:pt x="1375" y="5374"/>
                  </a:cubicBezTo>
                  <a:cubicBezTo>
                    <a:pt x="1375" y="5687"/>
                    <a:pt x="1531" y="5968"/>
                    <a:pt x="1781" y="6124"/>
                  </a:cubicBezTo>
                  <a:cubicBezTo>
                    <a:pt x="688" y="8405"/>
                    <a:pt x="688" y="8405"/>
                    <a:pt x="688" y="8405"/>
                  </a:cubicBezTo>
                  <a:cubicBezTo>
                    <a:pt x="656" y="8468"/>
                    <a:pt x="688" y="8530"/>
                    <a:pt x="750" y="8562"/>
                  </a:cubicBezTo>
                  <a:cubicBezTo>
                    <a:pt x="1375" y="8905"/>
                    <a:pt x="1375" y="8905"/>
                    <a:pt x="1375" y="8905"/>
                  </a:cubicBezTo>
                  <a:cubicBezTo>
                    <a:pt x="1406" y="8905"/>
                    <a:pt x="1406" y="8905"/>
                    <a:pt x="1438" y="8905"/>
                  </a:cubicBezTo>
                  <a:lnTo>
                    <a:pt x="1469" y="8905"/>
                  </a:lnTo>
                  <a:cubicBezTo>
                    <a:pt x="1500" y="8905"/>
                    <a:pt x="1531" y="8874"/>
                    <a:pt x="1531" y="8843"/>
                  </a:cubicBezTo>
                  <a:cubicBezTo>
                    <a:pt x="2405" y="6968"/>
                    <a:pt x="2405" y="6968"/>
                    <a:pt x="2405" y="6968"/>
                  </a:cubicBezTo>
                  <a:cubicBezTo>
                    <a:pt x="3437" y="8905"/>
                    <a:pt x="3437" y="8905"/>
                    <a:pt x="3437" y="8905"/>
                  </a:cubicBezTo>
                  <a:cubicBezTo>
                    <a:pt x="3437" y="8937"/>
                    <a:pt x="3468" y="8968"/>
                    <a:pt x="3499" y="8968"/>
                  </a:cubicBezTo>
                  <a:lnTo>
                    <a:pt x="3530" y="8968"/>
                  </a:lnTo>
                  <a:cubicBezTo>
                    <a:pt x="3562" y="8968"/>
                    <a:pt x="3562" y="8968"/>
                    <a:pt x="3593" y="8968"/>
                  </a:cubicBezTo>
                  <a:cubicBezTo>
                    <a:pt x="4280" y="8655"/>
                    <a:pt x="4280" y="8655"/>
                    <a:pt x="4280" y="8655"/>
                  </a:cubicBezTo>
                  <a:cubicBezTo>
                    <a:pt x="4280" y="8655"/>
                    <a:pt x="4312" y="8624"/>
                    <a:pt x="4312" y="8593"/>
                  </a:cubicBezTo>
                  <a:cubicBezTo>
                    <a:pt x="4343" y="8562"/>
                    <a:pt x="4312" y="8530"/>
                    <a:pt x="4312" y="8530"/>
                  </a:cubicBezTo>
                  <a:cubicBezTo>
                    <a:pt x="3030" y="5843"/>
                    <a:pt x="3030" y="5843"/>
                    <a:pt x="3030" y="5843"/>
                  </a:cubicBezTo>
                  <a:cubicBezTo>
                    <a:pt x="3030" y="5655"/>
                    <a:pt x="3030" y="5655"/>
                    <a:pt x="3030" y="5655"/>
                  </a:cubicBezTo>
                  <a:lnTo>
                    <a:pt x="3030" y="5655"/>
                  </a:lnTo>
                  <a:cubicBezTo>
                    <a:pt x="3030" y="3688"/>
                    <a:pt x="3030" y="3688"/>
                    <a:pt x="3030" y="3688"/>
                  </a:cubicBezTo>
                  <a:cubicBezTo>
                    <a:pt x="3030" y="3656"/>
                    <a:pt x="3030" y="3594"/>
                    <a:pt x="3030" y="3531"/>
                  </a:cubicBezTo>
                  <a:cubicBezTo>
                    <a:pt x="3968" y="3531"/>
                    <a:pt x="3968" y="3531"/>
                    <a:pt x="3968" y="3531"/>
                  </a:cubicBezTo>
                  <a:cubicBezTo>
                    <a:pt x="4187" y="3531"/>
                    <a:pt x="4343" y="3344"/>
                    <a:pt x="4343" y="3094"/>
                  </a:cubicBezTo>
                  <a:cubicBezTo>
                    <a:pt x="4343" y="2375"/>
                    <a:pt x="4343" y="2375"/>
                    <a:pt x="4343" y="2375"/>
                  </a:cubicBezTo>
                  <a:lnTo>
                    <a:pt x="4343" y="2375"/>
                  </a:lnTo>
                  <a:cubicBezTo>
                    <a:pt x="4343" y="1344"/>
                    <a:pt x="4343" y="1344"/>
                    <a:pt x="4343" y="1344"/>
                  </a:cubicBezTo>
                  <a:close/>
                  <a:moveTo>
                    <a:pt x="3593" y="2844"/>
                  </a:moveTo>
                  <a:lnTo>
                    <a:pt x="3593" y="2844"/>
                  </a:lnTo>
                  <a:cubicBezTo>
                    <a:pt x="1000" y="2844"/>
                    <a:pt x="1000" y="2844"/>
                    <a:pt x="1000" y="2844"/>
                  </a:cubicBezTo>
                  <a:cubicBezTo>
                    <a:pt x="1000" y="625"/>
                    <a:pt x="1000" y="625"/>
                    <a:pt x="1000" y="625"/>
                  </a:cubicBezTo>
                  <a:cubicBezTo>
                    <a:pt x="3593" y="625"/>
                    <a:pt x="3593" y="625"/>
                    <a:pt x="3593" y="625"/>
                  </a:cubicBezTo>
                  <a:lnTo>
                    <a:pt x="3593" y="284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456" name="Freeform 22"/>
          <p:cNvSpPr>
            <a:spLocks noChangeAspect="1" noChangeArrowheads="1"/>
          </p:cNvSpPr>
          <p:nvPr/>
        </p:nvSpPr>
        <p:spPr bwMode="auto">
          <a:xfrm>
            <a:off x="5355537" y="3404297"/>
            <a:ext cx="384453" cy="236884"/>
          </a:xfrm>
          <a:custGeom>
            <a:avLst/>
            <a:gdLst>
              <a:gd name="T0" fmla="*/ 1625 w 5375"/>
              <a:gd name="T1" fmla="*/ 1749 h 3313"/>
              <a:gd name="T2" fmla="*/ 1625 w 5375"/>
              <a:gd name="T3" fmla="*/ 1749 h 3313"/>
              <a:gd name="T4" fmla="*/ 2688 w 5375"/>
              <a:gd name="T5" fmla="*/ 3062 h 3313"/>
              <a:gd name="T6" fmla="*/ 2688 w 5375"/>
              <a:gd name="T7" fmla="*/ 3031 h 3313"/>
              <a:gd name="T8" fmla="*/ 2688 w 5375"/>
              <a:gd name="T9" fmla="*/ 1125 h 3313"/>
              <a:gd name="T10" fmla="*/ 3093 w 5375"/>
              <a:gd name="T11" fmla="*/ 625 h 3313"/>
              <a:gd name="T12" fmla="*/ 4749 w 5375"/>
              <a:gd name="T13" fmla="*/ 625 h 3313"/>
              <a:gd name="T14" fmla="*/ 2968 w 5375"/>
              <a:gd name="T15" fmla="*/ 32 h 3313"/>
              <a:gd name="T16" fmla="*/ 2657 w 5375"/>
              <a:gd name="T17" fmla="*/ 0 h 3313"/>
              <a:gd name="T18" fmla="*/ 2344 w 5375"/>
              <a:gd name="T19" fmla="*/ 0 h 3313"/>
              <a:gd name="T20" fmla="*/ 1532 w 5375"/>
              <a:gd name="T21" fmla="*/ 719 h 3313"/>
              <a:gd name="T22" fmla="*/ 1532 w 5375"/>
              <a:gd name="T23" fmla="*/ 1438 h 3313"/>
              <a:gd name="T24" fmla="*/ 1625 w 5375"/>
              <a:gd name="T25" fmla="*/ 1749 h 3313"/>
              <a:gd name="T26" fmla="*/ 5031 w 5375"/>
              <a:gd name="T27" fmla="*/ 813 h 3313"/>
              <a:gd name="T28" fmla="*/ 5031 w 5375"/>
              <a:gd name="T29" fmla="*/ 813 h 3313"/>
              <a:gd name="T30" fmla="*/ 3218 w 5375"/>
              <a:gd name="T31" fmla="*/ 813 h 3313"/>
              <a:gd name="T32" fmla="*/ 2874 w 5375"/>
              <a:gd name="T33" fmla="*/ 1219 h 3313"/>
              <a:gd name="T34" fmla="*/ 2874 w 5375"/>
              <a:gd name="T35" fmla="*/ 2906 h 3313"/>
              <a:gd name="T36" fmla="*/ 3218 w 5375"/>
              <a:gd name="T37" fmla="*/ 3312 h 3313"/>
              <a:gd name="T38" fmla="*/ 5031 w 5375"/>
              <a:gd name="T39" fmla="*/ 3312 h 3313"/>
              <a:gd name="T40" fmla="*/ 5374 w 5375"/>
              <a:gd name="T41" fmla="*/ 2906 h 3313"/>
              <a:gd name="T42" fmla="*/ 5374 w 5375"/>
              <a:gd name="T43" fmla="*/ 1219 h 3313"/>
              <a:gd name="T44" fmla="*/ 5031 w 5375"/>
              <a:gd name="T45" fmla="*/ 813 h 3313"/>
              <a:gd name="T46" fmla="*/ 563 w 5375"/>
              <a:gd name="T47" fmla="*/ 1000 h 3313"/>
              <a:gd name="T48" fmla="*/ 563 w 5375"/>
              <a:gd name="T49" fmla="*/ 1000 h 3313"/>
              <a:gd name="T50" fmla="*/ 31 w 5375"/>
              <a:gd name="T51" fmla="*/ 1375 h 3313"/>
              <a:gd name="T52" fmla="*/ 63 w 5375"/>
              <a:gd name="T53" fmla="*/ 1594 h 3313"/>
              <a:gd name="T54" fmla="*/ 219 w 5375"/>
              <a:gd name="T55" fmla="*/ 1781 h 3313"/>
              <a:gd name="T56" fmla="*/ 719 w 5375"/>
              <a:gd name="T57" fmla="*/ 1500 h 3313"/>
              <a:gd name="T58" fmla="*/ 1407 w 5375"/>
              <a:gd name="T59" fmla="*/ 1375 h 3313"/>
              <a:gd name="T60" fmla="*/ 1407 w 5375"/>
              <a:gd name="T61" fmla="*/ 813 h 3313"/>
              <a:gd name="T62" fmla="*/ 563 w 5375"/>
              <a:gd name="T63" fmla="*/ 1000 h 3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375" h="3313">
                <a:moveTo>
                  <a:pt x="1625" y="1749"/>
                </a:moveTo>
                <a:lnTo>
                  <a:pt x="1625" y="1749"/>
                </a:lnTo>
                <a:cubicBezTo>
                  <a:pt x="2688" y="3062"/>
                  <a:pt x="2688" y="3062"/>
                  <a:pt x="2688" y="3062"/>
                </a:cubicBezTo>
                <a:lnTo>
                  <a:pt x="2688" y="3031"/>
                </a:lnTo>
                <a:cubicBezTo>
                  <a:pt x="2688" y="1125"/>
                  <a:pt x="2688" y="1125"/>
                  <a:pt x="2688" y="1125"/>
                </a:cubicBezTo>
                <a:cubicBezTo>
                  <a:pt x="2688" y="844"/>
                  <a:pt x="2843" y="625"/>
                  <a:pt x="3093" y="625"/>
                </a:cubicBezTo>
                <a:cubicBezTo>
                  <a:pt x="4749" y="625"/>
                  <a:pt x="4749" y="625"/>
                  <a:pt x="4749" y="625"/>
                </a:cubicBezTo>
                <a:cubicBezTo>
                  <a:pt x="2968" y="32"/>
                  <a:pt x="2968" y="32"/>
                  <a:pt x="2968" y="32"/>
                </a:cubicBezTo>
                <a:cubicBezTo>
                  <a:pt x="2874" y="32"/>
                  <a:pt x="2657" y="0"/>
                  <a:pt x="2657" y="0"/>
                </a:cubicBezTo>
                <a:cubicBezTo>
                  <a:pt x="2344" y="0"/>
                  <a:pt x="2344" y="0"/>
                  <a:pt x="2344" y="0"/>
                </a:cubicBezTo>
                <a:cubicBezTo>
                  <a:pt x="2157" y="63"/>
                  <a:pt x="1688" y="157"/>
                  <a:pt x="1532" y="719"/>
                </a:cubicBezTo>
                <a:cubicBezTo>
                  <a:pt x="1532" y="1438"/>
                  <a:pt x="1532" y="1438"/>
                  <a:pt x="1532" y="1438"/>
                </a:cubicBezTo>
                <a:cubicBezTo>
                  <a:pt x="1532" y="1625"/>
                  <a:pt x="1625" y="1749"/>
                  <a:pt x="1625" y="1749"/>
                </a:cubicBezTo>
                <a:close/>
                <a:moveTo>
                  <a:pt x="5031" y="813"/>
                </a:moveTo>
                <a:lnTo>
                  <a:pt x="5031" y="813"/>
                </a:lnTo>
                <a:cubicBezTo>
                  <a:pt x="3218" y="813"/>
                  <a:pt x="3218" y="813"/>
                  <a:pt x="3218" y="813"/>
                </a:cubicBezTo>
                <a:cubicBezTo>
                  <a:pt x="3031" y="813"/>
                  <a:pt x="2874" y="1000"/>
                  <a:pt x="2874" y="1219"/>
                </a:cubicBezTo>
                <a:cubicBezTo>
                  <a:pt x="2874" y="2906"/>
                  <a:pt x="2874" y="2906"/>
                  <a:pt x="2874" y="2906"/>
                </a:cubicBezTo>
                <a:cubicBezTo>
                  <a:pt x="2874" y="3124"/>
                  <a:pt x="3031" y="3312"/>
                  <a:pt x="3218" y="3312"/>
                </a:cubicBezTo>
                <a:cubicBezTo>
                  <a:pt x="5031" y="3312"/>
                  <a:pt x="5031" y="3312"/>
                  <a:pt x="5031" y="3312"/>
                </a:cubicBezTo>
                <a:cubicBezTo>
                  <a:pt x="5218" y="3312"/>
                  <a:pt x="5374" y="3124"/>
                  <a:pt x="5374" y="2906"/>
                </a:cubicBezTo>
                <a:cubicBezTo>
                  <a:pt x="5374" y="1219"/>
                  <a:pt x="5374" y="1219"/>
                  <a:pt x="5374" y="1219"/>
                </a:cubicBezTo>
                <a:cubicBezTo>
                  <a:pt x="5374" y="1000"/>
                  <a:pt x="5218" y="813"/>
                  <a:pt x="5031" y="813"/>
                </a:cubicBezTo>
                <a:close/>
                <a:moveTo>
                  <a:pt x="563" y="1000"/>
                </a:moveTo>
                <a:lnTo>
                  <a:pt x="563" y="1000"/>
                </a:lnTo>
                <a:cubicBezTo>
                  <a:pt x="188" y="1188"/>
                  <a:pt x="31" y="1375"/>
                  <a:pt x="31" y="1375"/>
                </a:cubicBezTo>
                <a:cubicBezTo>
                  <a:pt x="31" y="1375"/>
                  <a:pt x="0" y="1500"/>
                  <a:pt x="63" y="1594"/>
                </a:cubicBezTo>
                <a:cubicBezTo>
                  <a:pt x="125" y="1781"/>
                  <a:pt x="219" y="1781"/>
                  <a:pt x="219" y="1781"/>
                </a:cubicBezTo>
                <a:cubicBezTo>
                  <a:pt x="219" y="1781"/>
                  <a:pt x="532" y="1563"/>
                  <a:pt x="719" y="1500"/>
                </a:cubicBezTo>
                <a:cubicBezTo>
                  <a:pt x="1094" y="1344"/>
                  <a:pt x="1407" y="1375"/>
                  <a:pt x="1407" y="1375"/>
                </a:cubicBezTo>
                <a:cubicBezTo>
                  <a:pt x="1407" y="813"/>
                  <a:pt x="1407" y="813"/>
                  <a:pt x="1407" y="813"/>
                </a:cubicBezTo>
                <a:cubicBezTo>
                  <a:pt x="1407" y="813"/>
                  <a:pt x="938" y="782"/>
                  <a:pt x="563" y="10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91406" tIns="45702" rIns="91406" bIns="45702" anchor="ctr"/>
          <a:lstStyle/>
          <a:p>
            <a:endParaRPr lang="en-US" dirty="0"/>
          </a:p>
        </p:txBody>
      </p:sp>
      <p:sp>
        <p:nvSpPr>
          <p:cNvPr id="457" name="Freeform 24"/>
          <p:cNvSpPr>
            <a:spLocks noChangeAspect="1" noChangeArrowheads="1"/>
          </p:cNvSpPr>
          <p:nvPr/>
        </p:nvSpPr>
        <p:spPr bwMode="auto">
          <a:xfrm>
            <a:off x="4899676" y="3207751"/>
            <a:ext cx="386668" cy="236884"/>
          </a:xfrm>
          <a:custGeom>
            <a:avLst/>
            <a:gdLst>
              <a:gd name="T0" fmla="*/ 3843 w 5407"/>
              <a:gd name="T1" fmla="*/ 1469 h 3313"/>
              <a:gd name="T2" fmla="*/ 3843 w 5407"/>
              <a:gd name="T3" fmla="*/ 1469 h 3313"/>
              <a:gd name="T4" fmla="*/ 3843 w 5407"/>
              <a:gd name="T5" fmla="*/ 219 h 3313"/>
              <a:gd name="T6" fmla="*/ 3781 w 5407"/>
              <a:gd name="T7" fmla="*/ 63 h 3313"/>
              <a:gd name="T8" fmla="*/ 3624 w 5407"/>
              <a:gd name="T9" fmla="*/ 0 h 3313"/>
              <a:gd name="T10" fmla="*/ 2688 w 5407"/>
              <a:gd name="T11" fmla="*/ 0 h 3313"/>
              <a:gd name="T12" fmla="*/ 2344 w 5407"/>
              <a:gd name="T13" fmla="*/ 63 h 3313"/>
              <a:gd name="T14" fmla="*/ 625 w 5407"/>
              <a:gd name="T15" fmla="*/ 625 h 3313"/>
              <a:gd name="T16" fmla="*/ 2313 w 5407"/>
              <a:gd name="T17" fmla="*/ 625 h 3313"/>
              <a:gd name="T18" fmla="*/ 2718 w 5407"/>
              <a:gd name="T19" fmla="*/ 1125 h 3313"/>
              <a:gd name="T20" fmla="*/ 2718 w 5407"/>
              <a:gd name="T21" fmla="*/ 3030 h 3313"/>
              <a:gd name="T22" fmla="*/ 2718 w 5407"/>
              <a:gd name="T23" fmla="*/ 3062 h 3313"/>
              <a:gd name="T24" fmla="*/ 3718 w 5407"/>
              <a:gd name="T25" fmla="*/ 1812 h 3313"/>
              <a:gd name="T26" fmla="*/ 3843 w 5407"/>
              <a:gd name="T27" fmla="*/ 1469 h 3313"/>
              <a:gd name="T28" fmla="*/ 2157 w 5407"/>
              <a:gd name="T29" fmla="*/ 813 h 3313"/>
              <a:gd name="T30" fmla="*/ 2157 w 5407"/>
              <a:gd name="T31" fmla="*/ 813 h 3313"/>
              <a:gd name="T32" fmla="*/ 375 w 5407"/>
              <a:gd name="T33" fmla="*/ 813 h 3313"/>
              <a:gd name="T34" fmla="*/ 0 w 5407"/>
              <a:gd name="T35" fmla="*/ 1156 h 3313"/>
              <a:gd name="T36" fmla="*/ 0 w 5407"/>
              <a:gd name="T37" fmla="*/ 2905 h 3313"/>
              <a:gd name="T38" fmla="*/ 375 w 5407"/>
              <a:gd name="T39" fmla="*/ 3312 h 3313"/>
              <a:gd name="T40" fmla="*/ 2157 w 5407"/>
              <a:gd name="T41" fmla="*/ 3312 h 3313"/>
              <a:gd name="T42" fmla="*/ 2500 w 5407"/>
              <a:gd name="T43" fmla="*/ 2905 h 3313"/>
              <a:gd name="T44" fmla="*/ 2500 w 5407"/>
              <a:gd name="T45" fmla="*/ 1219 h 3313"/>
              <a:gd name="T46" fmla="*/ 2157 w 5407"/>
              <a:gd name="T47" fmla="*/ 813 h 3313"/>
              <a:gd name="T48" fmla="*/ 5374 w 5407"/>
              <a:gd name="T49" fmla="*/ 1344 h 3313"/>
              <a:gd name="T50" fmla="*/ 5374 w 5407"/>
              <a:gd name="T51" fmla="*/ 1344 h 3313"/>
              <a:gd name="T52" fmla="*/ 4843 w 5407"/>
              <a:gd name="T53" fmla="*/ 1000 h 3313"/>
              <a:gd name="T54" fmla="*/ 3999 w 5407"/>
              <a:gd name="T55" fmla="*/ 813 h 3313"/>
              <a:gd name="T56" fmla="*/ 3999 w 5407"/>
              <a:gd name="T57" fmla="*/ 1375 h 3313"/>
              <a:gd name="T58" fmla="*/ 4687 w 5407"/>
              <a:gd name="T59" fmla="*/ 1500 h 3313"/>
              <a:gd name="T60" fmla="*/ 5187 w 5407"/>
              <a:gd name="T61" fmla="*/ 1780 h 3313"/>
              <a:gd name="T62" fmla="*/ 5374 w 5407"/>
              <a:gd name="T63" fmla="*/ 1625 h 3313"/>
              <a:gd name="T64" fmla="*/ 5374 w 5407"/>
              <a:gd name="T65" fmla="*/ 1344 h 3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407" h="3313">
                <a:moveTo>
                  <a:pt x="3843" y="1469"/>
                </a:moveTo>
                <a:lnTo>
                  <a:pt x="3843" y="1469"/>
                </a:lnTo>
                <a:cubicBezTo>
                  <a:pt x="3843" y="219"/>
                  <a:pt x="3843" y="219"/>
                  <a:pt x="3843" y="219"/>
                </a:cubicBezTo>
                <a:cubicBezTo>
                  <a:pt x="3843" y="219"/>
                  <a:pt x="3843" y="125"/>
                  <a:pt x="3781" y="63"/>
                </a:cubicBezTo>
                <a:cubicBezTo>
                  <a:pt x="3718" y="0"/>
                  <a:pt x="3624" y="0"/>
                  <a:pt x="3624" y="0"/>
                </a:cubicBezTo>
                <a:cubicBezTo>
                  <a:pt x="2688" y="0"/>
                  <a:pt x="2688" y="0"/>
                  <a:pt x="2688" y="0"/>
                </a:cubicBezTo>
                <a:cubicBezTo>
                  <a:pt x="2594" y="0"/>
                  <a:pt x="2344" y="63"/>
                  <a:pt x="2344" y="63"/>
                </a:cubicBezTo>
                <a:cubicBezTo>
                  <a:pt x="625" y="625"/>
                  <a:pt x="625" y="625"/>
                  <a:pt x="625" y="625"/>
                </a:cubicBezTo>
                <a:cubicBezTo>
                  <a:pt x="2313" y="625"/>
                  <a:pt x="2313" y="625"/>
                  <a:pt x="2313" y="625"/>
                </a:cubicBezTo>
                <a:cubicBezTo>
                  <a:pt x="2532" y="625"/>
                  <a:pt x="2718" y="844"/>
                  <a:pt x="2718" y="1125"/>
                </a:cubicBezTo>
                <a:cubicBezTo>
                  <a:pt x="2718" y="3030"/>
                  <a:pt x="2718" y="3030"/>
                  <a:pt x="2718" y="3030"/>
                </a:cubicBezTo>
                <a:lnTo>
                  <a:pt x="2718" y="3062"/>
                </a:lnTo>
                <a:cubicBezTo>
                  <a:pt x="3718" y="1812"/>
                  <a:pt x="3718" y="1812"/>
                  <a:pt x="3718" y="1812"/>
                </a:cubicBezTo>
                <a:cubicBezTo>
                  <a:pt x="3718" y="1812"/>
                  <a:pt x="3843" y="1625"/>
                  <a:pt x="3843" y="1469"/>
                </a:cubicBezTo>
                <a:close/>
                <a:moveTo>
                  <a:pt x="2157" y="813"/>
                </a:moveTo>
                <a:lnTo>
                  <a:pt x="2157" y="813"/>
                </a:lnTo>
                <a:cubicBezTo>
                  <a:pt x="375" y="813"/>
                  <a:pt x="375" y="813"/>
                  <a:pt x="375" y="813"/>
                </a:cubicBezTo>
                <a:cubicBezTo>
                  <a:pt x="188" y="813"/>
                  <a:pt x="32" y="969"/>
                  <a:pt x="0" y="1156"/>
                </a:cubicBezTo>
                <a:cubicBezTo>
                  <a:pt x="32" y="1156"/>
                  <a:pt x="0" y="2905"/>
                  <a:pt x="0" y="2905"/>
                </a:cubicBezTo>
                <a:cubicBezTo>
                  <a:pt x="0" y="3124"/>
                  <a:pt x="156" y="3312"/>
                  <a:pt x="375" y="3312"/>
                </a:cubicBezTo>
                <a:cubicBezTo>
                  <a:pt x="2157" y="3312"/>
                  <a:pt x="2157" y="3312"/>
                  <a:pt x="2157" y="3312"/>
                </a:cubicBezTo>
                <a:cubicBezTo>
                  <a:pt x="2344" y="3312"/>
                  <a:pt x="2500" y="3124"/>
                  <a:pt x="2500" y="2905"/>
                </a:cubicBezTo>
                <a:cubicBezTo>
                  <a:pt x="2500" y="1219"/>
                  <a:pt x="2500" y="1219"/>
                  <a:pt x="2500" y="1219"/>
                </a:cubicBezTo>
                <a:cubicBezTo>
                  <a:pt x="2500" y="1000"/>
                  <a:pt x="2344" y="813"/>
                  <a:pt x="2157" y="813"/>
                </a:cubicBezTo>
                <a:close/>
                <a:moveTo>
                  <a:pt x="5374" y="1344"/>
                </a:moveTo>
                <a:lnTo>
                  <a:pt x="5374" y="1344"/>
                </a:lnTo>
                <a:cubicBezTo>
                  <a:pt x="5374" y="1344"/>
                  <a:pt x="5218" y="1188"/>
                  <a:pt x="4843" y="1000"/>
                </a:cubicBezTo>
                <a:cubicBezTo>
                  <a:pt x="4468" y="781"/>
                  <a:pt x="3999" y="813"/>
                  <a:pt x="3999" y="813"/>
                </a:cubicBezTo>
                <a:cubicBezTo>
                  <a:pt x="3999" y="1375"/>
                  <a:pt x="3999" y="1375"/>
                  <a:pt x="3999" y="1375"/>
                </a:cubicBezTo>
                <a:cubicBezTo>
                  <a:pt x="3999" y="1375"/>
                  <a:pt x="4312" y="1344"/>
                  <a:pt x="4687" y="1500"/>
                </a:cubicBezTo>
                <a:cubicBezTo>
                  <a:pt x="4874" y="1563"/>
                  <a:pt x="5187" y="1780"/>
                  <a:pt x="5187" y="1780"/>
                </a:cubicBezTo>
                <a:cubicBezTo>
                  <a:pt x="5187" y="1780"/>
                  <a:pt x="5281" y="1812"/>
                  <a:pt x="5374" y="1625"/>
                </a:cubicBezTo>
                <a:cubicBezTo>
                  <a:pt x="5406" y="1500"/>
                  <a:pt x="5374" y="1344"/>
                  <a:pt x="5374" y="13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91406" tIns="45702" rIns="91406" bIns="45702" anchor="ctr"/>
          <a:lstStyle/>
          <a:p>
            <a:endParaRPr lang="en-US" dirty="0"/>
          </a:p>
        </p:txBody>
      </p:sp>
      <p:grpSp>
        <p:nvGrpSpPr>
          <p:cNvPr id="458" name="Groupe 262"/>
          <p:cNvGrpSpPr/>
          <p:nvPr/>
        </p:nvGrpSpPr>
        <p:grpSpPr>
          <a:xfrm>
            <a:off x="3149534" y="1925847"/>
            <a:ext cx="1402157" cy="1376848"/>
            <a:chOff x="2098456" y="2032851"/>
            <a:chExt cx="1633892" cy="1604184"/>
          </a:xfrm>
        </p:grpSpPr>
        <p:sp>
          <p:nvSpPr>
            <p:cNvPr id="459" name="Oval 20"/>
            <p:cNvSpPr/>
            <p:nvPr/>
          </p:nvSpPr>
          <p:spPr bwMode="auto">
            <a:xfrm>
              <a:off x="2098456" y="2032851"/>
              <a:ext cx="1633892" cy="1604184"/>
            </a:xfrm>
            <a:prstGeom prst="ellipse">
              <a:avLst/>
            </a:prstGeom>
            <a:solidFill>
              <a:srgbClr val="1C588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9664" tIns="34832" rIns="69664" bIns="34832" numCol="1" rtlCol="0" anchor="ctr" anchorCtr="0" compatLnSpc="1">
              <a:prstTxWarp prst="textNoShape">
                <a:avLst/>
              </a:prstTxWarp>
              <a:normAutofit/>
            </a:bodyPr>
            <a:lstStyle/>
            <a:p>
              <a:pPr defTabSz="696602"/>
              <a:endParaRPr lang="en-US" sz="1400" dirty="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grpSp>
          <p:nvGrpSpPr>
            <p:cNvPr id="460" name="Group 170"/>
            <p:cNvGrpSpPr>
              <a:grpSpLocks noChangeAspect="1"/>
            </p:cNvGrpSpPr>
            <p:nvPr/>
          </p:nvGrpSpPr>
          <p:grpSpPr>
            <a:xfrm>
              <a:off x="2525566" y="2569928"/>
              <a:ext cx="300866" cy="400433"/>
              <a:chOff x="6376144" y="3467345"/>
              <a:chExt cx="1203431" cy="1601724"/>
            </a:xfrm>
            <a:solidFill>
              <a:srgbClr val="00B9E1"/>
            </a:solidFill>
          </p:grpSpPr>
          <p:sp>
            <p:nvSpPr>
              <p:cNvPr id="462" name="Freeform 19"/>
              <p:cNvSpPr>
                <a:spLocks noChangeAspect="1" noChangeArrowheads="1"/>
              </p:cNvSpPr>
              <p:nvPr/>
            </p:nvSpPr>
            <p:spPr bwMode="auto">
              <a:xfrm>
                <a:off x="6376144" y="3467345"/>
                <a:ext cx="1203431" cy="1601724"/>
              </a:xfrm>
              <a:custGeom>
                <a:avLst/>
                <a:gdLst>
                  <a:gd name="T0" fmla="*/ 2999 w 4344"/>
                  <a:gd name="T1" fmla="*/ 2469 h 5782"/>
                  <a:gd name="T2" fmla="*/ 2999 w 4344"/>
                  <a:gd name="T3" fmla="*/ 2469 h 5782"/>
                  <a:gd name="T4" fmla="*/ 3311 w 4344"/>
                  <a:gd name="T5" fmla="*/ 2500 h 5782"/>
                  <a:gd name="T6" fmla="*/ 3311 w 4344"/>
                  <a:gd name="T7" fmla="*/ 2469 h 5782"/>
                  <a:gd name="T8" fmla="*/ 3405 w 4344"/>
                  <a:gd name="T9" fmla="*/ 2438 h 5782"/>
                  <a:gd name="T10" fmla="*/ 4311 w 4344"/>
                  <a:gd name="T11" fmla="*/ 501 h 5782"/>
                  <a:gd name="T12" fmla="*/ 4311 w 4344"/>
                  <a:gd name="T13" fmla="*/ 501 h 5782"/>
                  <a:gd name="T14" fmla="*/ 3936 w 4344"/>
                  <a:gd name="T15" fmla="*/ 188 h 5782"/>
                  <a:gd name="T16" fmla="*/ 3405 w 4344"/>
                  <a:gd name="T17" fmla="*/ 63 h 5782"/>
                  <a:gd name="T18" fmla="*/ 3249 w 4344"/>
                  <a:gd name="T19" fmla="*/ 376 h 5782"/>
                  <a:gd name="T20" fmla="*/ 3468 w 4344"/>
                  <a:gd name="T21" fmla="*/ 688 h 5782"/>
                  <a:gd name="T22" fmla="*/ 2968 w 4344"/>
                  <a:gd name="T23" fmla="*/ 1626 h 5782"/>
                  <a:gd name="T24" fmla="*/ 2655 w 4344"/>
                  <a:gd name="T25" fmla="*/ 1657 h 5782"/>
                  <a:gd name="T26" fmla="*/ 2499 w 4344"/>
                  <a:gd name="T27" fmla="*/ 2001 h 5782"/>
                  <a:gd name="T28" fmla="*/ 2530 w 4344"/>
                  <a:gd name="T29" fmla="*/ 2063 h 5782"/>
                  <a:gd name="T30" fmla="*/ 2499 w 4344"/>
                  <a:gd name="T31" fmla="*/ 2094 h 5782"/>
                  <a:gd name="T32" fmla="*/ 2686 w 4344"/>
                  <a:gd name="T33" fmla="*/ 2344 h 5782"/>
                  <a:gd name="T34" fmla="*/ 2374 w 4344"/>
                  <a:gd name="T35" fmla="*/ 2968 h 5782"/>
                  <a:gd name="T36" fmla="*/ 1937 w 4344"/>
                  <a:gd name="T37" fmla="*/ 2282 h 5782"/>
                  <a:gd name="T38" fmla="*/ 1812 w 4344"/>
                  <a:gd name="T39" fmla="*/ 1563 h 5782"/>
                  <a:gd name="T40" fmla="*/ 937 w 4344"/>
                  <a:gd name="T41" fmla="*/ 407 h 5782"/>
                  <a:gd name="T42" fmla="*/ 812 w 4344"/>
                  <a:gd name="T43" fmla="*/ 469 h 5782"/>
                  <a:gd name="T44" fmla="*/ 1219 w 4344"/>
                  <a:gd name="T45" fmla="*/ 1126 h 5782"/>
                  <a:gd name="T46" fmla="*/ 656 w 4344"/>
                  <a:gd name="T47" fmla="*/ 1501 h 5782"/>
                  <a:gd name="T48" fmla="*/ 250 w 4344"/>
                  <a:gd name="T49" fmla="*/ 876 h 5782"/>
                  <a:gd name="T50" fmla="*/ 125 w 4344"/>
                  <a:gd name="T51" fmla="*/ 938 h 5782"/>
                  <a:gd name="T52" fmla="*/ 750 w 4344"/>
                  <a:gd name="T53" fmla="*/ 2219 h 5782"/>
                  <a:gd name="T54" fmla="*/ 1312 w 4344"/>
                  <a:gd name="T55" fmla="*/ 2594 h 5782"/>
                  <a:gd name="T56" fmla="*/ 2031 w 4344"/>
                  <a:gd name="T57" fmla="*/ 3687 h 5782"/>
                  <a:gd name="T58" fmla="*/ 1469 w 4344"/>
                  <a:gd name="T59" fmla="*/ 4812 h 5782"/>
                  <a:gd name="T60" fmla="*/ 1469 w 4344"/>
                  <a:gd name="T61" fmla="*/ 4875 h 5782"/>
                  <a:gd name="T62" fmla="*/ 1469 w 4344"/>
                  <a:gd name="T63" fmla="*/ 4875 h 5782"/>
                  <a:gd name="T64" fmla="*/ 1312 w 4344"/>
                  <a:gd name="T65" fmla="*/ 5062 h 5782"/>
                  <a:gd name="T66" fmla="*/ 1125 w 4344"/>
                  <a:gd name="T67" fmla="*/ 5656 h 5782"/>
                  <a:gd name="T68" fmla="*/ 1250 w 4344"/>
                  <a:gd name="T69" fmla="*/ 5718 h 5782"/>
                  <a:gd name="T70" fmla="*/ 1344 w 4344"/>
                  <a:gd name="T71" fmla="*/ 5781 h 5782"/>
                  <a:gd name="T72" fmla="*/ 1687 w 4344"/>
                  <a:gd name="T73" fmla="*/ 5250 h 5782"/>
                  <a:gd name="T74" fmla="*/ 1781 w 4344"/>
                  <a:gd name="T75" fmla="*/ 5000 h 5782"/>
                  <a:gd name="T76" fmla="*/ 1750 w 4344"/>
                  <a:gd name="T77" fmla="*/ 5000 h 5782"/>
                  <a:gd name="T78" fmla="*/ 1781 w 4344"/>
                  <a:gd name="T79" fmla="*/ 4968 h 5782"/>
                  <a:gd name="T80" fmla="*/ 2249 w 4344"/>
                  <a:gd name="T81" fmla="*/ 4031 h 5782"/>
                  <a:gd name="T82" fmla="*/ 3343 w 4344"/>
                  <a:gd name="T83" fmla="*/ 5687 h 5782"/>
                  <a:gd name="T84" fmla="*/ 3718 w 4344"/>
                  <a:gd name="T85" fmla="*/ 5625 h 5782"/>
                  <a:gd name="T86" fmla="*/ 3905 w 4344"/>
                  <a:gd name="T87" fmla="*/ 5312 h 5782"/>
                  <a:gd name="T88" fmla="*/ 2593 w 4344"/>
                  <a:gd name="T89" fmla="*/ 3312 h 5782"/>
                  <a:gd name="T90" fmla="*/ 2999 w 4344"/>
                  <a:gd name="T91" fmla="*/ 2469 h 57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44" h="5782">
                    <a:moveTo>
                      <a:pt x="2999" y="2469"/>
                    </a:moveTo>
                    <a:lnTo>
                      <a:pt x="2999" y="2469"/>
                    </a:lnTo>
                    <a:cubicBezTo>
                      <a:pt x="3155" y="2532"/>
                      <a:pt x="3280" y="2532"/>
                      <a:pt x="3311" y="2500"/>
                    </a:cubicBezTo>
                    <a:cubicBezTo>
                      <a:pt x="3311" y="2469"/>
                      <a:pt x="3311" y="2469"/>
                      <a:pt x="3311" y="2469"/>
                    </a:cubicBezTo>
                    <a:cubicBezTo>
                      <a:pt x="3374" y="2469"/>
                      <a:pt x="3405" y="2469"/>
                      <a:pt x="3405" y="2438"/>
                    </a:cubicBezTo>
                    <a:cubicBezTo>
                      <a:pt x="4311" y="501"/>
                      <a:pt x="4311" y="501"/>
                      <a:pt x="4311" y="501"/>
                    </a:cubicBezTo>
                    <a:lnTo>
                      <a:pt x="4311" y="501"/>
                    </a:lnTo>
                    <a:cubicBezTo>
                      <a:pt x="4343" y="438"/>
                      <a:pt x="4155" y="282"/>
                      <a:pt x="3936" y="188"/>
                    </a:cubicBezTo>
                    <a:cubicBezTo>
                      <a:pt x="3655" y="63"/>
                      <a:pt x="3436" y="0"/>
                      <a:pt x="3405" y="63"/>
                    </a:cubicBezTo>
                    <a:cubicBezTo>
                      <a:pt x="3249" y="376"/>
                      <a:pt x="3249" y="376"/>
                      <a:pt x="3249" y="376"/>
                    </a:cubicBezTo>
                    <a:cubicBezTo>
                      <a:pt x="3343" y="469"/>
                      <a:pt x="3436" y="563"/>
                      <a:pt x="3468" y="688"/>
                    </a:cubicBezTo>
                    <a:cubicBezTo>
                      <a:pt x="3593" y="1094"/>
                      <a:pt x="3343" y="1501"/>
                      <a:pt x="2968" y="1626"/>
                    </a:cubicBezTo>
                    <a:cubicBezTo>
                      <a:pt x="2843" y="1657"/>
                      <a:pt x="2749" y="1657"/>
                      <a:pt x="2655" y="1657"/>
                    </a:cubicBezTo>
                    <a:cubicBezTo>
                      <a:pt x="2499" y="2001"/>
                      <a:pt x="2499" y="2001"/>
                      <a:pt x="2499" y="2001"/>
                    </a:cubicBezTo>
                    <a:cubicBezTo>
                      <a:pt x="2468" y="2001"/>
                      <a:pt x="2499" y="2032"/>
                      <a:pt x="2530" y="2063"/>
                    </a:cubicBezTo>
                    <a:cubicBezTo>
                      <a:pt x="2499" y="2094"/>
                      <a:pt x="2499" y="2094"/>
                      <a:pt x="2499" y="2094"/>
                    </a:cubicBezTo>
                    <a:cubicBezTo>
                      <a:pt x="2468" y="2157"/>
                      <a:pt x="2561" y="2251"/>
                      <a:pt x="2686" y="2344"/>
                    </a:cubicBezTo>
                    <a:cubicBezTo>
                      <a:pt x="2374" y="2968"/>
                      <a:pt x="2374" y="2968"/>
                      <a:pt x="2374" y="2968"/>
                    </a:cubicBezTo>
                    <a:cubicBezTo>
                      <a:pt x="1937" y="2282"/>
                      <a:pt x="1937" y="2282"/>
                      <a:pt x="1937" y="2282"/>
                    </a:cubicBezTo>
                    <a:cubicBezTo>
                      <a:pt x="1750" y="1907"/>
                      <a:pt x="1812" y="1563"/>
                      <a:pt x="1812" y="1563"/>
                    </a:cubicBezTo>
                    <a:cubicBezTo>
                      <a:pt x="1937" y="657"/>
                      <a:pt x="1281" y="438"/>
                      <a:pt x="937" y="407"/>
                    </a:cubicBezTo>
                    <a:cubicBezTo>
                      <a:pt x="937" y="407"/>
                      <a:pt x="750" y="376"/>
                      <a:pt x="812" y="469"/>
                    </a:cubicBezTo>
                    <a:cubicBezTo>
                      <a:pt x="1219" y="1126"/>
                      <a:pt x="1219" y="1126"/>
                      <a:pt x="1219" y="1126"/>
                    </a:cubicBezTo>
                    <a:cubicBezTo>
                      <a:pt x="656" y="1501"/>
                      <a:pt x="656" y="1501"/>
                      <a:pt x="656" y="1501"/>
                    </a:cubicBezTo>
                    <a:cubicBezTo>
                      <a:pt x="250" y="876"/>
                      <a:pt x="250" y="876"/>
                      <a:pt x="250" y="876"/>
                    </a:cubicBezTo>
                    <a:cubicBezTo>
                      <a:pt x="156" y="750"/>
                      <a:pt x="125" y="938"/>
                      <a:pt x="125" y="938"/>
                    </a:cubicBezTo>
                    <a:cubicBezTo>
                      <a:pt x="31" y="1282"/>
                      <a:pt x="0" y="1969"/>
                      <a:pt x="750" y="2219"/>
                    </a:cubicBezTo>
                    <a:cubicBezTo>
                      <a:pt x="1156" y="2282"/>
                      <a:pt x="1281" y="2532"/>
                      <a:pt x="1312" y="2594"/>
                    </a:cubicBezTo>
                    <a:cubicBezTo>
                      <a:pt x="2031" y="3687"/>
                      <a:pt x="2031" y="3687"/>
                      <a:pt x="2031" y="3687"/>
                    </a:cubicBezTo>
                    <a:cubicBezTo>
                      <a:pt x="1469" y="4812"/>
                      <a:pt x="1469" y="4812"/>
                      <a:pt x="1469" y="4812"/>
                    </a:cubicBezTo>
                    <a:cubicBezTo>
                      <a:pt x="1469" y="4843"/>
                      <a:pt x="1469" y="4843"/>
                      <a:pt x="1469" y="4875"/>
                    </a:cubicBezTo>
                    <a:lnTo>
                      <a:pt x="1469" y="4875"/>
                    </a:lnTo>
                    <a:cubicBezTo>
                      <a:pt x="1312" y="5062"/>
                      <a:pt x="1312" y="5062"/>
                      <a:pt x="1312" y="5062"/>
                    </a:cubicBezTo>
                    <a:cubicBezTo>
                      <a:pt x="1125" y="5656"/>
                      <a:pt x="1125" y="5656"/>
                      <a:pt x="1125" y="5656"/>
                    </a:cubicBezTo>
                    <a:cubicBezTo>
                      <a:pt x="1250" y="5718"/>
                      <a:pt x="1250" y="5718"/>
                      <a:pt x="1250" y="5718"/>
                    </a:cubicBezTo>
                    <a:cubicBezTo>
                      <a:pt x="1344" y="5781"/>
                      <a:pt x="1344" y="5781"/>
                      <a:pt x="1344" y="5781"/>
                    </a:cubicBezTo>
                    <a:cubicBezTo>
                      <a:pt x="1687" y="5250"/>
                      <a:pt x="1687" y="5250"/>
                      <a:pt x="1687" y="5250"/>
                    </a:cubicBezTo>
                    <a:cubicBezTo>
                      <a:pt x="1781" y="5000"/>
                      <a:pt x="1781" y="5000"/>
                      <a:pt x="1781" y="5000"/>
                    </a:cubicBezTo>
                    <a:cubicBezTo>
                      <a:pt x="1750" y="5000"/>
                      <a:pt x="1750" y="5000"/>
                      <a:pt x="1750" y="5000"/>
                    </a:cubicBezTo>
                    <a:cubicBezTo>
                      <a:pt x="1781" y="5000"/>
                      <a:pt x="1781" y="5000"/>
                      <a:pt x="1781" y="4968"/>
                    </a:cubicBezTo>
                    <a:cubicBezTo>
                      <a:pt x="2249" y="4031"/>
                      <a:pt x="2249" y="4031"/>
                      <a:pt x="2249" y="4031"/>
                    </a:cubicBezTo>
                    <a:cubicBezTo>
                      <a:pt x="3343" y="5687"/>
                      <a:pt x="3343" y="5687"/>
                      <a:pt x="3343" y="5687"/>
                    </a:cubicBezTo>
                    <a:cubicBezTo>
                      <a:pt x="3343" y="5687"/>
                      <a:pt x="3530" y="5718"/>
                      <a:pt x="3718" y="5625"/>
                    </a:cubicBezTo>
                    <a:cubicBezTo>
                      <a:pt x="3843" y="5531"/>
                      <a:pt x="3905" y="5312"/>
                      <a:pt x="3905" y="5312"/>
                    </a:cubicBezTo>
                    <a:cubicBezTo>
                      <a:pt x="2593" y="3312"/>
                      <a:pt x="2593" y="3312"/>
                      <a:pt x="2593" y="3312"/>
                    </a:cubicBezTo>
                    <a:lnTo>
                      <a:pt x="2999" y="2469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463" name="Freeform 20"/>
              <p:cNvSpPr>
                <a:spLocks noChangeAspect="1" noChangeArrowheads="1"/>
              </p:cNvSpPr>
              <p:nvPr/>
            </p:nvSpPr>
            <p:spPr bwMode="auto">
              <a:xfrm>
                <a:off x="7035692" y="3572135"/>
                <a:ext cx="225420" cy="236535"/>
              </a:xfrm>
              <a:custGeom>
                <a:avLst/>
                <a:gdLst>
                  <a:gd name="T0" fmla="*/ 407 w 626"/>
                  <a:gd name="T1" fmla="*/ 594 h 657"/>
                  <a:gd name="T2" fmla="*/ 407 w 626"/>
                  <a:gd name="T3" fmla="*/ 594 h 657"/>
                  <a:gd name="T4" fmla="*/ 594 w 626"/>
                  <a:gd name="T5" fmla="*/ 250 h 657"/>
                  <a:gd name="T6" fmla="*/ 219 w 626"/>
                  <a:gd name="T7" fmla="*/ 63 h 657"/>
                  <a:gd name="T8" fmla="*/ 32 w 626"/>
                  <a:gd name="T9" fmla="*/ 406 h 657"/>
                  <a:gd name="T10" fmla="*/ 407 w 626"/>
                  <a:gd name="T11" fmla="*/ 594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6" h="657">
                    <a:moveTo>
                      <a:pt x="407" y="594"/>
                    </a:moveTo>
                    <a:lnTo>
                      <a:pt x="407" y="594"/>
                    </a:lnTo>
                    <a:cubicBezTo>
                      <a:pt x="563" y="563"/>
                      <a:pt x="625" y="406"/>
                      <a:pt x="594" y="250"/>
                    </a:cubicBezTo>
                    <a:cubicBezTo>
                      <a:pt x="532" y="94"/>
                      <a:pt x="375" y="0"/>
                      <a:pt x="219" y="63"/>
                    </a:cubicBezTo>
                    <a:cubicBezTo>
                      <a:pt x="94" y="94"/>
                      <a:pt x="0" y="250"/>
                      <a:pt x="32" y="406"/>
                    </a:cubicBezTo>
                    <a:cubicBezTo>
                      <a:pt x="94" y="563"/>
                      <a:pt x="250" y="656"/>
                      <a:pt x="407" y="59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sp>
          <p:nvSpPr>
            <p:cNvPr id="461" name="Freeform 62"/>
            <p:cNvSpPr>
              <a:spLocks noEditPoints="1"/>
            </p:cNvSpPr>
            <p:nvPr/>
          </p:nvSpPr>
          <p:spPr bwMode="auto">
            <a:xfrm>
              <a:off x="2993823" y="2562864"/>
              <a:ext cx="328304" cy="450318"/>
            </a:xfrm>
            <a:custGeom>
              <a:avLst/>
              <a:gdLst>
                <a:gd name="T0" fmla="*/ 2147483647 w 656"/>
                <a:gd name="T1" fmla="*/ 0 h 975"/>
                <a:gd name="T2" fmla="*/ 2147483647 w 656"/>
                <a:gd name="T3" fmla="*/ 2147483647 h 975"/>
                <a:gd name="T4" fmla="*/ 2147483647 w 656"/>
                <a:gd name="T5" fmla="*/ 2147483647 h 975"/>
                <a:gd name="T6" fmla="*/ 2147483647 w 656"/>
                <a:gd name="T7" fmla="*/ 2147483647 h 975"/>
                <a:gd name="T8" fmla="*/ 2147483647 w 656"/>
                <a:gd name="T9" fmla="*/ 2147483647 h 975"/>
                <a:gd name="T10" fmla="*/ 2147483647 w 656"/>
                <a:gd name="T11" fmla="*/ 0 h 975"/>
                <a:gd name="T12" fmla="*/ 2147483647 w 656"/>
                <a:gd name="T13" fmla="*/ 2147483647 h 975"/>
                <a:gd name="T14" fmla="*/ 2147483647 w 656"/>
                <a:gd name="T15" fmla="*/ 2147483647 h 975"/>
                <a:gd name="T16" fmla="*/ 0 w 656"/>
                <a:gd name="T17" fmla="*/ 2147483647 h 975"/>
                <a:gd name="T18" fmla="*/ 2147483647 w 656"/>
                <a:gd name="T19" fmla="*/ 2147483647 h 975"/>
                <a:gd name="T20" fmla="*/ 2147483647 w 656"/>
                <a:gd name="T21" fmla="*/ 2147483647 h 975"/>
                <a:gd name="T22" fmla="*/ 2147483647 w 656"/>
                <a:gd name="T23" fmla="*/ 2147483647 h 975"/>
                <a:gd name="T24" fmla="*/ 2147483647 w 656"/>
                <a:gd name="T25" fmla="*/ 2147483647 h 975"/>
                <a:gd name="T26" fmla="*/ 2147483647 w 656"/>
                <a:gd name="T27" fmla="*/ 2147483647 h 975"/>
                <a:gd name="T28" fmla="*/ 2147483647 w 656"/>
                <a:gd name="T29" fmla="*/ 2147483647 h 975"/>
                <a:gd name="T30" fmla="*/ 2147483647 w 656"/>
                <a:gd name="T31" fmla="*/ 2147483647 h 975"/>
                <a:gd name="T32" fmla="*/ 2147483647 w 656"/>
                <a:gd name="T33" fmla="*/ 2147483647 h 975"/>
                <a:gd name="T34" fmla="*/ 2147483647 w 656"/>
                <a:gd name="T35" fmla="*/ 2147483647 h 975"/>
                <a:gd name="T36" fmla="*/ 2147483647 w 656"/>
                <a:gd name="T37" fmla="*/ 2147483647 h 975"/>
                <a:gd name="T38" fmla="*/ 2147483647 w 656"/>
                <a:gd name="T39" fmla="*/ 2147483647 h 975"/>
                <a:gd name="T40" fmla="*/ 2147483647 w 656"/>
                <a:gd name="T41" fmla="*/ 2147483647 h 975"/>
                <a:gd name="T42" fmla="*/ 2147483647 w 656"/>
                <a:gd name="T43" fmla="*/ 2147483647 h 975"/>
                <a:gd name="T44" fmla="*/ 2147483647 w 656"/>
                <a:gd name="T45" fmla="*/ 2147483647 h 975"/>
                <a:gd name="T46" fmla="*/ 2147483647 w 656"/>
                <a:gd name="T47" fmla="*/ 2147483647 h 975"/>
                <a:gd name="T48" fmla="*/ 2147483647 w 656"/>
                <a:gd name="T49" fmla="*/ 2147483647 h 975"/>
                <a:gd name="T50" fmla="*/ 2147483647 w 656"/>
                <a:gd name="T51" fmla="*/ 2147483647 h 975"/>
                <a:gd name="T52" fmla="*/ 2147483647 w 656"/>
                <a:gd name="T53" fmla="*/ 2147483647 h 975"/>
                <a:gd name="T54" fmla="*/ 2147483647 w 656"/>
                <a:gd name="T55" fmla="*/ 2147483647 h 975"/>
                <a:gd name="T56" fmla="*/ 2147483647 w 656"/>
                <a:gd name="T57" fmla="*/ 2147483647 h 975"/>
                <a:gd name="T58" fmla="*/ 2147483647 w 656"/>
                <a:gd name="T59" fmla="*/ 2147483647 h 975"/>
                <a:gd name="T60" fmla="*/ 2147483647 w 656"/>
                <a:gd name="T61" fmla="*/ 2147483647 h 975"/>
                <a:gd name="T62" fmla="*/ 2147483647 w 656"/>
                <a:gd name="T63" fmla="*/ 2147483647 h 975"/>
                <a:gd name="T64" fmla="*/ 2147483647 w 656"/>
                <a:gd name="T65" fmla="*/ 2147483647 h 975"/>
                <a:gd name="T66" fmla="*/ 2147483647 w 656"/>
                <a:gd name="T67" fmla="*/ 2147483647 h 975"/>
                <a:gd name="T68" fmla="*/ 2147483647 w 656"/>
                <a:gd name="T69" fmla="*/ 2147483647 h 975"/>
                <a:gd name="T70" fmla="*/ 2147483647 w 656"/>
                <a:gd name="T71" fmla="*/ 2147483647 h 975"/>
                <a:gd name="T72" fmla="*/ 2147483647 w 656"/>
                <a:gd name="T73" fmla="*/ 2147483647 h 975"/>
                <a:gd name="T74" fmla="*/ 2147483647 w 656"/>
                <a:gd name="T75" fmla="*/ 2147483647 h 975"/>
                <a:gd name="T76" fmla="*/ 2147483647 w 656"/>
                <a:gd name="T77" fmla="*/ 2147483647 h 975"/>
                <a:gd name="T78" fmla="*/ 2147483647 w 656"/>
                <a:gd name="T79" fmla="*/ 2147483647 h 97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56"/>
                <a:gd name="T121" fmla="*/ 0 h 975"/>
                <a:gd name="T122" fmla="*/ 656 w 656"/>
                <a:gd name="T123" fmla="*/ 975 h 97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56" h="975">
                  <a:moveTo>
                    <a:pt x="612" y="0"/>
                  </a:moveTo>
                  <a:cubicBezTo>
                    <a:pt x="214" y="0"/>
                    <a:pt x="214" y="0"/>
                    <a:pt x="214" y="0"/>
                  </a:cubicBezTo>
                  <a:cubicBezTo>
                    <a:pt x="191" y="0"/>
                    <a:pt x="172" y="18"/>
                    <a:pt x="172" y="41"/>
                  </a:cubicBezTo>
                  <a:cubicBezTo>
                    <a:pt x="172" y="47"/>
                    <a:pt x="172" y="47"/>
                    <a:pt x="172" y="47"/>
                  </a:cubicBezTo>
                  <a:cubicBezTo>
                    <a:pt x="455" y="47"/>
                    <a:pt x="455" y="47"/>
                    <a:pt x="455" y="47"/>
                  </a:cubicBezTo>
                  <a:cubicBezTo>
                    <a:pt x="485" y="49"/>
                    <a:pt x="496" y="54"/>
                    <a:pt x="496" y="87"/>
                  </a:cubicBezTo>
                  <a:cubicBezTo>
                    <a:pt x="496" y="603"/>
                    <a:pt x="496" y="603"/>
                    <a:pt x="496" y="603"/>
                  </a:cubicBezTo>
                  <a:cubicBezTo>
                    <a:pt x="496" y="613"/>
                    <a:pt x="491" y="622"/>
                    <a:pt x="483" y="627"/>
                  </a:cubicBezTo>
                  <a:cubicBezTo>
                    <a:pt x="612" y="627"/>
                    <a:pt x="612" y="627"/>
                    <a:pt x="612" y="627"/>
                  </a:cubicBezTo>
                  <a:cubicBezTo>
                    <a:pt x="635" y="627"/>
                    <a:pt x="654" y="616"/>
                    <a:pt x="654" y="593"/>
                  </a:cubicBezTo>
                  <a:cubicBezTo>
                    <a:pt x="654" y="41"/>
                    <a:pt x="654" y="41"/>
                    <a:pt x="654" y="41"/>
                  </a:cubicBezTo>
                  <a:cubicBezTo>
                    <a:pt x="654" y="18"/>
                    <a:pt x="635" y="0"/>
                    <a:pt x="612" y="0"/>
                  </a:cubicBezTo>
                  <a:close/>
                  <a:moveTo>
                    <a:pt x="424" y="78"/>
                  </a:moveTo>
                  <a:cubicBezTo>
                    <a:pt x="101" y="78"/>
                    <a:pt x="101" y="78"/>
                    <a:pt x="101" y="78"/>
                  </a:cubicBezTo>
                  <a:cubicBezTo>
                    <a:pt x="109" y="90"/>
                    <a:pt x="114" y="104"/>
                    <a:pt x="114" y="119"/>
                  </a:cubicBezTo>
                  <a:cubicBezTo>
                    <a:pt x="114" y="159"/>
                    <a:pt x="82" y="191"/>
                    <a:pt x="42" y="191"/>
                  </a:cubicBezTo>
                  <a:cubicBezTo>
                    <a:pt x="26" y="191"/>
                    <a:pt x="12" y="186"/>
                    <a:pt x="0" y="177"/>
                  </a:cubicBezTo>
                  <a:cubicBezTo>
                    <a:pt x="0" y="588"/>
                    <a:pt x="0" y="588"/>
                    <a:pt x="0" y="588"/>
                  </a:cubicBezTo>
                  <a:cubicBezTo>
                    <a:pt x="0" y="611"/>
                    <a:pt x="18" y="629"/>
                    <a:pt x="41" y="629"/>
                  </a:cubicBezTo>
                  <a:cubicBezTo>
                    <a:pt x="417" y="629"/>
                    <a:pt x="417" y="629"/>
                    <a:pt x="417" y="629"/>
                  </a:cubicBezTo>
                  <a:cubicBezTo>
                    <a:pt x="440" y="629"/>
                    <a:pt x="458" y="611"/>
                    <a:pt x="458" y="588"/>
                  </a:cubicBezTo>
                  <a:cubicBezTo>
                    <a:pt x="458" y="119"/>
                    <a:pt x="458" y="119"/>
                    <a:pt x="458" y="119"/>
                  </a:cubicBezTo>
                  <a:cubicBezTo>
                    <a:pt x="458" y="97"/>
                    <a:pt x="447" y="78"/>
                    <a:pt x="424" y="78"/>
                  </a:cubicBezTo>
                  <a:close/>
                  <a:moveTo>
                    <a:pt x="42" y="146"/>
                  </a:moveTo>
                  <a:cubicBezTo>
                    <a:pt x="58" y="146"/>
                    <a:pt x="70" y="134"/>
                    <a:pt x="70" y="118"/>
                  </a:cubicBezTo>
                  <a:cubicBezTo>
                    <a:pt x="70" y="103"/>
                    <a:pt x="58" y="91"/>
                    <a:pt x="42" y="91"/>
                  </a:cubicBezTo>
                  <a:cubicBezTo>
                    <a:pt x="27" y="91"/>
                    <a:pt x="15" y="103"/>
                    <a:pt x="15" y="118"/>
                  </a:cubicBezTo>
                  <a:cubicBezTo>
                    <a:pt x="15" y="134"/>
                    <a:pt x="27" y="146"/>
                    <a:pt x="42" y="146"/>
                  </a:cubicBezTo>
                  <a:close/>
                  <a:moveTo>
                    <a:pt x="254" y="287"/>
                  </a:moveTo>
                  <a:cubicBezTo>
                    <a:pt x="204" y="287"/>
                    <a:pt x="204" y="287"/>
                    <a:pt x="204" y="287"/>
                  </a:cubicBezTo>
                  <a:cubicBezTo>
                    <a:pt x="204" y="219"/>
                    <a:pt x="204" y="219"/>
                    <a:pt x="204" y="219"/>
                  </a:cubicBezTo>
                  <a:cubicBezTo>
                    <a:pt x="254" y="219"/>
                    <a:pt x="254" y="219"/>
                    <a:pt x="254" y="219"/>
                  </a:cubicBezTo>
                  <a:lnTo>
                    <a:pt x="254" y="287"/>
                  </a:lnTo>
                  <a:close/>
                  <a:moveTo>
                    <a:pt x="372" y="287"/>
                  </a:moveTo>
                  <a:cubicBezTo>
                    <a:pt x="322" y="287"/>
                    <a:pt x="322" y="287"/>
                    <a:pt x="322" y="287"/>
                  </a:cubicBezTo>
                  <a:cubicBezTo>
                    <a:pt x="322" y="219"/>
                    <a:pt x="322" y="219"/>
                    <a:pt x="322" y="219"/>
                  </a:cubicBezTo>
                  <a:cubicBezTo>
                    <a:pt x="372" y="219"/>
                    <a:pt x="372" y="219"/>
                    <a:pt x="372" y="219"/>
                  </a:cubicBezTo>
                  <a:lnTo>
                    <a:pt x="372" y="287"/>
                  </a:lnTo>
                  <a:close/>
                  <a:moveTo>
                    <a:pt x="136" y="407"/>
                  </a:moveTo>
                  <a:cubicBezTo>
                    <a:pt x="87" y="407"/>
                    <a:pt x="87" y="407"/>
                    <a:pt x="87" y="407"/>
                  </a:cubicBezTo>
                  <a:cubicBezTo>
                    <a:pt x="87" y="340"/>
                    <a:pt x="87" y="340"/>
                    <a:pt x="87" y="340"/>
                  </a:cubicBezTo>
                  <a:cubicBezTo>
                    <a:pt x="136" y="340"/>
                    <a:pt x="136" y="340"/>
                    <a:pt x="136" y="340"/>
                  </a:cubicBezTo>
                  <a:lnTo>
                    <a:pt x="136" y="407"/>
                  </a:lnTo>
                  <a:close/>
                  <a:moveTo>
                    <a:pt x="372" y="407"/>
                  </a:moveTo>
                  <a:cubicBezTo>
                    <a:pt x="322" y="407"/>
                    <a:pt x="322" y="407"/>
                    <a:pt x="322" y="407"/>
                  </a:cubicBezTo>
                  <a:cubicBezTo>
                    <a:pt x="322" y="340"/>
                    <a:pt x="322" y="340"/>
                    <a:pt x="322" y="340"/>
                  </a:cubicBezTo>
                  <a:cubicBezTo>
                    <a:pt x="372" y="340"/>
                    <a:pt x="372" y="340"/>
                    <a:pt x="372" y="340"/>
                  </a:cubicBezTo>
                  <a:lnTo>
                    <a:pt x="372" y="407"/>
                  </a:lnTo>
                  <a:close/>
                  <a:moveTo>
                    <a:pt x="372" y="528"/>
                  </a:moveTo>
                  <a:cubicBezTo>
                    <a:pt x="322" y="528"/>
                    <a:pt x="322" y="528"/>
                    <a:pt x="322" y="528"/>
                  </a:cubicBezTo>
                  <a:cubicBezTo>
                    <a:pt x="322" y="461"/>
                    <a:pt x="322" y="461"/>
                    <a:pt x="322" y="461"/>
                  </a:cubicBezTo>
                  <a:cubicBezTo>
                    <a:pt x="372" y="461"/>
                    <a:pt x="372" y="461"/>
                    <a:pt x="372" y="461"/>
                  </a:cubicBezTo>
                  <a:lnTo>
                    <a:pt x="372" y="528"/>
                  </a:lnTo>
                  <a:close/>
                  <a:moveTo>
                    <a:pt x="589" y="158"/>
                  </a:moveTo>
                  <a:cubicBezTo>
                    <a:pt x="539" y="158"/>
                    <a:pt x="539" y="158"/>
                    <a:pt x="539" y="158"/>
                  </a:cubicBezTo>
                  <a:cubicBezTo>
                    <a:pt x="539" y="91"/>
                    <a:pt x="539" y="91"/>
                    <a:pt x="539" y="91"/>
                  </a:cubicBezTo>
                  <a:cubicBezTo>
                    <a:pt x="589" y="91"/>
                    <a:pt x="589" y="91"/>
                    <a:pt x="589" y="91"/>
                  </a:cubicBezTo>
                  <a:lnTo>
                    <a:pt x="589" y="158"/>
                  </a:lnTo>
                  <a:close/>
                  <a:moveTo>
                    <a:pt x="589" y="400"/>
                  </a:moveTo>
                  <a:cubicBezTo>
                    <a:pt x="539" y="400"/>
                    <a:pt x="539" y="400"/>
                    <a:pt x="539" y="400"/>
                  </a:cubicBezTo>
                  <a:cubicBezTo>
                    <a:pt x="539" y="332"/>
                    <a:pt x="539" y="332"/>
                    <a:pt x="539" y="332"/>
                  </a:cubicBezTo>
                  <a:cubicBezTo>
                    <a:pt x="589" y="332"/>
                    <a:pt x="589" y="332"/>
                    <a:pt x="589" y="332"/>
                  </a:cubicBezTo>
                  <a:lnTo>
                    <a:pt x="589" y="400"/>
                  </a:lnTo>
                  <a:close/>
                  <a:moveTo>
                    <a:pt x="656" y="850"/>
                  </a:moveTo>
                  <a:cubicBezTo>
                    <a:pt x="656" y="891"/>
                    <a:pt x="591" y="924"/>
                    <a:pt x="511" y="924"/>
                  </a:cubicBezTo>
                  <a:cubicBezTo>
                    <a:pt x="504" y="924"/>
                    <a:pt x="498" y="924"/>
                    <a:pt x="491" y="924"/>
                  </a:cubicBezTo>
                  <a:cubicBezTo>
                    <a:pt x="484" y="924"/>
                    <a:pt x="478" y="924"/>
                    <a:pt x="470" y="924"/>
                  </a:cubicBezTo>
                  <a:cubicBezTo>
                    <a:pt x="467" y="924"/>
                    <a:pt x="463" y="924"/>
                    <a:pt x="460" y="924"/>
                  </a:cubicBezTo>
                  <a:cubicBezTo>
                    <a:pt x="444" y="954"/>
                    <a:pt x="406" y="975"/>
                    <a:pt x="361" y="975"/>
                  </a:cubicBezTo>
                  <a:cubicBezTo>
                    <a:pt x="319" y="975"/>
                    <a:pt x="282" y="956"/>
                    <a:pt x="265" y="930"/>
                  </a:cubicBezTo>
                  <a:cubicBezTo>
                    <a:pt x="238" y="941"/>
                    <a:pt x="203" y="948"/>
                    <a:pt x="165" y="948"/>
                  </a:cubicBezTo>
                  <a:cubicBezTo>
                    <a:pt x="79" y="948"/>
                    <a:pt x="8" y="912"/>
                    <a:pt x="8" y="868"/>
                  </a:cubicBezTo>
                  <a:cubicBezTo>
                    <a:pt x="8" y="834"/>
                    <a:pt x="50" y="805"/>
                    <a:pt x="109" y="794"/>
                  </a:cubicBezTo>
                  <a:cubicBezTo>
                    <a:pt x="109" y="790"/>
                    <a:pt x="109" y="787"/>
                    <a:pt x="109" y="783"/>
                  </a:cubicBezTo>
                  <a:cubicBezTo>
                    <a:pt x="109" y="729"/>
                    <a:pt x="160" y="686"/>
                    <a:pt x="223" y="686"/>
                  </a:cubicBezTo>
                  <a:cubicBezTo>
                    <a:pt x="243" y="686"/>
                    <a:pt x="262" y="690"/>
                    <a:pt x="278" y="697"/>
                  </a:cubicBezTo>
                  <a:cubicBezTo>
                    <a:pt x="292" y="672"/>
                    <a:pt x="323" y="654"/>
                    <a:pt x="359" y="654"/>
                  </a:cubicBezTo>
                  <a:cubicBezTo>
                    <a:pt x="407" y="654"/>
                    <a:pt x="447" y="687"/>
                    <a:pt x="447" y="728"/>
                  </a:cubicBezTo>
                  <a:cubicBezTo>
                    <a:pt x="483" y="729"/>
                    <a:pt x="513" y="749"/>
                    <a:pt x="526" y="776"/>
                  </a:cubicBezTo>
                  <a:cubicBezTo>
                    <a:pt x="599" y="780"/>
                    <a:pt x="656" y="812"/>
                    <a:pt x="656" y="85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1FE"/>
                </a:solidFill>
                <a:latin typeface="+mn-lt"/>
              </a:endParaRPr>
            </a:p>
          </p:txBody>
        </p:sp>
      </p:grpSp>
      <p:sp>
        <p:nvSpPr>
          <p:cNvPr id="464" name="ZoneTexte 463"/>
          <p:cNvSpPr txBox="1"/>
          <p:nvPr/>
        </p:nvSpPr>
        <p:spPr>
          <a:xfrm>
            <a:off x="3411851" y="2810432"/>
            <a:ext cx="877523" cy="338549"/>
          </a:xfrm>
          <a:prstGeom prst="rect">
            <a:avLst/>
          </a:prstGeom>
          <a:noFill/>
        </p:spPr>
        <p:txBody>
          <a:bodyPr wrap="square" lIns="91406" tIns="45702" rIns="91406" bIns="45702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/>
                </a:solidFill>
                <a:latin typeface="Trebuchet MS" pitchFamily="34" charset="0"/>
              </a:rPr>
              <a:t>CPaaS</a:t>
            </a:r>
            <a:endParaRPr lang="en-US" sz="16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465" name="ZoneTexte 464"/>
          <p:cNvSpPr txBox="1"/>
          <p:nvPr/>
        </p:nvSpPr>
        <p:spPr>
          <a:xfrm>
            <a:off x="4738208" y="2608567"/>
            <a:ext cx="877523" cy="276994"/>
          </a:xfrm>
          <a:prstGeom prst="rect">
            <a:avLst/>
          </a:prstGeom>
          <a:noFill/>
        </p:spPr>
        <p:txBody>
          <a:bodyPr wrap="square" lIns="91406" tIns="45702" rIns="91406" bIns="45702" rtlCol="0">
            <a:spAutoFit/>
          </a:bodyPr>
          <a:lstStyle/>
          <a:p>
            <a:pPr algn="r"/>
            <a:r>
              <a:rPr lang="fr-FR" sz="1200" b="1" dirty="0">
                <a:solidFill>
                  <a:schemeClr val="bg1"/>
                </a:solidFill>
                <a:latin typeface="Trebuchet MS" pitchFamily="34" charset="0"/>
              </a:rPr>
              <a:t>BOTS</a:t>
            </a:r>
            <a:endParaRPr lang="en-US" sz="12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466" name="ZoneTexte 465"/>
          <p:cNvSpPr txBox="1"/>
          <p:nvPr/>
        </p:nvSpPr>
        <p:spPr>
          <a:xfrm>
            <a:off x="4614805" y="3650660"/>
            <a:ext cx="877523" cy="276994"/>
          </a:xfrm>
          <a:prstGeom prst="rect">
            <a:avLst/>
          </a:prstGeom>
          <a:noFill/>
        </p:spPr>
        <p:txBody>
          <a:bodyPr wrap="square" lIns="91406" tIns="45702" rIns="91406" bIns="45702" rtlCol="0">
            <a:spAutoFit/>
          </a:bodyPr>
          <a:lstStyle/>
          <a:p>
            <a:pPr algn="r"/>
            <a:r>
              <a:rPr lang="fr-FR" sz="1200" b="1" dirty="0">
                <a:solidFill>
                  <a:schemeClr val="bg1"/>
                </a:solidFill>
                <a:latin typeface="Trebuchet MS" pitchFamily="34" charset="0"/>
              </a:rPr>
              <a:t>APIs</a:t>
            </a:r>
            <a:endParaRPr lang="en-US" sz="12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grpSp>
        <p:nvGrpSpPr>
          <p:cNvPr id="467" name="Group 103"/>
          <p:cNvGrpSpPr/>
          <p:nvPr/>
        </p:nvGrpSpPr>
        <p:grpSpPr>
          <a:xfrm>
            <a:off x="5998667" y="1514250"/>
            <a:ext cx="366001" cy="265744"/>
            <a:chOff x="5083175" y="623888"/>
            <a:chExt cx="446088" cy="323850"/>
          </a:xfrm>
          <a:solidFill>
            <a:srgbClr val="00B9E1"/>
          </a:solidFill>
        </p:grpSpPr>
        <p:sp>
          <p:nvSpPr>
            <p:cNvPr id="468" name="Freeform 6"/>
            <p:cNvSpPr>
              <a:spLocks/>
            </p:cNvSpPr>
            <p:nvPr/>
          </p:nvSpPr>
          <p:spPr bwMode="auto">
            <a:xfrm>
              <a:off x="5278438" y="890588"/>
              <a:ext cx="55563" cy="57150"/>
            </a:xfrm>
            <a:custGeom>
              <a:avLst/>
              <a:gdLst/>
              <a:ahLst/>
              <a:cxnLst>
                <a:cxn ang="0">
                  <a:pos x="49" y="11"/>
                </a:cxn>
                <a:cxn ang="0">
                  <a:pos x="49" y="50"/>
                </a:cxn>
                <a:cxn ang="0">
                  <a:pos x="10" y="50"/>
                </a:cxn>
                <a:cxn ang="0">
                  <a:pos x="10" y="11"/>
                </a:cxn>
                <a:cxn ang="0">
                  <a:pos x="49" y="11"/>
                </a:cxn>
              </a:cxnLst>
              <a:rect l="0" t="0" r="r" b="b"/>
              <a:pathLst>
                <a:path w="60" h="60">
                  <a:moveTo>
                    <a:pt x="49" y="11"/>
                  </a:moveTo>
                  <a:cubicBezTo>
                    <a:pt x="60" y="22"/>
                    <a:pt x="60" y="39"/>
                    <a:pt x="49" y="50"/>
                  </a:cubicBezTo>
                  <a:cubicBezTo>
                    <a:pt x="39" y="60"/>
                    <a:pt x="21" y="60"/>
                    <a:pt x="10" y="50"/>
                  </a:cubicBezTo>
                  <a:cubicBezTo>
                    <a:pt x="0" y="39"/>
                    <a:pt x="0" y="22"/>
                    <a:pt x="10" y="11"/>
                  </a:cubicBezTo>
                  <a:cubicBezTo>
                    <a:pt x="21" y="0"/>
                    <a:pt x="39" y="0"/>
                    <a:pt x="49" y="1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469" name="Freeform 7"/>
            <p:cNvSpPr>
              <a:spLocks/>
            </p:cNvSpPr>
            <p:nvPr/>
          </p:nvSpPr>
          <p:spPr bwMode="auto">
            <a:xfrm>
              <a:off x="5278438" y="893763"/>
              <a:ext cx="55563" cy="50800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49" y="8"/>
                </a:cxn>
                <a:cxn ang="0">
                  <a:pos x="49" y="47"/>
                </a:cxn>
                <a:cxn ang="0">
                  <a:pos x="30" y="55"/>
                </a:cxn>
                <a:cxn ang="0">
                  <a:pos x="10" y="47"/>
                </a:cxn>
                <a:cxn ang="0">
                  <a:pos x="10" y="8"/>
                </a:cxn>
                <a:cxn ang="0">
                  <a:pos x="30" y="0"/>
                </a:cxn>
              </a:cxnLst>
              <a:rect l="0" t="0" r="r" b="b"/>
              <a:pathLst>
                <a:path w="60" h="55">
                  <a:moveTo>
                    <a:pt x="30" y="0"/>
                  </a:moveTo>
                  <a:cubicBezTo>
                    <a:pt x="37" y="0"/>
                    <a:pt x="44" y="3"/>
                    <a:pt x="49" y="8"/>
                  </a:cubicBezTo>
                  <a:cubicBezTo>
                    <a:pt x="60" y="19"/>
                    <a:pt x="60" y="36"/>
                    <a:pt x="49" y="47"/>
                  </a:cubicBezTo>
                  <a:cubicBezTo>
                    <a:pt x="44" y="52"/>
                    <a:pt x="37" y="55"/>
                    <a:pt x="30" y="55"/>
                  </a:cubicBezTo>
                  <a:cubicBezTo>
                    <a:pt x="23" y="55"/>
                    <a:pt x="16" y="52"/>
                    <a:pt x="10" y="47"/>
                  </a:cubicBezTo>
                  <a:cubicBezTo>
                    <a:pt x="0" y="36"/>
                    <a:pt x="0" y="19"/>
                    <a:pt x="10" y="8"/>
                  </a:cubicBezTo>
                  <a:cubicBezTo>
                    <a:pt x="16" y="3"/>
                    <a:pt x="23" y="0"/>
                    <a:pt x="3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470" name="Freeform 8"/>
            <p:cNvSpPr>
              <a:spLocks/>
            </p:cNvSpPr>
            <p:nvPr/>
          </p:nvSpPr>
          <p:spPr bwMode="auto">
            <a:xfrm>
              <a:off x="5205413" y="782638"/>
              <a:ext cx="200025" cy="100013"/>
            </a:xfrm>
            <a:custGeom>
              <a:avLst/>
              <a:gdLst/>
              <a:ahLst/>
              <a:cxnLst>
                <a:cxn ang="0">
                  <a:pos x="181" y="103"/>
                </a:cxn>
                <a:cxn ang="0">
                  <a:pos x="159" y="94"/>
                </a:cxn>
                <a:cxn ang="0">
                  <a:pos x="54" y="94"/>
                </a:cxn>
                <a:cxn ang="0">
                  <a:pos x="12" y="94"/>
                </a:cxn>
                <a:cxn ang="0">
                  <a:pos x="12" y="52"/>
                </a:cxn>
                <a:cxn ang="0">
                  <a:pos x="202" y="52"/>
                </a:cxn>
                <a:cxn ang="0">
                  <a:pos x="202" y="94"/>
                </a:cxn>
                <a:cxn ang="0">
                  <a:pos x="181" y="103"/>
                </a:cxn>
              </a:cxnLst>
              <a:rect l="0" t="0" r="r" b="b"/>
              <a:pathLst>
                <a:path w="213" h="106">
                  <a:moveTo>
                    <a:pt x="181" y="103"/>
                  </a:moveTo>
                  <a:cubicBezTo>
                    <a:pt x="173" y="103"/>
                    <a:pt x="165" y="100"/>
                    <a:pt x="159" y="94"/>
                  </a:cubicBezTo>
                  <a:cubicBezTo>
                    <a:pt x="130" y="65"/>
                    <a:pt x="83" y="65"/>
                    <a:pt x="54" y="94"/>
                  </a:cubicBezTo>
                  <a:cubicBezTo>
                    <a:pt x="43" y="106"/>
                    <a:pt x="24" y="106"/>
                    <a:pt x="12" y="94"/>
                  </a:cubicBezTo>
                  <a:cubicBezTo>
                    <a:pt x="0" y="82"/>
                    <a:pt x="0" y="63"/>
                    <a:pt x="12" y="52"/>
                  </a:cubicBezTo>
                  <a:cubicBezTo>
                    <a:pt x="64" y="0"/>
                    <a:pt x="150" y="0"/>
                    <a:pt x="202" y="52"/>
                  </a:cubicBezTo>
                  <a:cubicBezTo>
                    <a:pt x="213" y="64"/>
                    <a:pt x="213" y="83"/>
                    <a:pt x="202" y="94"/>
                  </a:cubicBezTo>
                  <a:cubicBezTo>
                    <a:pt x="196" y="100"/>
                    <a:pt x="188" y="103"/>
                    <a:pt x="181" y="10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471" name="Freeform 9"/>
            <p:cNvSpPr>
              <a:spLocks/>
            </p:cNvSpPr>
            <p:nvPr/>
          </p:nvSpPr>
          <p:spPr bwMode="auto">
            <a:xfrm>
              <a:off x="5146675" y="711200"/>
              <a:ext cx="319088" cy="112713"/>
            </a:xfrm>
            <a:custGeom>
              <a:avLst/>
              <a:gdLst/>
              <a:ahLst/>
              <a:cxnLst>
                <a:cxn ang="0">
                  <a:pos x="305" y="117"/>
                </a:cxn>
                <a:cxn ang="0">
                  <a:pos x="284" y="108"/>
                </a:cxn>
                <a:cxn ang="0">
                  <a:pos x="169" y="60"/>
                </a:cxn>
                <a:cxn ang="0">
                  <a:pos x="169" y="60"/>
                </a:cxn>
                <a:cxn ang="0">
                  <a:pos x="54" y="108"/>
                </a:cxn>
                <a:cxn ang="0">
                  <a:pos x="11" y="108"/>
                </a:cxn>
                <a:cxn ang="0">
                  <a:pos x="12" y="65"/>
                </a:cxn>
                <a:cxn ang="0">
                  <a:pos x="169" y="0"/>
                </a:cxn>
                <a:cxn ang="0">
                  <a:pos x="169" y="0"/>
                </a:cxn>
                <a:cxn ang="0">
                  <a:pos x="326" y="66"/>
                </a:cxn>
                <a:cxn ang="0">
                  <a:pos x="326" y="108"/>
                </a:cxn>
                <a:cxn ang="0">
                  <a:pos x="305" y="117"/>
                </a:cxn>
              </a:cxnLst>
              <a:rect l="0" t="0" r="r" b="b"/>
              <a:pathLst>
                <a:path w="338" h="119">
                  <a:moveTo>
                    <a:pt x="305" y="117"/>
                  </a:moveTo>
                  <a:cubicBezTo>
                    <a:pt x="297" y="117"/>
                    <a:pt x="290" y="114"/>
                    <a:pt x="284" y="108"/>
                  </a:cubicBezTo>
                  <a:cubicBezTo>
                    <a:pt x="253" y="77"/>
                    <a:pt x="212" y="60"/>
                    <a:pt x="169" y="60"/>
                  </a:cubicBezTo>
                  <a:cubicBezTo>
                    <a:pt x="169" y="60"/>
                    <a:pt x="169" y="60"/>
                    <a:pt x="169" y="60"/>
                  </a:cubicBezTo>
                  <a:cubicBezTo>
                    <a:pt x="125" y="60"/>
                    <a:pt x="85" y="77"/>
                    <a:pt x="54" y="108"/>
                  </a:cubicBezTo>
                  <a:cubicBezTo>
                    <a:pt x="42" y="119"/>
                    <a:pt x="23" y="119"/>
                    <a:pt x="11" y="108"/>
                  </a:cubicBezTo>
                  <a:cubicBezTo>
                    <a:pt x="0" y="96"/>
                    <a:pt x="0" y="77"/>
                    <a:pt x="12" y="65"/>
                  </a:cubicBezTo>
                  <a:cubicBezTo>
                    <a:pt x="54" y="23"/>
                    <a:pt x="10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229" y="0"/>
                    <a:pt x="284" y="23"/>
                    <a:pt x="326" y="66"/>
                  </a:cubicBezTo>
                  <a:cubicBezTo>
                    <a:pt x="338" y="77"/>
                    <a:pt x="338" y="96"/>
                    <a:pt x="326" y="108"/>
                  </a:cubicBezTo>
                  <a:cubicBezTo>
                    <a:pt x="321" y="114"/>
                    <a:pt x="313" y="117"/>
                    <a:pt x="305" y="1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472" name="Freeform 10"/>
            <p:cNvSpPr>
              <a:spLocks/>
            </p:cNvSpPr>
            <p:nvPr/>
          </p:nvSpPr>
          <p:spPr bwMode="auto">
            <a:xfrm>
              <a:off x="5083175" y="623888"/>
              <a:ext cx="446088" cy="141288"/>
            </a:xfrm>
            <a:custGeom>
              <a:avLst/>
              <a:gdLst/>
              <a:ahLst/>
              <a:cxnLst>
                <a:cxn ang="0">
                  <a:pos x="441" y="145"/>
                </a:cxn>
                <a:cxn ang="0">
                  <a:pos x="420" y="136"/>
                </a:cxn>
                <a:cxn ang="0">
                  <a:pos x="237" y="60"/>
                </a:cxn>
                <a:cxn ang="0">
                  <a:pos x="237" y="60"/>
                </a:cxn>
                <a:cxn ang="0">
                  <a:pos x="54" y="136"/>
                </a:cxn>
                <a:cxn ang="0">
                  <a:pos x="11" y="136"/>
                </a:cxn>
                <a:cxn ang="0">
                  <a:pos x="12" y="93"/>
                </a:cxn>
                <a:cxn ang="0">
                  <a:pos x="237" y="0"/>
                </a:cxn>
                <a:cxn ang="0">
                  <a:pos x="237" y="0"/>
                </a:cxn>
                <a:cxn ang="0">
                  <a:pos x="463" y="94"/>
                </a:cxn>
                <a:cxn ang="0">
                  <a:pos x="463" y="137"/>
                </a:cxn>
                <a:cxn ang="0">
                  <a:pos x="441" y="145"/>
                </a:cxn>
              </a:cxnLst>
              <a:rect l="0" t="0" r="r" b="b"/>
              <a:pathLst>
                <a:path w="474" h="148">
                  <a:moveTo>
                    <a:pt x="441" y="145"/>
                  </a:moveTo>
                  <a:cubicBezTo>
                    <a:pt x="434" y="145"/>
                    <a:pt x="426" y="142"/>
                    <a:pt x="420" y="136"/>
                  </a:cubicBezTo>
                  <a:cubicBezTo>
                    <a:pt x="371" y="87"/>
                    <a:pt x="306" y="60"/>
                    <a:pt x="237" y="60"/>
                  </a:cubicBezTo>
                  <a:cubicBezTo>
                    <a:pt x="237" y="60"/>
                    <a:pt x="237" y="60"/>
                    <a:pt x="237" y="60"/>
                  </a:cubicBezTo>
                  <a:cubicBezTo>
                    <a:pt x="168" y="60"/>
                    <a:pt x="103" y="87"/>
                    <a:pt x="54" y="136"/>
                  </a:cubicBezTo>
                  <a:cubicBezTo>
                    <a:pt x="42" y="148"/>
                    <a:pt x="23" y="148"/>
                    <a:pt x="11" y="136"/>
                  </a:cubicBezTo>
                  <a:cubicBezTo>
                    <a:pt x="0" y="124"/>
                    <a:pt x="0" y="105"/>
                    <a:pt x="12" y="93"/>
                  </a:cubicBezTo>
                  <a:cubicBezTo>
                    <a:pt x="72" y="33"/>
                    <a:pt x="152" y="0"/>
                    <a:pt x="237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322" y="0"/>
                    <a:pt x="402" y="34"/>
                    <a:pt x="463" y="94"/>
                  </a:cubicBezTo>
                  <a:cubicBezTo>
                    <a:pt x="474" y="106"/>
                    <a:pt x="474" y="125"/>
                    <a:pt x="463" y="137"/>
                  </a:cubicBezTo>
                  <a:cubicBezTo>
                    <a:pt x="457" y="142"/>
                    <a:pt x="449" y="145"/>
                    <a:pt x="441" y="1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473" name="Group 253"/>
          <p:cNvGrpSpPr>
            <a:grpSpLocks noChangeAspect="1"/>
          </p:cNvGrpSpPr>
          <p:nvPr/>
        </p:nvGrpSpPr>
        <p:grpSpPr>
          <a:xfrm>
            <a:off x="6256410" y="2478187"/>
            <a:ext cx="317016" cy="256722"/>
            <a:chOff x="4641850" y="215900"/>
            <a:chExt cx="2486025" cy="2012950"/>
          </a:xfrm>
          <a:solidFill>
            <a:srgbClr val="00B9E1"/>
          </a:solidFill>
        </p:grpSpPr>
        <p:sp>
          <p:nvSpPr>
            <p:cNvPr id="474" name="Freeform 10"/>
            <p:cNvSpPr>
              <a:spLocks noChangeArrowheads="1"/>
            </p:cNvSpPr>
            <p:nvPr/>
          </p:nvSpPr>
          <p:spPr bwMode="auto">
            <a:xfrm>
              <a:off x="5181600" y="282575"/>
              <a:ext cx="1946275" cy="1946275"/>
            </a:xfrm>
            <a:custGeom>
              <a:avLst/>
              <a:gdLst>
                <a:gd name="T0" fmla="*/ 4436 w 5406"/>
                <a:gd name="T1" fmla="*/ 0 h 5407"/>
                <a:gd name="T2" fmla="*/ 4436 w 5406"/>
                <a:gd name="T3" fmla="*/ 0 h 5407"/>
                <a:gd name="T4" fmla="*/ 187 w 5406"/>
                <a:gd name="T5" fmla="*/ 0 h 5407"/>
                <a:gd name="T6" fmla="*/ 250 w 5406"/>
                <a:gd name="T7" fmla="*/ 219 h 5407"/>
                <a:gd name="T8" fmla="*/ 250 w 5406"/>
                <a:gd name="T9" fmla="*/ 4906 h 5407"/>
                <a:gd name="T10" fmla="*/ 0 w 5406"/>
                <a:gd name="T11" fmla="*/ 5406 h 5407"/>
                <a:gd name="T12" fmla="*/ 4436 w 5406"/>
                <a:gd name="T13" fmla="*/ 5406 h 5407"/>
                <a:gd name="T14" fmla="*/ 5405 w 5406"/>
                <a:gd name="T15" fmla="*/ 4437 h 5407"/>
                <a:gd name="T16" fmla="*/ 5405 w 5406"/>
                <a:gd name="T17" fmla="*/ 969 h 5407"/>
                <a:gd name="T18" fmla="*/ 4436 w 5406"/>
                <a:gd name="T19" fmla="*/ 0 h 5407"/>
                <a:gd name="T20" fmla="*/ 4811 w 5406"/>
                <a:gd name="T21" fmla="*/ 3406 h 5407"/>
                <a:gd name="T22" fmla="*/ 4811 w 5406"/>
                <a:gd name="T23" fmla="*/ 3406 h 5407"/>
                <a:gd name="T24" fmla="*/ 4593 w 5406"/>
                <a:gd name="T25" fmla="*/ 3687 h 5407"/>
                <a:gd name="T26" fmla="*/ 812 w 5406"/>
                <a:gd name="T27" fmla="*/ 3687 h 5407"/>
                <a:gd name="T28" fmla="*/ 594 w 5406"/>
                <a:gd name="T29" fmla="*/ 3406 h 5407"/>
                <a:gd name="T30" fmla="*/ 594 w 5406"/>
                <a:gd name="T31" fmla="*/ 969 h 5407"/>
                <a:gd name="T32" fmla="*/ 812 w 5406"/>
                <a:gd name="T33" fmla="*/ 657 h 5407"/>
                <a:gd name="T34" fmla="*/ 4593 w 5406"/>
                <a:gd name="T35" fmla="*/ 657 h 5407"/>
                <a:gd name="T36" fmla="*/ 4811 w 5406"/>
                <a:gd name="T37" fmla="*/ 969 h 5407"/>
                <a:gd name="T38" fmla="*/ 4811 w 5406"/>
                <a:gd name="T39" fmla="*/ 3406 h 5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06" h="5407">
                  <a:moveTo>
                    <a:pt x="4436" y="0"/>
                  </a:moveTo>
                  <a:lnTo>
                    <a:pt x="4436" y="0"/>
                  </a:lnTo>
                  <a:cubicBezTo>
                    <a:pt x="187" y="0"/>
                    <a:pt x="187" y="0"/>
                    <a:pt x="187" y="0"/>
                  </a:cubicBezTo>
                  <a:cubicBezTo>
                    <a:pt x="219" y="63"/>
                    <a:pt x="250" y="157"/>
                    <a:pt x="250" y="219"/>
                  </a:cubicBezTo>
                  <a:cubicBezTo>
                    <a:pt x="250" y="4906"/>
                    <a:pt x="250" y="4906"/>
                    <a:pt x="250" y="4906"/>
                  </a:cubicBezTo>
                  <a:cubicBezTo>
                    <a:pt x="250" y="5124"/>
                    <a:pt x="156" y="5312"/>
                    <a:pt x="0" y="5406"/>
                  </a:cubicBezTo>
                  <a:cubicBezTo>
                    <a:pt x="4436" y="5406"/>
                    <a:pt x="4436" y="5406"/>
                    <a:pt x="4436" y="5406"/>
                  </a:cubicBezTo>
                  <a:cubicBezTo>
                    <a:pt x="4968" y="5406"/>
                    <a:pt x="5405" y="4968"/>
                    <a:pt x="5405" y="4437"/>
                  </a:cubicBezTo>
                  <a:cubicBezTo>
                    <a:pt x="5405" y="969"/>
                    <a:pt x="5405" y="969"/>
                    <a:pt x="5405" y="969"/>
                  </a:cubicBezTo>
                  <a:cubicBezTo>
                    <a:pt x="5405" y="438"/>
                    <a:pt x="4968" y="0"/>
                    <a:pt x="4436" y="0"/>
                  </a:cubicBezTo>
                  <a:close/>
                  <a:moveTo>
                    <a:pt x="4811" y="3406"/>
                  </a:moveTo>
                  <a:lnTo>
                    <a:pt x="4811" y="3406"/>
                  </a:lnTo>
                  <a:cubicBezTo>
                    <a:pt x="4811" y="3562"/>
                    <a:pt x="4718" y="3687"/>
                    <a:pt x="4593" y="3687"/>
                  </a:cubicBezTo>
                  <a:cubicBezTo>
                    <a:pt x="812" y="3687"/>
                    <a:pt x="812" y="3687"/>
                    <a:pt x="812" y="3687"/>
                  </a:cubicBezTo>
                  <a:cubicBezTo>
                    <a:pt x="687" y="3687"/>
                    <a:pt x="594" y="3562"/>
                    <a:pt x="594" y="3406"/>
                  </a:cubicBezTo>
                  <a:cubicBezTo>
                    <a:pt x="594" y="969"/>
                    <a:pt x="594" y="969"/>
                    <a:pt x="594" y="969"/>
                  </a:cubicBezTo>
                  <a:cubicBezTo>
                    <a:pt x="594" y="813"/>
                    <a:pt x="687" y="657"/>
                    <a:pt x="812" y="657"/>
                  </a:cubicBezTo>
                  <a:cubicBezTo>
                    <a:pt x="4593" y="657"/>
                    <a:pt x="4593" y="657"/>
                    <a:pt x="4593" y="657"/>
                  </a:cubicBezTo>
                  <a:cubicBezTo>
                    <a:pt x="4718" y="657"/>
                    <a:pt x="4811" y="813"/>
                    <a:pt x="4811" y="969"/>
                  </a:cubicBezTo>
                  <a:lnTo>
                    <a:pt x="4811" y="340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75" name="Freeform 11"/>
            <p:cNvSpPr>
              <a:spLocks noChangeArrowheads="1"/>
            </p:cNvSpPr>
            <p:nvPr/>
          </p:nvSpPr>
          <p:spPr bwMode="auto">
            <a:xfrm>
              <a:off x="5610225" y="688975"/>
              <a:ext cx="169863" cy="169863"/>
            </a:xfrm>
            <a:custGeom>
              <a:avLst/>
              <a:gdLst>
                <a:gd name="T0" fmla="*/ 469 w 470"/>
                <a:gd name="T1" fmla="*/ 407 h 470"/>
                <a:gd name="T2" fmla="*/ 469 w 470"/>
                <a:gd name="T3" fmla="*/ 407 h 470"/>
                <a:gd name="T4" fmla="*/ 407 w 470"/>
                <a:gd name="T5" fmla="*/ 469 h 470"/>
                <a:gd name="T6" fmla="*/ 31 w 470"/>
                <a:gd name="T7" fmla="*/ 469 h 470"/>
                <a:gd name="T8" fmla="*/ 0 w 470"/>
                <a:gd name="T9" fmla="*/ 407 h 470"/>
                <a:gd name="T10" fmla="*/ 0 w 470"/>
                <a:gd name="T11" fmla="*/ 32 h 470"/>
                <a:gd name="T12" fmla="*/ 31 w 470"/>
                <a:gd name="T13" fmla="*/ 0 h 470"/>
                <a:gd name="T14" fmla="*/ 407 w 470"/>
                <a:gd name="T15" fmla="*/ 0 h 470"/>
                <a:gd name="T16" fmla="*/ 469 w 470"/>
                <a:gd name="T17" fmla="*/ 32 h 470"/>
                <a:gd name="T18" fmla="*/ 469 w 470"/>
                <a:gd name="T19" fmla="*/ 40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0" h="470">
                  <a:moveTo>
                    <a:pt x="469" y="407"/>
                  </a:moveTo>
                  <a:lnTo>
                    <a:pt x="469" y="407"/>
                  </a:lnTo>
                  <a:cubicBezTo>
                    <a:pt x="469" y="438"/>
                    <a:pt x="438" y="469"/>
                    <a:pt x="407" y="469"/>
                  </a:cubicBezTo>
                  <a:cubicBezTo>
                    <a:pt x="31" y="469"/>
                    <a:pt x="31" y="469"/>
                    <a:pt x="31" y="469"/>
                  </a:cubicBezTo>
                  <a:cubicBezTo>
                    <a:pt x="0" y="469"/>
                    <a:pt x="0" y="438"/>
                    <a:pt x="0" y="40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0"/>
                    <a:pt x="0" y="0"/>
                    <a:pt x="31" y="0"/>
                  </a:cubicBezTo>
                  <a:cubicBezTo>
                    <a:pt x="407" y="0"/>
                    <a:pt x="407" y="0"/>
                    <a:pt x="407" y="0"/>
                  </a:cubicBezTo>
                  <a:cubicBezTo>
                    <a:pt x="438" y="0"/>
                    <a:pt x="469" y="0"/>
                    <a:pt x="469" y="32"/>
                  </a:cubicBezTo>
                  <a:lnTo>
                    <a:pt x="469" y="40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76" name="Freeform 12"/>
            <p:cNvSpPr>
              <a:spLocks noChangeArrowheads="1"/>
            </p:cNvSpPr>
            <p:nvPr/>
          </p:nvSpPr>
          <p:spPr bwMode="auto">
            <a:xfrm>
              <a:off x="5846763" y="688975"/>
              <a:ext cx="168275" cy="169863"/>
            </a:xfrm>
            <a:custGeom>
              <a:avLst/>
              <a:gdLst>
                <a:gd name="T0" fmla="*/ 467 w 468"/>
                <a:gd name="T1" fmla="*/ 407 h 470"/>
                <a:gd name="T2" fmla="*/ 467 w 468"/>
                <a:gd name="T3" fmla="*/ 407 h 470"/>
                <a:gd name="T4" fmla="*/ 436 w 468"/>
                <a:gd name="T5" fmla="*/ 469 h 470"/>
                <a:gd name="T6" fmla="*/ 31 w 468"/>
                <a:gd name="T7" fmla="*/ 469 h 470"/>
                <a:gd name="T8" fmla="*/ 0 w 468"/>
                <a:gd name="T9" fmla="*/ 407 h 470"/>
                <a:gd name="T10" fmla="*/ 0 w 468"/>
                <a:gd name="T11" fmla="*/ 32 h 470"/>
                <a:gd name="T12" fmla="*/ 31 w 468"/>
                <a:gd name="T13" fmla="*/ 0 h 470"/>
                <a:gd name="T14" fmla="*/ 436 w 468"/>
                <a:gd name="T15" fmla="*/ 0 h 470"/>
                <a:gd name="T16" fmla="*/ 467 w 468"/>
                <a:gd name="T17" fmla="*/ 32 h 470"/>
                <a:gd name="T18" fmla="*/ 467 w 468"/>
                <a:gd name="T19" fmla="*/ 40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8" h="470">
                  <a:moveTo>
                    <a:pt x="467" y="407"/>
                  </a:moveTo>
                  <a:lnTo>
                    <a:pt x="467" y="407"/>
                  </a:lnTo>
                  <a:cubicBezTo>
                    <a:pt x="467" y="438"/>
                    <a:pt x="436" y="469"/>
                    <a:pt x="436" y="469"/>
                  </a:cubicBezTo>
                  <a:cubicBezTo>
                    <a:pt x="31" y="469"/>
                    <a:pt x="31" y="469"/>
                    <a:pt x="31" y="469"/>
                  </a:cubicBezTo>
                  <a:cubicBezTo>
                    <a:pt x="0" y="469"/>
                    <a:pt x="0" y="438"/>
                    <a:pt x="0" y="40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0"/>
                    <a:pt x="0" y="0"/>
                    <a:pt x="31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36" y="0"/>
                    <a:pt x="467" y="0"/>
                    <a:pt x="467" y="32"/>
                  </a:cubicBezTo>
                  <a:lnTo>
                    <a:pt x="467" y="40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77" name="Freeform 13"/>
            <p:cNvSpPr>
              <a:spLocks noChangeArrowheads="1"/>
            </p:cNvSpPr>
            <p:nvPr/>
          </p:nvSpPr>
          <p:spPr bwMode="auto">
            <a:xfrm>
              <a:off x="6081713" y="688975"/>
              <a:ext cx="169862" cy="169863"/>
            </a:xfrm>
            <a:custGeom>
              <a:avLst/>
              <a:gdLst>
                <a:gd name="T0" fmla="*/ 469 w 470"/>
                <a:gd name="T1" fmla="*/ 407 h 470"/>
                <a:gd name="T2" fmla="*/ 469 w 470"/>
                <a:gd name="T3" fmla="*/ 407 h 470"/>
                <a:gd name="T4" fmla="*/ 437 w 470"/>
                <a:gd name="T5" fmla="*/ 469 h 470"/>
                <a:gd name="T6" fmla="*/ 31 w 470"/>
                <a:gd name="T7" fmla="*/ 469 h 470"/>
                <a:gd name="T8" fmla="*/ 0 w 470"/>
                <a:gd name="T9" fmla="*/ 407 h 470"/>
                <a:gd name="T10" fmla="*/ 0 w 470"/>
                <a:gd name="T11" fmla="*/ 32 h 470"/>
                <a:gd name="T12" fmla="*/ 31 w 470"/>
                <a:gd name="T13" fmla="*/ 0 h 470"/>
                <a:gd name="T14" fmla="*/ 437 w 470"/>
                <a:gd name="T15" fmla="*/ 0 h 470"/>
                <a:gd name="T16" fmla="*/ 469 w 470"/>
                <a:gd name="T17" fmla="*/ 32 h 470"/>
                <a:gd name="T18" fmla="*/ 469 w 470"/>
                <a:gd name="T19" fmla="*/ 40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0" h="470">
                  <a:moveTo>
                    <a:pt x="469" y="407"/>
                  </a:moveTo>
                  <a:lnTo>
                    <a:pt x="469" y="407"/>
                  </a:lnTo>
                  <a:cubicBezTo>
                    <a:pt x="469" y="438"/>
                    <a:pt x="437" y="469"/>
                    <a:pt x="437" y="469"/>
                  </a:cubicBezTo>
                  <a:cubicBezTo>
                    <a:pt x="31" y="469"/>
                    <a:pt x="31" y="469"/>
                    <a:pt x="31" y="469"/>
                  </a:cubicBezTo>
                  <a:cubicBezTo>
                    <a:pt x="0" y="469"/>
                    <a:pt x="0" y="438"/>
                    <a:pt x="0" y="40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0"/>
                    <a:pt x="0" y="0"/>
                    <a:pt x="31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37" y="0"/>
                    <a:pt x="469" y="0"/>
                    <a:pt x="469" y="32"/>
                  </a:cubicBezTo>
                  <a:lnTo>
                    <a:pt x="469" y="40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78" name="Freeform 14"/>
            <p:cNvSpPr>
              <a:spLocks noChangeArrowheads="1"/>
            </p:cNvSpPr>
            <p:nvPr/>
          </p:nvSpPr>
          <p:spPr bwMode="auto">
            <a:xfrm>
              <a:off x="6318250" y="688975"/>
              <a:ext cx="169863" cy="169863"/>
            </a:xfrm>
            <a:custGeom>
              <a:avLst/>
              <a:gdLst>
                <a:gd name="T0" fmla="*/ 469 w 470"/>
                <a:gd name="T1" fmla="*/ 407 h 470"/>
                <a:gd name="T2" fmla="*/ 469 w 470"/>
                <a:gd name="T3" fmla="*/ 407 h 470"/>
                <a:gd name="T4" fmla="*/ 438 w 470"/>
                <a:gd name="T5" fmla="*/ 469 h 470"/>
                <a:gd name="T6" fmla="*/ 31 w 470"/>
                <a:gd name="T7" fmla="*/ 469 h 470"/>
                <a:gd name="T8" fmla="*/ 0 w 470"/>
                <a:gd name="T9" fmla="*/ 407 h 470"/>
                <a:gd name="T10" fmla="*/ 0 w 470"/>
                <a:gd name="T11" fmla="*/ 32 h 470"/>
                <a:gd name="T12" fmla="*/ 31 w 470"/>
                <a:gd name="T13" fmla="*/ 0 h 470"/>
                <a:gd name="T14" fmla="*/ 438 w 470"/>
                <a:gd name="T15" fmla="*/ 0 h 470"/>
                <a:gd name="T16" fmla="*/ 469 w 470"/>
                <a:gd name="T17" fmla="*/ 32 h 470"/>
                <a:gd name="T18" fmla="*/ 469 w 470"/>
                <a:gd name="T19" fmla="*/ 40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0" h="470">
                  <a:moveTo>
                    <a:pt x="469" y="407"/>
                  </a:moveTo>
                  <a:lnTo>
                    <a:pt x="469" y="407"/>
                  </a:lnTo>
                  <a:cubicBezTo>
                    <a:pt x="469" y="438"/>
                    <a:pt x="438" y="469"/>
                    <a:pt x="438" y="469"/>
                  </a:cubicBezTo>
                  <a:cubicBezTo>
                    <a:pt x="31" y="469"/>
                    <a:pt x="31" y="469"/>
                    <a:pt x="31" y="469"/>
                  </a:cubicBezTo>
                  <a:cubicBezTo>
                    <a:pt x="0" y="469"/>
                    <a:pt x="0" y="438"/>
                    <a:pt x="0" y="40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0"/>
                    <a:pt x="0" y="0"/>
                    <a:pt x="31" y="0"/>
                  </a:cubicBezTo>
                  <a:cubicBezTo>
                    <a:pt x="438" y="0"/>
                    <a:pt x="438" y="0"/>
                    <a:pt x="438" y="0"/>
                  </a:cubicBezTo>
                  <a:cubicBezTo>
                    <a:pt x="438" y="0"/>
                    <a:pt x="469" y="0"/>
                    <a:pt x="469" y="32"/>
                  </a:cubicBezTo>
                  <a:lnTo>
                    <a:pt x="469" y="40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79" name="Freeform 15"/>
            <p:cNvSpPr>
              <a:spLocks noChangeArrowheads="1"/>
            </p:cNvSpPr>
            <p:nvPr/>
          </p:nvSpPr>
          <p:spPr bwMode="auto">
            <a:xfrm>
              <a:off x="6554788" y="688975"/>
              <a:ext cx="169862" cy="169863"/>
            </a:xfrm>
            <a:custGeom>
              <a:avLst/>
              <a:gdLst>
                <a:gd name="T0" fmla="*/ 469 w 470"/>
                <a:gd name="T1" fmla="*/ 407 h 470"/>
                <a:gd name="T2" fmla="*/ 469 w 470"/>
                <a:gd name="T3" fmla="*/ 407 h 470"/>
                <a:gd name="T4" fmla="*/ 438 w 470"/>
                <a:gd name="T5" fmla="*/ 469 h 470"/>
                <a:gd name="T6" fmla="*/ 32 w 470"/>
                <a:gd name="T7" fmla="*/ 469 h 470"/>
                <a:gd name="T8" fmla="*/ 0 w 470"/>
                <a:gd name="T9" fmla="*/ 407 h 470"/>
                <a:gd name="T10" fmla="*/ 0 w 470"/>
                <a:gd name="T11" fmla="*/ 32 h 470"/>
                <a:gd name="T12" fmla="*/ 32 w 470"/>
                <a:gd name="T13" fmla="*/ 0 h 470"/>
                <a:gd name="T14" fmla="*/ 438 w 470"/>
                <a:gd name="T15" fmla="*/ 0 h 470"/>
                <a:gd name="T16" fmla="*/ 469 w 470"/>
                <a:gd name="T17" fmla="*/ 32 h 470"/>
                <a:gd name="T18" fmla="*/ 469 w 470"/>
                <a:gd name="T19" fmla="*/ 40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0" h="470">
                  <a:moveTo>
                    <a:pt x="469" y="407"/>
                  </a:moveTo>
                  <a:lnTo>
                    <a:pt x="469" y="407"/>
                  </a:lnTo>
                  <a:cubicBezTo>
                    <a:pt x="469" y="438"/>
                    <a:pt x="469" y="469"/>
                    <a:pt x="438" y="469"/>
                  </a:cubicBezTo>
                  <a:cubicBezTo>
                    <a:pt x="32" y="469"/>
                    <a:pt x="32" y="469"/>
                    <a:pt x="32" y="469"/>
                  </a:cubicBezTo>
                  <a:cubicBezTo>
                    <a:pt x="0" y="469"/>
                    <a:pt x="0" y="438"/>
                    <a:pt x="0" y="40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0"/>
                    <a:pt x="0" y="0"/>
                    <a:pt x="32" y="0"/>
                  </a:cubicBezTo>
                  <a:cubicBezTo>
                    <a:pt x="438" y="0"/>
                    <a:pt x="438" y="0"/>
                    <a:pt x="438" y="0"/>
                  </a:cubicBezTo>
                  <a:cubicBezTo>
                    <a:pt x="469" y="0"/>
                    <a:pt x="469" y="0"/>
                    <a:pt x="469" y="32"/>
                  </a:cubicBezTo>
                  <a:lnTo>
                    <a:pt x="469" y="40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80" name="Freeform 16"/>
            <p:cNvSpPr>
              <a:spLocks noChangeArrowheads="1"/>
            </p:cNvSpPr>
            <p:nvPr/>
          </p:nvSpPr>
          <p:spPr bwMode="auto">
            <a:xfrm>
              <a:off x="5610225" y="969963"/>
              <a:ext cx="169863" cy="180975"/>
            </a:xfrm>
            <a:custGeom>
              <a:avLst/>
              <a:gdLst>
                <a:gd name="T0" fmla="*/ 469 w 470"/>
                <a:gd name="T1" fmla="*/ 437 h 501"/>
                <a:gd name="T2" fmla="*/ 469 w 470"/>
                <a:gd name="T3" fmla="*/ 437 h 501"/>
                <a:gd name="T4" fmla="*/ 407 w 470"/>
                <a:gd name="T5" fmla="*/ 500 h 501"/>
                <a:gd name="T6" fmla="*/ 31 w 470"/>
                <a:gd name="T7" fmla="*/ 500 h 501"/>
                <a:gd name="T8" fmla="*/ 0 w 470"/>
                <a:gd name="T9" fmla="*/ 437 h 501"/>
                <a:gd name="T10" fmla="*/ 0 w 470"/>
                <a:gd name="T11" fmla="*/ 62 h 501"/>
                <a:gd name="T12" fmla="*/ 31 w 470"/>
                <a:gd name="T13" fmla="*/ 0 h 501"/>
                <a:gd name="T14" fmla="*/ 407 w 470"/>
                <a:gd name="T15" fmla="*/ 0 h 501"/>
                <a:gd name="T16" fmla="*/ 469 w 470"/>
                <a:gd name="T17" fmla="*/ 62 h 501"/>
                <a:gd name="T18" fmla="*/ 469 w 470"/>
                <a:gd name="T19" fmla="*/ 437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0" h="501">
                  <a:moveTo>
                    <a:pt x="469" y="437"/>
                  </a:moveTo>
                  <a:lnTo>
                    <a:pt x="469" y="437"/>
                  </a:lnTo>
                  <a:cubicBezTo>
                    <a:pt x="469" y="468"/>
                    <a:pt x="438" y="500"/>
                    <a:pt x="407" y="500"/>
                  </a:cubicBezTo>
                  <a:cubicBezTo>
                    <a:pt x="31" y="500"/>
                    <a:pt x="31" y="500"/>
                    <a:pt x="31" y="500"/>
                  </a:cubicBezTo>
                  <a:cubicBezTo>
                    <a:pt x="0" y="500"/>
                    <a:pt x="0" y="468"/>
                    <a:pt x="0" y="437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1"/>
                    <a:pt x="0" y="0"/>
                    <a:pt x="31" y="0"/>
                  </a:cubicBezTo>
                  <a:cubicBezTo>
                    <a:pt x="407" y="0"/>
                    <a:pt x="407" y="0"/>
                    <a:pt x="407" y="0"/>
                  </a:cubicBezTo>
                  <a:cubicBezTo>
                    <a:pt x="438" y="0"/>
                    <a:pt x="469" y="31"/>
                    <a:pt x="469" y="62"/>
                  </a:cubicBezTo>
                  <a:lnTo>
                    <a:pt x="469" y="4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81" name="Freeform 17"/>
            <p:cNvSpPr>
              <a:spLocks noChangeArrowheads="1"/>
            </p:cNvSpPr>
            <p:nvPr/>
          </p:nvSpPr>
          <p:spPr bwMode="auto">
            <a:xfrm>
              <a:off x="5846763" y="969963"/>
              <a:ext cx="168275" cy="180975"/>
            </a:xfrm>
            <a:custGeom>
              <a:avLst/>
              <a:gdLst>
                <a:gd name="T0" fmla="*/ 467 w 468"/>
                <a:gd name="T1" fmla="*/ 437 h 501"/>
                <a:gd name="T2" fmla="*/ 467 w 468"/>
                <a:gd name="T3" fmla="*/ 437 h 501"/>
                <a:gd name="T4" fmla="*/ 436 w 468"/>
                <a:gd name="T5" fmla="*/ 500 h 501"/>
                <a:gd name="T6" fmla="*/ 31 w 468"/>
                <a:gd name="T7" fmla="*/ 500 h 501"/>
                <a:gd name="T8" fmla="*/ 0 w 468"/>
                <a:gd name="T9" fmla="*/ 437 h 501"/>
                <a:gd name="T10" fmla="*/ 0 w 468"/>
                <a:gd name="T11" fmla="*/ 62 h 501"/>
                <a:gd name="T12" fmla="*/ 31 w 468"/>
                <a:gd name="T13" fmla="*/ 0 h 501"/>
                <a:gd name="T14" fmla="*/ 436 w 468"/>
                <a:gd name="T15" fmla="*/ 0 h 501"/>
                <a:gd name="T16" fmla="*/ 467 w 468"/>
                <a:gd name="T17" fmla="*/ 62 h 501"/>
                <a:gd name="T18" fmla="*/ 467 w 468"/>
                <a:gd name="T19" fmla="*/ 437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8" h="501">
                  <a:moveTo>
                    <a:pt x="467" y="437"/>
                  </a:moveTo>
                  <a:lnTo>
                    <a:pt x="467" y="437"/>
                  </a:lnTo>
                  <a:cubicBezTo>
                    <a:pt x="467" y="468"/>
                    <a:pt x="436" y="500"/>
                    <a:pt x="436" y="500"/>
                  </a:cubicBezTo>
                  <a:cubicBezTo>
                    <a:pt x="31" y="500"/>
                    <a:pt x="31" y="500"/>
                    <a:pt x="31" y="500"/>
                  </a:cubicBezTo>
                  <a:cubicBezTo>
                    <a:pt x="0" y="500"/>
                    <a:pt x="0" y="468"/>
                    <a:pt x="0" y="437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1"/>
                    <a:pt x="0" y="0"/>
                    <a:pt x="31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36" y="0"/>
                    <a:pt x="467" y="31"/>
                    <a:pt x="467" y="62"/>
                  </a:cubicBezTo>
                  <a:lnTo>
                    <a:pt x="467" y="4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82" name="Freeform 18"/>
            <p:cNvSpPr>
              <a:spLocks noChangeArrowheads="1"/>
            </p:cNvSpPr>
            <p:nvPr/>
          </p:nvSpPr>
          <p:spPr bwMode="auto">
            <a:xfrm>
              <a:off x="6081713" y="969963"/>
              <a:ext cx="169862" cy="180975"/>
            </a:xfrm>
            <a:custGeom>
              <a:avLst/>
              <a:gdLst>
                <a:gd name="T0" fmla="*/ 469 w 470"/>
                <a:gd name="T1" fmla="*/ 437 h 501"/>
                <a:gd name="T2" fmla="*/ 469 w 470"/>
                <a:gd name="T3" fmla="*/ 437 h 501"/>
                <a:gd name="T4" fmla="*/ 437 w 470"/>
                <a:gd name="T5" fmla="*/ 500 h 501"/>
                <a:gd name="T6" fmla="*/ 31 w 470"/>
                <a:gd name="T7" fmla="*/ 500 h 501"/>
                <a:gd name="T8" fmla="*/ 0 w 470"/>
                <a:gd name="T9" fmla="*/ 437 h 501"/>
                <a:gd name="T10" fmla="*/ 0 w 470"/>
                <a:gd name="T11" fmla="*/ 62 h 501"/>
                <a:gd name="T12" fmla="*/ 31 w 470"/>
                <a:gd name="T13" fmla="*/ 0 h 501"/>
                <a:gd name="T14" fmla="*/ 437 w 470"/>
                <a:gd name="T15" fmla="*/ 0 h 501"/>
                <a:gd name="T16" fmla="*/ 469 w 470"/>
                <a:gd name="T17" fmla="*/ 62 h 501"/>
                <a:gd name="T18" fmla="*/ 469 w 470"/>
                <a:gd name="T19" fmla="*/ 437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0" h="501">
                  <a:moveTo>
                    <a:pt x="469" y="437"/>
                  </a:moveTo>
                  <a:lnTo>
                    <a:pt x="469" y="437"/>
                  </a:lnTo>
                  <a:cubicBezTo>
                    <a:pt x="469" y="468"/>
                    <a:pt x="437" y="500"/>
                    <a:pt x="437" y="500"/>
                  </a:cubicBezTo>
                  <a:cubicBezTo>
                    <a:pt x="31" y="500"/>
                    <a:pt x="31" y="500"/>
                    <a:pt x="31" y="500"/>
                  </a:cubicBezTo>
                  <a:cubicBezTo>
                    <a:pt x="0" y="500"/>
                    <a:pt x="0" y="468"/>
                    <a:pt x="0" y="437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1"/>
                    <a:pt x="0" y="0"/>
                    <a:pt x="31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37" y="0"/>
                    <a:pt x="469" y="31"/>
                    <a:pt x="469" y="62"/>
                  </a:cubicBezTo>
                  <a:lnTo>
                    <a:pt x="469" y="4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83" name="Freeform 19"/>
            <p:cNvSpPr>
              <a:spLocks noChangeArrowheads="1"/>
            </p:cNvSpPr>
            <p:nvPr/>
          </p:nvSpPr>
          <p:spPr bwMode="auto">
            <a:xfrm>
              <a:off x="5552672" y="969964"/>
              <a:ext cx="169864" cy="180974"/>
            </a:xfrm>
            <a:custGeom>
              <a:avLst/>
              <a:gdLst>
                <a:gd name="T0" fmla="*/ 469 w 470"/>
                <a:gd name="T1" fmla="*/ 437 h 501"/>
                <a:gd name="T2" fmla="*/ 469 w 470"/>
                <a:gd name="T3" fmla="*/ 437 h 501"/>
                <a:gd name="T4" fmla="*/ 438 w 470"/>
                <a:gd name="T5" fmla="*/ 500 h 501"/>
                <a:gd name="T6" fmla="*/ 31 w 470"/>
                <a:gd name="T7" fmla="*/ 500 h 501"/>
                <a:gd name="T8" fmla="*/ 0 w 470"/>
                <a:gd name="T9" fmla="*/ 437 h 501"/>
                <a:gd name="T10" fmla="*/ 0 w 470"/>
                <a:gd name="T11" fmla="*/ 62 h 501"/>
                <a:gd name="T12" fmla="*/ 31 w 470"/>
                <a:gd name="T13" fmla="*/ 0 h 501"/>
                <a:gd name="T14" fmla="*/ 438 w 470"/>
                <a:gd name="T15" fmla="*/ 0 h 501"/>
                <a:gd name="T16" fmla="*/ 469 w 470"/>
                <a:gd name="T17" fmla="*/ 62 h 501"/>
                <a:gd name="T18" fmla="*/ 469 w 470"/>
                <a:gd name="T19" fmla="*/ 437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0" h="501">
                  <a:moveTo>
                    <a:pt x="469" y="437"/>
                  </a:moveTo>
                  <a:lnTo>
                    <a:pt x="469" y="437"/>
                  </a:lnTo>
                  <a:cubicBezTo>
                    <a:pt x="469" y="468"/>
                    <a:pt x="438" y="500"/>
                    <a:pt x="438" y="500"/>
                  </a:cubicBezTo>
                  <a:cubicBezTo>
                    <a:pt x="31" y="500"/>
                    <a:pt x="31" y="500"/>
                    <a:pt x="31" y="500"/>
                  </a:cubicBezTo>
                  <a:cubicBezTo>
                    <a:pt x="0" y="500"/>
                    <a:pt x="0" y="468"/>
                    <a:pt x="0" y="437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1"/>
                    <a:pt x="0" y="0"/>
                    <a:pt x="31" y="0"/>
                  </a:cubicBezTo>
                  <a:cubicBezTo>
                    <a:pt x="438" y="0"/>
                    <a:pt x="438" y="0"/>
                    <a:pt x="438" y="0"/>
                  </a:cubicBezTo>
                  <a:cubicBezTo>
                    <a:pt x="438" y="0"/>
                    <a:pt x="469" y="31"/>
                    <a:pt x="469" y="62"/>
                  </a:cubicBezTo>
                  <a:lnTo>
                    <a:pt x="469" y="4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84" name="Freeform 20"/>
            <p:cNvSpPr>
              <a:spLocks noChangeArrowheads="1"/>
            </p:cNvSpPr>
            <p:nvPr/>
          </p:nvSpPr>
          <p:spPr bwMode="auto">
            <a:xfrm>
              <a:off x="6554788" y="969963"/>
              <a:ext cx="169862" cy="180975"/>
            </a:xfrm>
            <a:custGeom>
              <a:avLst/>
              <a:gdLst>
                <a:gd name="T0" fmla="*/ 469 w 470"/>
                <a:gd name="T1" fmla="*/ 437 h 501"/>
                <a:gd name="T2" fmla="*/ 469 w 470"/>
                <a:gd name="T3" fmla="*/ 437 h 501"/>
                <a:gd name="T4" fmla="*/ 438 w 470"/>
                <a:gd name="T5" fmla="*/ 500 h 501"/>
                <a:gd name="T6" fmla="*/ 32 w 470"/>
                <a:gd name="T7" fmla="*/ 500 h 501"/>
                <a:gd name="T8" fmla="*/ 0 w 470"/>
                <a:gd name="T9" fmla="*/ 437 h 501"/>
                <a:gd name="T10" fmla="*/ 0 w 470"/>
                <a:gd name="T11" fmla="*/ 62 h 501"/>
                <a:gd name="T12" fmla="*/ 32 w 470"/>
                <a:gd name="T13" fmla="*/ 0 h 501"/>
                <a:gd name="T14" fmla="*/ 438 w 470"/>
                <a:gd name="T15" fmla="*/ 0 h 501"/>
                <a:gd name="T16" fmla="*/ 469 w 470"/>
                <a:gd name="T17" fmla="*/ 62 h 501"/>
                <a:gd name="T18" fmla="*/ 469 w 470"/>
                <a:gd name="T19" fmla="*/ 437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0" h="501">
                  <a:moveTo>
                    <a:pt x="469" y="437"/>
                  </a:moveTo>
                  <a:lnTo>
                    <a:pt x="469" y="437"/>
                  </a:lnTo>
                  <a:cubicBezTo>
                    <a:pt x="469" y="468"/>
                    <a:pt x="469" y="500"/>
                    <a:pt x="438" y="500"/>
                  </a:cubicBezTo>
                  <a:cubicBezTo>
                    <a:pt x="32" y="500"/>
                    <a:pt x="32" y="500"/>
                    <a:pt x="32" y="500"/>
                  </a:cubicBezTo>
                  <a:cubicBezTo>
                    <a:pt x="0" y="500"/>
                    <a:pt x="0" y="468"/>
                    <a:pt x="0" y="437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1"/>
                    <a:pt x="0" y="0"/>
                    <a:pt x="32" y="0"/>
                  </a:cubicBezTo>
                  <a:cubicBezTo>
                    <a:pt x="438" y="0"/>
                    <a:pt x="438" y="0"/>
                    <a:pt x="438" y="0"/>
                  </a:cubicBezTo>
                  <a:cubicBezTo>
                    <a:pt x="469" y="0"/>
                    <a:pt x="469" y="31"/>
                    <a:pt x="469" y="62"/>
                  </a:cubicBezTo>
                  <a:lnTo>
                    <a:pt x="469" y="4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85" name="Freeform 21"/>
            <p:cNvSpPr>
              <a:spLocks noChangeArrowheads="1"/>
            </p:cNvSpPr>
            <p:nvPr/>
          </p:nvSpPr>
          <p:spPr bwMode="auto">
            <a:xfrm>
              <a:off x="4652963" y="215900"/>
              <a:ext cx="550862" cy="2001838"/>
            </a:xfrm>
            <a:custGeom>
              <a:avLst/>
              <a:gdLst>
                <a:gd name="T0" fmla="*/ 1156 w 1532"/>
                <a:gd name="T1" fmla="*/ 0 h 5562"/>
                <a:gd name="T2" fmla="*/ 1156 w 1532"/>
                <a:gd name="T3" fmla="*/ 0 h 5562"/>
                <a:gd name="T4" fmla="*/ 938 w 1532"/>
                <a:gd name="T5" fmla="*/ 0 h 5562"/>
                <a:gd name="T6" fmla="*/ 1000 w 1532"/>
                <a:gd name="T7" fmla="*/ 281 h 5562"/>
                <a:gd name="T8" fmla="*/ 250 w 1532"/>
                <a:gd name="T9" fmla="*/ 1031 h 5562"/>
                <a:gd name="T10" fmla="*/ 0 w 1532"/>
                <a:gd name="T11" fmla="*/ 969 h 5562"/>
                <a:gd name="T12" fmla="*/ 0 w 1532"/>
                <a:gd name="T13" fmla="*/ 5124 h 5562"/>
                <a:gd name="T14" fmla="*/ 375 w 1532"/>
                <a:gd name="T15" fmla="*/ 5561 h 5562"/>
                <a:gd name="T16" fmla="*/ 1156 w 1532"/>
                <a:gd name="T17" fmla="*/ 5561 h 5562"/>
                <a:gd name="T18" fmla="*/ 1531 w 1532"/>
                <a:gd name="T19" fmla="*/ 5093 h 5562"/>
                <a:gd name="T20" fmla="*/ 1531 w 1532"/>
                <a:gd name="T21" fmla="*/ 406 h 5562"/>
                <a:gd name="T22" fmla="*/ 1156 w 1532"/>
                <a:gd name="T23" fmla="*/ 0 h 5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32" h="5562">
                  <a:moveTo>
                    <a:pt x="1156" y="0"/>
                  </a:moveTo>
                  <a:lnTo>
                    <a:pt x="1156" y="0"/>
                  </a:lnTo>
                  <a:cubicBezTo>
                    <a:pt x="938" y="0"/>
                    <a:pt x="938" y="0"/>
                    <a:pt x="938" y="0"/>
                  </a:cubicBezTo>
                  <a:cubicBezTo>
                    <a:pt x="1000" y="94"/>
                    <a:pt x="1000" y="187"/>
                    <a:pt x="1000" y="281"/>
                  </a:cubicBezTo>
                  <a:cubicBezTo>
                    <a:pt x="1000" y="687"/>
                    <a:pt x="688" y="1031"/>
                    <a:pt x="250" y="1031"/>
                  </a:cubicBezTo>
                  <a:cubicBezTo>
                    <a:pt x="156" y="1031"/>
                    <a:pt x="94" y="1000"/>
                    <a:pt x="0" y="969"/>
                  </a:cubicBezTo>
                  <a:cubicBezTo>
                    <a:pt x="0" y="5124"/>
                    <a:pt x="0" y="5124"/>
                    <a:pt x="0" y="5124"/>
                  </a:cubicBezTo>
                  <a:cubicBezTo>
                    <a:pt x="0" y="5343"/>
                    <a:pt x="156" y="5561"/>
                    <a:pt x="375" y="5561"/>
                  </a:cubicBezTo>
                  <a:cubicBezTo>
                    <a:pt x="1156" y="5561"/>
                    <a:pt x="1156" y="5561"/>
                    <a:pt x="1156" y="5561"/>
                  </a:cubicBezTo>
                  <a:cubicBezTo>
                    <a:pt x="1375" y="5561"/>
                    <a:pt x="1531" y="5343"/>
                    <a:pt x="1531" y="5093"/>
                  </a:cubicBezTo>
                  <a:cubicBezTo>
                    <a:pt x="1531" y="406"/>
                    <a:pt x="1531" y="406"/>
                    <a:pt x="1531" y="406"/>
                  </a:cubicBezTo>
                  <a:cubicBezTo>
                    <a:pt x="1531" y="187"/>
                    <a:pt x="1344" y="0"/>
                    <a:pt x="1156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486" name="Freeform 22"/>
            <p:cNvSpPr>
              <a:spLocks noChangeArrowheads="1"/>
            </p:cNvSpPr>
            <p:nvPr/>
          </p:nvSpPr>
          <p:spPr bwMode="auto">
            <a:xfrm>
              <a:off x="4641850" y="215900"/>
              <a:ext cx="203200" cy="203200"/>
            </a:xfrm>
            <a:custGeom>
              <a:avLst/>
              <a:gdLst>
                <a:gd name="T0" fmla="*/ 281 w 563"/>
                <a:gd name="T1" fmla="*/ 562 h 563"/>
                <a:gd name="T2" fmla="*/ 281 w 563"/>
                <a:gd name="T3" fmla="*/ 562 h 563"/>
                <a:gd name="T4" fmla="*/ 562 w 563"/>
                <a:gd name="T5" fmla="*/ 281 h 563"/>
                <a:gd name="T6" fmla="*/ 281 w 563"/>
                <a:gd name="T7" fmla="*/ 0 h 563"/>
                <a:gd name="T8" fmla="*/ 0 w 563"/>
                <a:gd name="T9" fmla="*/ 281 h 563"/>
                <a:gd name="T10" fmla="*/ 281 w 563"/>
                <a:gd name="T11" fmla="*/ 562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3" h="563">
                  <a:moveTo>
                    <a:pt x="281" y="562"/>
                  </a:moveTo>
                  <a:lnTo>
                    <a:pt x="281" y="562"/>
                  </a:lnTo>
                  <a:cubicBezTo>
                    <a:pt x="437" y="562"/>
                    <a:pt x="562" y="437"/>
                    <a:pt x="562" y="281"/>
                  </a:cubicBezTo>
                  <a:cubicBezTo>
                    <a:pt x="562" y="125"/>
                    <a:pt x="437" y="0"/>
                    <a:pt x="281" y="0"/>
                  </a:cubicBezTo>
                  <a:cubicBezTo>
                    <a:pt x="125" y="0"/>
                    <a:pt x="0" y="125"/>
                    <a:pt x="0" y="281"/>
                  </a:cubicBezTo>
                  <a:cubicBezTo>
                    <a:pt x="0" y="437"/>
                    <a:pt x="125" y="562"/>
                    <a:pt x="281" y="56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spcBef>
                  <a:spcPts val="0"/>
                </a:spcBef>
              </a:pPr>
              <a:endParaRPr lang="en-US" dirty="0"/>
            </a:p>
          </p:txBody>
        </p:sp>
      </p:grpSp>
      <p:grpSp>
        <p:nvGrpSpPr>
          <p:cNvPr id="487" name="Group 130"/>
          <p:cNvGrpSpPr/>
          <p:nvPr/>
        </p:nvGrpSpPr>
        <p:grpSpPr>
          <a:xfrm>
            <a:off x="5685829" y="1025608"/>
            <a:ext cx="382760" cy="302150"/>
            <a:chOff x="6319838" y="4533901"/>
            <a:chExt cx="696913" cy="565150"/>
          </a:xfrm>
          <a:solidFill>
            <a:srgbClr val="00B9E1"/>
          </a:solidFill>
        </p:grpSpPr>
        <p:sp>
          <p:nvSpPr>
            <p:cNvPr id="488" name="Rectangle 139"/>
            <p:cNvSpPr>
              <a:spLocks noChangeArrowheads="1"/>
            </p:cNvSpPr>
            <p:nvPr/>
          </p:nvSpPr>
          <p:spPr bwMode="auto">
            <a:xfrm>
              <a:off x="6815138" y="4999038"/>
              <a:ext cx="26988" cy="206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0"/>
                </a:spcAft>
                <a:defRPr/>
              </a:pPr>
              <a:endParaRPr lang="en-US" dirty="0">
                <a:latin typeface="+mn-lt"/>
                <a:ea typeface="MS PGothic"/>
                <a:cs typeface="MS PGothic"/>
              </a:endParaRPr>
            </a:p>
          </p:txBody>
        </p:sp>
        <p:sp>
          <p:nvSpPr>
            <p:cNvPr id="489" name="Rectangle 140"/>
            <p:cNvSpPr>
              <a:spLocks noChangeArrowheads="1"/>
            </p:cNvSpPr>
            <p:nvPr/>
          </p:nvSpPr>
          <p:spPr bwMode="auto">
            <a:xfrm>
              <a:off x="6767513" y="5038726"/>
              <a:ext cx="26988" cy="206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0"/>
                </a:spcAft>
                <a:defRPr/>
              </a:pPr>
              <a:endParaRPr lang="en-US" dirty="0">
                <a:latin typeface="+mn-lt"/>
                <a:ea typeface="MS PGothic"/>
                <a:cs typeface="MS PGothic"/>
              </a:endParaRPr>
            </a:p>
          </p:txBody>
        </p:sp>
        <p:sp>
          <p:nvSpPr>
            <p:cNvPr id="490" name="Freeform 141"/>
            <p:cNvSpPr>
              <a:spLocks/>
            </p:cNvSpPr>
            <p:nvPr/>
          </p:nvSpPr>
          <p:spPr bwMode="auto">
            <a:xfrm>
              <a:off x="6319838" y="4681538"/>
              <a:ext cx="60325" cy="58738"/>
            </a:xfrm>
            <a:custGeom>
              <a:avLst/>
              <a:gdLst/>
              <a:ahLst/>
              <a:cxnLst>
                <a:cxn ang="0">
                  <a:pos x="42" y="57"/>
                </a:cxn>
                <a:cxn ang="0">
                  <a:pos x="57" y="21"/>
                </a:cxn>
                <a:cxn ang="0">
                  <a:pos x="21" y="6"/>
                </a:cxn>
                <a:cxn ang="0">
                  <a:pos x="6" y="42"/>
                </a:cxn>
                <a:cxn ang="0">
                  <a:pos x="42" y="57"/>
                </a:cxn>
              </a:cxnLst>
              <a:rect l="0" t="0" r="r" b="b"/>
              <a:pathLst>
                <a:path w="63" h="62">
                  <a:moveTo>
                    <a:pt x="42" y="57"/>
                  </a:moveTo>
                  <a:cubicBezTo>
                    <a:pt x="56" y="51"/>
                    <a:pt x="63" y="35"/>
                    <a:pt x="57" y="21"/>
                  </a:cubicBezTo>
                  <a:cubicBezTo>
                    <a:pt x="51" y="7"/>
                    <a:pt x="35" y="0"/>
                    <a:pt x="21" y="6"/>
                  </a:cubicBezTo>
                  <a:cubicBezTo>
                    <a:pt x="7" y="11"/>
                    <a:pt x="0" y="27"/>
                    <a:pt x="6" y="42"/>
                  </a:cubicBezTo>
                  <a:cubicBezTo>
                    <a:pt x="12" y="56"/>
                    <a:pt x="28" y="62"/>
                    <a:pt x="42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spcAft>
                  <a:spcPts val="0"/>
                </a:spcAft>
                <a:defRPr/>
              </a:pPr>
              <a:endParaRPr lang="en-US" dirty="0">
                <a:latin typeface="+mn-lt"/>
                <a:ea typeface="MS PGothic"/>
                <a:cs typeface="MS PGothic"/>
              </a:endParaRPr>
            </a:p>
          </p:txBody>
        </p:sp>
        <p:sp>
          <p:nvSpPr>
            <p:cNvPr id="491" name="Freeform 142"/>
            <p:cNvSpPr>
              <a:spLocks noEditPoints="1"/>
            </p:cNvSpPr>
            <p:nvPr/>
          </p:nvSpPr>
          <p:spPr bwMode="auto">
            <a:xfrm>
              <a:off x="6542088" y="4533901"/>
              <a:ext cx="474663" cy="565150"/>
            </a:xfrm>
            <a:custGeom>
              <a:avLst/>
              <a:gdLst/>
              <a:ahLst/>
              <a:cxnLst>
                <a:cxn ang="0">
                  <a:pos x="504" y="300"/>
                </a:cxn>
                <a:cxn ang="0">
                  <a:pos x="204" y="600"/>
                </a:cxn>
                <a:cxn ang="0">
                  <a:pos x="29" y="543"/>
                </a:cxn>
                <a:cxn ang="0">
                  <a:pos x="111" y="510"/>
                </a:cxn>
                <a:cxn ang="0">
                  <a:pos x="146" y="452"/>
                </a:cxn>
                <a:cxn ang="0">
                  <a:pos x="140" y="423"/>
                </a:cxn>
                <a:cxn ang="0">
                  <a:pos x="0" y="80"/>
                </a:cxn>
                <a:cxn ang="0">
                  <a:pos x="204" y="0"/>
                </a:cxn>
                <a:cxn ang="0">
                  <a:pos x="504" y="300"/>
                </a:cxn>
                <a:cxn ang="0">
                  <a:pos x="269" y="460"/>
                </a:cxn>
                <a:cxn ang="0">
                  <a:pos x="240" y="460"/>
                </a:cxn>
                <a:cxn ang="0">
                  <a:pos x="240" y="482"/>
                </a:cxn>
                <a:cxn ang="0">
                  <a:pos x="269" y="482"/>
                </a:cxn>
                <a:cxn ang="0">
                  <a:pos x="269" y="460"/>
                </a:cxn>
                <a:cxn ang="0">
                  <a:pos x="319" y="460"/>
                </a:cxn>
                <a:cxn ang="0">
                  <a:pos x="290" y="460"/>
                </a:cxn>
                <a:cxn ang="0">
                  <a:pos x="290" y="482"/>
                </a:cxn>
                <a:cxn ang="0">
                  <a:pos x="319" y="482"/>
                </a:cxn>
                <a:cxn ang="0">
                  <a:pos x="319" y="460"/>
                </a:cxn>
                <a:cxn ang="0">
                  <a:pos x="368" y="460"/>
                </a:cxn>
                <a:cxn ang="0">
                  <a:pos x="338" y="460"/>
                </a:cxn>
                <a:cxn ang="0">
                  <a:pos x="338" y="482"/>
                </a:cxn>
                <a:cxn ang="0">
                  <a:pos x="368" y="482"/>
                </a:cxn>
                <a:cxn ang="0">
                  <a:pos x="368" y="460"/>
                </a:cxn>
                <a:cxn ang="0">
                  <a:pos x="171" y="461"/>
                </a:cxn>
                <a:cxn ang="0">
                  <a:pos x="153" y="472"/>
                </a:cxn>
                <a:cxn ang="0">
                  <a:pos x="171" y="483"/>
                </a:cxn>
                <a:cxn ang="0">
                  <a:pos x="189" y="472"/>
                </a:cxn>
                <a:cxn ang="0">
                  <a:pos x="171" y="461"/>
                </a:cxn>
                <a:cxn ang="0">
                  <a:pos x="378" y="122"/>
                </a:cxn>
                <a:cxn ang="0">
                  <a:pos x="45" y="122"/>
                </a:cxn>
                <a:cxn ang="0">
                  <a:pos x="168" y="427"/>
                </a:cxn>
                <a:cxn ang="0">
                  <a:pos x="378" y="427"/>
                </a:cxn>
                <a:cxn ang="0">
                  <a:pos x="378" y="122"/>
                </a:cxn>
              </a:cxnLst>
              <a:rect l="0" t="0" r="r" b="b"/>
              <a:pathLst>
                <a:path w="504" h="600">
                  <a:moveTo>
                    <a:pt x="504" y="300"/>
                  </a:moveTo>
                  <a:cubicBezTo>
                    <a:pt x="504" y="466"/>
                    <a:pt x="369" y="600"/>
                    <a:pt x="204" y="600"/>
                  </a:cubicBezTo>
                  <a:cubicBezTo>
                    <a:pt x="138" y="600"/>
                    <a:pt x="78" y="579"/>
                    <a:pt x="29" y="543"/>
                  </a:cubicBezTo>
                  <a:cubicBezTo>
                    <a:pt x="111" y="510"/>
                    <a:pt x="111" y="510"/>
                    <a:pt x="111" y="510"/>
                  </a:cubicBezTo>
                  <a:cubicBezTo>
                    <a:pt x="134" y="500"/>
                    <a:pt x="146" y="476"/>
                    <a:pt x="146" y="452"/>
                  </a:cubicBezTo>
                  <a:cubicBezTo>
                    <a:pt x="146" y="443"/>
                    <a:pt x="144" y="433"/>
                    <a:pt x="140" y="423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53" y="31"/>
                    <a:pt x="125" y="0"/>
                    <a:pt x="204" y="0"/>
                  </a:cubicBezTo>
                  <a:cubicBezTo>
                    <a:pt x="369" y="0"/>
                    <a:pt x="504" y="134"/>
                    <a:pt x="504" y="300"/>
                  </a:cubicBezTo>
                  <a:close/>
                  <a:moveTo>
                    <a:pt x="269" y="460"/>
                  </a:moveTo>
                  <a:cubicBezTo>
                    <a:pt x="240" y="460"/>
                    <a:pt x="240" y="460"/>
                    <a:pt x="240" y="460"/>
                  </a:cubicBezTo>
                  <a:cubicBezTo>
                    <a:pt x="240" y="482"/>
                    <a:pt x="240" y="482"/>
                    <a:pt x="240" y="482"/>
                  </a:cubicBezTo>
                  <a:cubicBezTo>
                    <a:pt x="269" y="482"/>
                    <a:pt x="269" y="482"/>
                    <a:pt x="269" y="482"/>
                  </a:cubicBezTo>
                  <a:lnTo>
                    <a:pt x="269" y="460"/>
                  </a:lnTo>
                  <a:close/>
                  <a:moveTo>
                    <a:pt x="319" y="460"/>
                  </a:moveTo>
                  <a:cubicBezTo>
                    <a:pt x="290" y="460"/>
                    <a:pt x="290" y="460"/>
                    <a:pt x="290" y="460"/>
                  </a:cubicBezTo>
                  <a:cubicBezTo>
                    <a:pt x="290" y="482"/>
                    <a:pt x="290" y="482"/>
                    <a:pt x="290" y="482"/>
                  </a:cubicBezTo>
                  <a:cubicBezTo>
                    <a:pt x="319" y="482"/>
                    <a:pt x="319" y="482"/>
                    <a:pt x="319" y="482"/>
                  </a:cubicBezTo>
                  <a:lnTo>
                    <a:pt x="319" y="460"/>
                  </a:lnTo>
                  <a:close/>
                  <a:moveTo>
                    <a:pt x="368" y="460"/>
                  </a:moveTo>
                  <a:cubicBezTo>
                    <a:pt x="338" y="460"/>
                    <a:pt x="338" y="460"/>
                    <a:pt x="338" y="460"/>
                  </a:cubicBezTo>
                  <a:cubicBezTo>
                    <a:pt x="338" y="482"/>
                    <a:pt x="338" y="482"/>
                    <a:pt x="338" y="482"/>
                  </a:cubicBezTo>
                  <a:cubicBezTo>
                    <a:pt x="368" y="482"/>
                    <a:pt x="368" y="482"/>
                    <a:pt x="368" y="482"/>
                  </a:cubicBezTo>
                  <a:lnTo>
                    <a:pt x="368" y="460"/>
                  </a:lnTo>
                  <a:close/>
                  <a:moveTo>
                    <a:pt x="171" y="461"/>
                  </a:moveTo>
                  <a:cubicBezTo>
                    <a:pt x="161" y="461"/>
                    <a:pt x="153" y="466"/>
                    <a:pt x="153" y="472"/>
                  </a:cubicBezTo>
                  <a:cubicBezTo>
                    <a:pt x="153" y="478"/>
                    <a:pt x="161" y="483"/>
                    <a:pt x="171" y="483"/>
                  </a:cubicBezTo>
                  <a:cubicBezTo>
                    <a:pt x="181" y="483"/>
                    <a:pt x="189" y="478"/>
                    <a:pt x="189" y="472"/>
                  </a:cubicBezTo>
                  <a:cubicBezTo>
                    <a:pt x="189" y="466"/>
                    <a:pt x="181" y="461"/>
                    <a:pt x="171" y="461"/>
                  </a:cubicBezTo>
                  <a:close/>
                  <a:moveTo>
                    <a:pt x="378" y="122"/>
                  </a:moveTo>
                  <a:cubicBezTo>
                    <a:pt x="45" y="122"/>
                    <a:pt x="45" y="122"/>
                    <a:pt x="45" y="122"/>
                  </a:cubicBezTo>
                  <a:cubicBezTo>
                    <a:pt x="168" y="427"/>
                    <a:pt x="168" y="427"/>
                    <a:pt x="168" y="427"/>
                  </a:cubicBezTo>
                  <a:cubicBezTo>
                    <a:pt x="378" y="427"/>
                    <a:pt x="378" y="427"/>
                    <a:pt x="378" y="427"/>
                  </a:cubicBezTo>
                  <a:lnTo>
                    <a:pt x="378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spcAft>
                  <a:spcPts val="0"/>
                </a:spcAft>
                <a:defRPr/>
              </a:pPr>
              <a:endParaRPr lang="en-US" dirty="0">
                <a:latin typeface="+mn-lt"/>
                <a:ea typeface="MS PGothic"/>
                <a:cs typeface="MS PGothic"/>
              </a:endParaRPr>
            </a:p>
          </p:txBody>
        </p:sp>
        <p:sp>
          <p:nvSpPr>
            <p:cNvPr id="492" name="Freeform 143"/>
            <p:cNvSpPr>
              <a:spLocks noEditPoints="1"/>
            </p:cNvSpPr>
            <p:nvPr/>
          </p:nvSpPr>
          <p:spPr bwMode="auto">
            <a:xfrm>
              <a:off x="6340476" y="4614863"/>
              <a:ext cx="328613" cy="449263"/>
            </a:xfrm>
            <a:custGeom>
              <a:avLst/>
              <a:gdLst/>
              <a:ahLst/>
              <a:cxnLst>
                <a:cxn ang="0">
                  <a:pos x="214" y="40"/>
                </a:cxn>
                <a:cxn ang="0">
                  <a:pos x="338" y="343"/>
                </a:cxn>
                <a:cxn ang="0">
                  <a:pos x="318" y="406"/>
                </a:cxn>
                <a:cxn ang="0">
                  <a:pos x="167" y="468"/>
                </a:cxn>
                <a:cxn ang="0">
                  <a:pos x="109" y="437"/>
                </a:cxn>
                <a:cxn ang="0">
                  <a:pos x="0" y="171"/>
                </a:cxn>
                <a:cxn ang="0">
                  <a:pos x="39" y="167"/>
                </a:cxn>
                <a:cxn ang="0">
                  <a:pos x="78" y="73"/>
                </a:cxn>
                <a:cxn ang="0">
                  <a:pos x="61" y="48"/>
                </a:cxn>
                <a:cxn ang="0">
                  <a:pos x="156" y="9"/>
                </a:cxn>
                <a:cxn ang="0">
                  <a:pos x="214" y="40"/>
                </a:cxn>
                <a:cxn ang="0">
                  <a:pos x="210" y="121"/>
                </a:cxn>
                <a:cxn ang="0">
                  <a:pos x="51" y="186"/>
                </a:cxn>
                <a:cxn ang="0">
                  <a:pos x="139" y="401"/>
                </a:cxn>
                <a:cxn ang="0">
                  <a:pos x="298" y="336"/>
                </a:cxn>
                <a:cxn ang="0">
                  <a:pos x="210" y="121"/>
                </a:cxn>
                <a:cxn ang="0">
                  <a:pos x="234" y="384"/>
                </a:cxn>
                <a:cxn ang="0">
                  <a:pos x="219" y="400"/>
                </a:cxn>
                <a:cxn ang="0">
                  <a:pos x="234" y="415"/>
                </a:cxn>
                <a:cxn ang="0">
                  <a:pos x="250" y="400"/>
                </a:cxn>
                <a:cxn ang="0">
                  <a:pos x="234" y="384"/>
                </a:cxn>
              </a:cxnLst>
              <a:rect l="0" t="0" r="r" b="b"/>
              <a:pathLst>
                <a:path w="349" h="477">
                  <a:moveTo>
                    <a:pt x="214" y="40"/>
                  </a:moveTo>
                  <a:cubicBezTo>
                    <a:pt x="338" y="343"/>
                    <a:pt x="338" y="343"/>
                    <a:pt x="338" y="343"/>
                  </a:cubicBezTo>
                  <a:cubicBezTo>
                    <a:pt x="349" y="369"/>
                    <a:pt x="340" y="397"/>
                    <a:pt x="318" y="406"/>
                  </a:cubicBezTo>
                  <a:cubicBezTo>
                    <a:pt x="167" y="468"/>
                    <a:pt x="167" y="468"/>
                    <a:pt x="167" y="468"/>
                  </a:cubicBezTo>
                  <a:cubicBezTo>
                    <a:pt x="146" y="477"/>
                    <a:pt x="119" y="463"/>
                    <a:pt x="109" y="437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13" y="173"/>
                    <a:pt x="26" y="172"/>
                    <a:pt x="39" y="167"/>
                  </a:cubicBezTo>
                  <a:cubicBezTo>
                    <a:pt x="76" y="152"/>
                    <a:pt x="93" y="110"/>
                    <a:pt x="78" y="73"/>
                  </a:cubicBezTo>
                  <a:cubicBezTo>
                    <a:pt x="74" y="63"/>
                    <a:pt x="68" y="55"/>
                    <a:pt x="61" y="48"/>
                  </a:cubicBezTo>
                  <a:cubicBezTo>
                    <a:pt x="156" y="9"/>
                    <a:pt x="156" y="9"/>
                    <a:pt x="156" y="9"/>
                  </a:cubicBezTo>
                  <a:cubicBezTo>
                    <a:pt x="177" y="0"/>
                    <a:pt x="204" y="14"/>
                    <a:pt x="214" y="40"/>
                  </a:cubicBezTo>
                  <a:close/>
                  <a:moveTo>
                    <a:pt x="210" y="121"/>
                  </a:moveTo>
                  <a:cubicBezTo>
                    <a:pt x="51" y="186"/>
                    <a:pt x="51" y="186"/>
                    <a:pt x="51" y="186"/>
                  </a:cubicBezTo>
                  <a:cubicBezTo>
                    <a:pt x="139" y="401"/>
                    <a:pt x="139" y="401"/>
                    <a:pt x="139" y="401"/>
                  </a:cubicBezTo>
                  <a:cubicBezTo>
                    <a:pt x="298" y="336"/>
                    <a:pt x="298" y="336"/>
                    <a:pt x="298" y="336"/>
                  </a:cubicBezTo>
                  <a:lnTo>
                    <a:pt x="210" y="121"/>
                  </a:lnTo>
                  <a:close/>
                  <a:moveTo>
                    <a:pt x="234" y="384"/>
                  </a:moveTo>
                  <a:cubicBezTo>
                    <a:pt x="226" y="384"/>
                    <a:pt x="219" y="391"/>
                    <a:pt x="219" y="400"/>
                  </a:cubicBezTo>
                  <a:cubicBezTo>
                    <a:pt x="219" y="408"/>
                    <a:pt x="226" y="415"/>
                    <a:pt x="234" y="415"/>
                  </a:cubicBezTo>
                  <a:cubicBezTo>
                    <a:pt x="243" y="415"/>
                    <a:pt x="250" y="408"/>
                    <a:pt x="250" y="400"/>
                  </a:cubicBezTo>
                  <a:cubicBezTo>
                    <a:pt x="250" y="391"/>
                    <a:pt x="243" y="384"/>
                    <a:pt x="234" y="38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spcAft>
                  <a:spcPts val="0"/>
                </a:spcAft>
                <a:defRPr/>
              </a:pPr>
              <a:endParaRPr lang="en-US" dirty="0">
                <a:latin typeface="+mn-lt"/>
                <a:ea typeface="MS PGothic"/>
                <a:cs typeface="MS PGothic"/>
              </a:endParaRPr>
            </a:p>
          </p:txBody>
        </p:sp>
      </p:grpSp>
      <p:grpSp>
        <p:nvGrpSpPr>
          <p:cNvPr id="493" name="Group 12"/>
          <p:cNvGrpSpPr>
            <a:grpSpLocks noChangeAspect="1"/>
          </p:cNvGrpSpPr>
          <p:nvPr/>
        </p:nvGrpSpPr>
        <p:grpSpPr bwMode="auto">
          <a:xfrm>
            <a:off x="5950396" y="3441528"/>
            <a:ext cx="306379" cy="395850"/>
            <a:chOff x="615" y="1853"/>
            <a:chExt cx="1117" cy="1443"/>
          </a:xfrm>
          <a:solidFill>
            <a:srgbClr val="00B9E1"/>
          </a:solidFill>
        </p:grpSpPr>
        <p:sp>
          <p:nvSpPr>
            <p:cNvPr id="494" name="Freeform 13"/>
            <p:cNvSpPr>
              <a:spLocks noChangeArrowheads="1"/>
            </p:cNvSpPr>
            <p:nvPr/>
          </p:nvSpPr>
          <p:spPr bwMode="auto">
            <a:xfrm>
              <a:off x="1345" y="1853"/>
              <a:ext cx="387" cy="559"/>
            </a:xfrm>
            <a:custGeom>
              <a:avLst/>
              <a:gdLst>
                <a:gd name="T0" fmla="*/ 1650 w 1711"/>
                <a:gd name="T1" fmla="*/ 625 h 2470"/>
                <a:gd name="T2" fmla="*/ 1650 w 1711"/>
                <a:gd name="T3" fmla="*/ 625 h 2470"/>
                <a:gd name="T4" fmla="*/ 1283 w 1711"/>
                <a:gd name="T5" fmla="*/ 2157 h 2470"/>
                <a:gd name="T6" fmla="*/ 947 w 1711"/>
                <a:gd name="T7" fmla="*/ 2438 h 2470"/>
                <a:gd name="T8" fmla="*/ 214 w 1711"/>
                <a:gd name="T9" fmla="*/ 2250 h 2470"/>
                <a:gd name="T10" fmla="*/ 30 w 1711"/>
                <a:gd name="T11" fmla="*/ 1844 h 2470"/>
                <a:gd name="T12" fmla="*/ 428 w 1711"/>
                <a:gd name="T13" fmla="*/ 313 h 2470"/>
                <a:gd name="T14" fmla="*/ 763 w 1711"/>
                <a:gd name="T15" fmla="*/ 32 h 2470"/>
                <a:gd name="T16" fmla="*/ 1466 w 1711"/>
                <a:gd name="T17" fmla="*/ 219 h 2470"/>
                <a:gd name="T18" fmla="*/ 1650 w 1711"/>
                <a:gd name="T19" fmla="*/ 625 h 2470"/>
                <a:gd name="T20" fmla="*/ 1436 w 1711"/>
                <a:gd name="T21" fmla="*/ 563 h 2470"/>
                <a:gd name="T22" fmla="*/ 1436 w 1711"/>
                <a:gd name="T23" fmla="*/ 563 h 2470"/>
                <a:gd name="T24" fmla="*/ 641 w 1711"/>
                <a:gd name="T25" fmla="*/ 344 h 2470"/>
                <a:gd name="T26" fmla="*/ 397 w 1711"/>
                <a:gd name="T27" fmla="*/ 1375 h 2470"/>
                <a:gd name="T28" fmla="*/ 1191 w 1711"/>
                <a:gd name="T29" fmla="*/ 1563 h 2470"/>
                <a:gd name="T30" fmla="*/ 1436 w 1711"/>
                <a:gd name="T31" fmla="*/ 563 h 2470"/>
                <a:gd name="T32" fmla="*/ 855 w 1711"/>
                <a:gd name="T33" fmla="*/ 1938 h 2470"/>
                <a:gd name="T34" fmla="*/ 855 w 1711"/>
                <a:gd name="T35" fmla="*/ 1938 h 2470"/>
                <a:gd name="T36" fmla="*/ 733 w 1711"/>
                <a:gd name="T37" fmla="*/ 1719 h 2470"/>
                <a:gd name="T38" fmla="*/ 489 w 1711"/>
                <a:gd name="T39" fmla="*/ 1844 h 2470"/>
                <a:gd name="T40" fmla="*/ 641 w 1711"/>
                <a:gd name="T41" fmla="*/ 2094 h 2470"/>
                <a:gd name="T42" fmla="*/ 855 w 1711"/>
                <a:gd name="T43" fmla="*/ 1938 h 2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11" h="2470">
                  <a:moveTo>
                    <a:pt x="1650" y="625"/>
                  </a:moveTo>
                  <a:lnTo>
                    <a:pt x="1650" y="625"/>
                  </a:lnTo>
                  <a:cubicBezTo>
                    <a:pt x="1283" y="2157"/>
                    <a:pt x="1283" y="2157"/>
                    <a:pt x="1283" y="2157"/>
                  </a:cubicBezTo>
                  <a:cubicBezTo>
                    <a:pt x="1222" y="2344"/>
                    <a:pt x="1069" y="2469"/>
                    <a:pt x="947" y="2438"/>
                  </a:cubicBezTo>
                  <a:cubicBezTo>
                    <a:pt x="214" y="2250"/>
                    <a:pt x="214" y="2250"/>
                    <a:pt x="214" y="2250"/>
                  </a:cubicBezTo>
                  <a:cubicBezTo>
                    <a:pt x="62" y="2219"/>
                    <a:pt x="0" y="2032"/>
                    <a:pt x="30" y="1844"/>
                  </a:cubicBezTo>
                  <a:cubicBezTo>
                    <a:pt x="428" y="313"/>
                    <a:pt x="428" y="313"/>
                    <a:pt x="428" y="313"/>
                  </a:cubicBezTo>
                  <a:cubicBezTo>
                    <a:pt x="458" y="125"/>
                    <a:pt x="611" y="0"/>
                    <a:pt x="763" y="32"/>
                  </a:cubicBezTo>
                  <a:cubicBezTo>
                    <a:pt x="1466" y="219"/>
                    <a:pt x="1466" y="219"/>
                    <a:pt x="1466" y="219"/>
                  </a:cubicBezTo>
                  <a:cubicBezTo>
                    <a:pt x="1618" y="250"/>
                    <a:pt x="1710" y="438"/>
                    <a:pt x="1650" y="625"/>
                  </a:cubicBezTo>
                  <a:close/>
                  <a:moveTo>
                    <a:pt x="1436" y="563"/>
                  </a:moveTo>
                  <a:lnTo>
                    <a:pt x="1436" y="563"/>
                  </a:lnTo>
                  <a:cubicBezTo>
                    <a:pt x="641" y="344"/>
                    <a:pt x="641" y="344"/>
                    <a:pt x="641" y="344"/>
                  </a:cubicBezTo>
                  <a:cubicBezTo>
                    <a:pt x="397" y="1375"/>
                    <a:pt x="397" y="1375"/>
                    <a:pt x="397" y="1375"/>
                  </a:cubicBezTo>
                  <a:cubicBezTo>
                    <a:pt x="1191" y="1563"/>
                    <a:pt x="1191" y="1563"/>
                    <a:pt x="1191" y="1563"/>
                  </a:cubicBezTo>
                  <a:lnTo>
                    <a:pt x="1436" y="563"/>
                  </a:lnTo>
                  <a:close/>
                  <a:moveTo>
                    <a:pt x="855" y="1938"/>
                  </a:moveTo>
                  <a:lnTo>
                    <a:pt x="855" y="1938"/>
                  </a:lnTo>
                  <a:cubicBezTo>
                    <a:pt x="885" y="1844"/>
                    <a:pt x="825" y="1750"/>
                    <a:pt x="733" y="1719"/>
                  </a:cubicBezTo>
                  <a:cubicBezTo>
                    <a:pt x="611" y="1688"/>
                    <a:pt x="519" y="1750"/>
                    <a:pt x="489" y="1844"/>
                  </a:cubicBezTo>
                  <a:cubicBezTo>
                    <a:pt x="458" y="1969"/>
                    <a:pt x="519" y="2063"/>
                    <a:pt x="641" y="2094"/>
                  </a:cubicBezTo>
                  <a:cubicBezTo>
                    <a:pt x="733" y="2125"/>
                    <a:pt x="825" y="2063"/>
                    <a:pt x="855" y="1938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95" name="Freeform 14"/>
            <p:cNvSpPr>
              <a:spLocks noChangeArrowheads="1"/>
            </p:cNvSpPr>
            <p:nvPr/>
          </p:nvSpPr>
          <p:spPr bwMode="auto">
            <a:xfrm>
              <a:off x="615" y="2272"/>
              <a:ext cx="1066" cy="1024"/>
            </a:xfrm>
            <a:custGeom>
              <a:avLst/>
              <a:gdLst>
                <a:gd name="T0" fmla="*/ 5249 w 5625"/>
                <a:gd name="T1" fmla="*/ 3124 h 5407"/>
                <a:gd name="T2" fmla="*/ 5249 w 5625"/>
                <a:gd name="T3" fmla="*/ 3124 h 5407"/>
                <a:gd name="T4" fmla="*/ 4156 w 5625"/>
                <a:gd name="T5" fmla="*/ 3718 h 5407"/>
                <a:gd name="T6" fmla="*/ 3687 w 5625"/>
                <a:gd name="T7" fmla="*/ 3437 h 5407"/>
                <a:gd name="T8" fmla="*/ 4062 w 5625"/>
                <a:gd name="T9" fmla="*/ 2344 h 5407"/>
                <a:gd name="T10" fmla="*/ 3374 w 5625"/>
                <a:gd name="T11" fmla="*/ 2157 h 5407"/>
                <a:gd name="T12" fmla="*/ 3249 w 5625"/>
                <a:gd name="T13" fmla="*/ 2438 h 5407"/>
                <a:gd name="T14" fmla="*/ 3124 w 5625"/>
                <a:gd name="T15" fmla="*/ 2344 h 5407"/>
                <a:gd name="T16" fmla="*/ 3062 w 5625"/>
                <a:gd name="T17" fmla="*/ 407 h 5407"/>
                <a:gd name="T18" fmla="*/ 2750 w 5625"/>
                <a:gd name="T19" fmla="*/ 63 h 5407"/>
                <a:gd name="T20" fmla="*/ 2406 w 5625"/>
                <a:gd name="T21" fmla="*/ 469 h 5407"/>
                <a:gd name="T22" fmla="*/ 2406 w 5625"/>
                <a:gd name="T23" fmla="*/ 2250 h 5407"/>
                <a:gd name="T24" fmla="*/ 2157 w 5625"/>
                <a:gd name="T25" fmla="*/ 2282 h 5407"/>
                <a:gd name="T26" fmla="*/ 1657 w 5625"/>
                <a:gd name="T27" fmla="*/ 782 h 5407"/>
                <a:gd name="T28" fmla="*/ 1219 w 5625"/>
                <a:gd name="T29" fmla="*/ 563 h 5407"/>
                <a:gd name="T30" fmla="*/ 1125 w 5625"/>
                <a:gd name="T31" fmla="*/ 1032 h 5407"/>
                <a:gd name="T32" fmla="*/ 1500 w 5625"/>
                <a:gd name="T33" fmla="*/ 2438 h 5407"/>
                <a:gd name="T34" fmla="*/ 1313 w 5625"/>
                <a:gd name="T35" fmla="*/ 2687 h 5407"/>
                <a:gd name="T36" fmla="*/ 563 w 5625"/>
                <a:gd name="T37" fmla="*/ 1532 h 5407"/>
                <a:gd name="T38" fmla="*/ 157 w 5625"/>
                <a:gd name="T39" fmla="*/ 1532 h 5407"/>
                <a:gd name="T40" fmla="*/ 157 w 5625"/>
                <a:gd name="T41" fmla="*/ 1969 h 5407"/>
                <a:gd name="T42" fmla="*/ 813 w 5625"/>
                <a:gd name="T43" fmla="*/ 2999 h 5407"/>
                <a:gd name="T44" fmla="*/ 875 w 5625"/>
                <a:gd name="T45" fmla="*/ 3312 h 5407"/>
                <a:gd name="T46" fmla="*/ 875 w 5625"/>
                <a:gd name="T47" fmla="*/ 3593 h 5407"/>
                <a:gd name="T48" fmla="*/ 875 w 5625"/>
                <a:gd name="T49" fmla="*/ 3749 h 5407"/>
                <a:gd name="T50" fmla="*/ 1157 w 5625"/>
                <a:gd name="T51" fmla="*/ 3812 h 5407"/>
                <a:gd name="T52" fmla="*/ 1532 w 5625"/>
                <a:gd name="T53" fmla="*/ 4781 h 5407"/>
                <a:gd name="T54" fmla="*/ 1313 w 5625"/>
                <a:gd name="T55" fmla="*/ 5062 h 5407"/>
                <a:gd name="T56" fmla="*/ 2188 w 5625"/>
                <a:gd name="T57" fmla="*/ 5406 h 5407"/>
                <a:gd name="T58" fmla="*/ 2874 w 5625"/>
                <a:gd name="T59" fmla="*/ 5406 h 5407"/>
                <a:gd name="T60" fmla="*/ 3812 w 5625"/>
                <a:gd name="T61" fmla="*/ 5062 h 5407"/>
                <a:gd name="T62" fmla="*/ 5468 w 5625"/>
                <a:gd name="T63" fmla="*/ 3562 h 5407"/>
                <a:gd name="T64" fmla="*/ 5249 w 5625"/>
                <a:gd name="T65" fmla="*/ 3124 h 5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25" h="5407">
                  <a:moveTo>
                    <a:pt x="5249" y="3124"/>
                  </a:moveTo>
                  <a:lnTo>
                    <a:pt x="5249" y="3124"/>
                  </a:lnTo>
                  <a:cubicBezTo>
                    <a:pt x="4874" y="3093"/>
                    <a:pt x="4437" y="3531"/>
                    <a:pt x="4156" y="3718"/>
                  </a:cubicBezTo>
                  <a:cubicBezTo>
                    <a:pt x="4156" y="3718"/>
                    <a:pt x="3656" y="3874"/>
                    <a:pt x="3687" y="3437"/>
                  </a:cubicBezTo>
                  <a:cubicBezTo>
                    <a:pt x="3687" y="3437"/>
                    <a:pt x="3874" y="2874"/>
                    <a:pt x="4062" y="2344"/>
                  </a:cubicBezTo>
                  <a:cubicBezTo>
                    <a:pt x="3374" y="2157"/>
                    <a:pt x="3374" y="2157"/>
                    <a:pt x="3374" y="2157"/>
                  </a:cubicBezTo>
                  <a:cubicBezTo>
                    <a:pt x="3312" y="2313"/>
                    <a:pt x="3249" y="2407"/>
                    <a:pt x="3249" y="2438"/>
                  </a:cubicBezTo>
                  <a:cubicBezTo>
                    <a:pt x="3249" y="2438"/>
                    <a:pt x="3124" y="2532"/>
                    <a:pt x="3124" y="2344"/>
                  </a:cubicBezTo>
                  <a:cubicBezTo>
                    <a:pt x="3093" y="2157"/>
                    <a:pt x="3062" y="407"/>
                    <a:pt x="3062" y="407"/>
                  </a:cubicBezTo>
                  <a:cubicBezTo>
                    <a:pt x="3062" y="407"/>
                    <a:pt x="3062" y="63"/>
                    <a:pt x="2750" y="63"/>
                  </a:cubicBezTo>
                  <a:cubicBezTo>
                    <a:pt x="2750" y="63"/>
                    <a:pt x="2438" y="0"/>
                    <a:pt x="2406" y="469"/>
                  </a:cubicBezTo>
                  <a:cubicBezTo>
                    <a:pt x="2406" y="2250"/>
                    <a:pt x="2406" y="2250"/>
                    <a:pt x="2406" y="2250"/>
                  </a:cubicBezTo>
                  <a:cubicBezTo>
                    <a:pt x="2406" y="2250"/>
                    <a:pt x="2282" y="2500"/>
                    <a:pt x="2157" y="2282"/>
                  </a:cubicBezTo>
                  <a:cubicBezTo>
                    <a:pt x="1657" y="782"/>
                    <a:pt x="1657" y="782"/>
                    <a:pt x="1657" y="782"/>
                  </a:cubicBezTo>
                  <a:cubicBezTo>
                    <a:pt x="1657" y="782"/>
                    <a:pt x="1532" y="407"/>
                    <a:pt x="1219" y="563"/>
                  </a:cubicBezTo>
                  <a:cubicBezTo>
                    <a:pt x="1219" y="563"/>
                    <a:pt x="1000" y="594"/>
                    <a:pt x="1125" y="1032"/>
                  </a:cubicBezTo>
                  <a:cubicBezTo>
                    <a:pt x="1500" y="2438"/>
                    <a:pt x="1500" y="2438"/>
                    <a:pt x="1500" y="2438"/>
                  </a:cubicBezTo>
                  <a:cubicBezTo>
                    <a:pt x="1500" y="2438"/>
                    <a:pt x="1594" y="2812"/>
                    <a:pt x="1313" y="2687"/>
                  </a:cubicBezTo>
                  <a:cubicBezTo>
                    <a:pt x="563" y="1532"/>
                    <a:pt x="563" y="1532"/>
                    <a:pt x="563" y="1532"/>
                  </a:cubicBezTo>
                  <a:cubicBezTo>
                    <a:pt x="563" y="1532"/>
                    <a:pt x="407" y="1313"/>
                    <a:pt x="157" y="1532"/>
                  </a:cubicBezTo>
                  <a:cubicBezTo>
                    <a:pt x="157" y="1532"/>
                    <a:pt x="0" y="1750"/>
                    <a:pt x="157" y="1969"/>
                  </a:cubicBezTo>
                  <a:cubicBezTo>
                    <a:pt x="813" y="2999"/>
                    <a:pt x="813" y="2999"/>
                    <a:pt x="813" y="2999"/>
                  </a:cubicBezTo>
                  <a:cubicBezTo>
                    <a:pt x="875" y="3312"/>
                    <a:pt x="875" y="3312"/>
                    <a:pt x="875" y="3312"/>
                  </a:cubicBezTo>
                  <a:cubicBezTo>
                    <a:pt x="875" y="3312"/>
                    <a:pt x="875" y="3406"/>
                    <a:pt x="875" y="3593"/>
                  </a:cubicBezTo>
                  <a:cubicBezTo>
                    <a:pt x="875" y="3656"/>
                    <a:pt x="875" y="3687"/>
                    <a:pt x="875" y="3749"/>
                  </a:cubicBezTo>
                  <a:cubicBezTo>
                    <a:pt x="969" y="3749"/>
                    <a:pt x="1063" y="3749"/>
                    <a:pt x="1157" y="3812"/>
                  </a:cubicBezTo>
                  <a:cubicBezTo>
                    <a:pt x="1532" y="3968"/>
                    <a:pt x="1719" y="4406"/>
                    <a:pt x="1532" y="4781"/>
                  </a:cubicBezTo>
                  <a:cubicBezTo>
                    <a:pt x="1500" y="4906"/>
                    <a:pt x="1407" y="4999"/>
                    <a:pt x="1313" y="5062"/>
                  </a:cubicBezTo>
                  <a:cubicBezTo>
                    <a:pt x="1532" y="5249"/>
                    <a:pt x="1813" y="5406"/>
                    <a:pt x="2188" y="5406"/>
                  </a:cubicBezTo>
                  <a:cubicBezTo>
                    <a:pt x="2874" y="5406"/>
                    <a:pt x="2874" y="5406"/>
                    <a:pt x="2874" y="5406"/>
                  </a:cubicBezTo>
                  <a:cubicBezTo>
                    <a:pt x="2874" y="5406"/>
                    <a:pt x="3406" y="5406"/>
                    <a:pt x="3812" y="5062"/>
                  </a:cubicBezTo>
                  <a:cubicBezTo>
                    <a:pt x="3812" y="5062"/>
                    <a:pt x="5406" y="3656"/>
                    <a:pt x="5468" y="3562"/>
                  </a:cubicBezTo>
                  <a:cubicBezTo>
                    <a:pt x="5468" y="3562"/>
                    <a:pt x="5624" y="3187"/>
                    <a:pt x="5249" y="312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96" name="Freeform 15"/>
            <p:cNvSpPr>
              <a:spLocks noChangeArrowheads="1"/>
            </p:cNvSpPr>
            <p:nvPr/>
          </p:nvSpPr>
          <p:spPr bwMode="auto">
            <a:xfrm>
              <a:off x="736" y="2860"/>
              <a:ext cx="148" cy="148"/>
            </a:xfrm>
            <a:custGeom>
              <a:avLst/>
              <a:gdLst>
                <a:gd name="T0" fmla="*/ 593 w 657"/>
                <a:gd name="T1" fmla="*/ 437 h 657"/>
                <a:gd name="T2" fmla="*/ 593 w 657"/>
                <a:gd name="T3" fmla="*/ 437 h 657"/>
                <a:gd name="T4" fmla="*/ 437 w 657"/>
                <a:gd name="T5" fmla="*/ 62 h 657"/>
                <a:gd name="T6" fmla="*/ 62 w 657"/>
                <a:gd name="T7" fmla="*/ 219 h 657"/>
                <a:gd name="T8" fmla="*/ 218 w 657"/>
                <a:gd name="T9" fmla="*/ 594 h 657"/>
                <a:gd name="T10" fmla="*/ 593 w 657"/>
                <a:gd name="T11" fmla="*/ 437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7" h="657">
                  <a:moveTo>
                    <a:pt x="593" y="437"/>
                  </a:moveTo>
                  <a:lnTo>
                    <a:pt x="593" y="437"/>
                  </a:lnTo>
                  <a:cubicBezTo>
                    <a:pt x="656" y="281"/>
                    <a:pt x="593" y="125"/>
                    <a:pt x="437" y="62"/>
                  </a:cubicBezTo>
                  <a:cubicBezTo>
                    <a:pt x="312" y="0"/>
                    <a:pt x="125" y="62"/>
                    <a:pt x="62" y="219"/>
                  </a:cubicBezTo>
                  <a:cubicBezTo>
                    <a:pt x="0" y="344"/>
                    <a:pt x="62" y="531"/>
                    <a:pt x="218" y="594"/>
                  </a:cubicBezTo>
                  <a:cubicBezTo>
                    <a:pt x="375" y="656"/>
                    <a:pt x="531" y="594"/>
                    <a:pt x="593" y="43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497" name="Group 166"/>
          <p:cNvGrpSpPr>
            <a:grpSpLocks noChangeAspect="1"/>
          </p:cNvGrpSpPr>
          <p:nvPr/>
        </p:nvGrpSpPr>
        <p:grpSpPr>
          <a:xfrm>
            <a:off x="6195939" y="2983880"/>
            <a:ext cx="292331" cy="223711"/>
            <a:chOff x="7375525" y="5256213"/>
            <a:chExt cx="1912938" cy="1463675"/>
          </a:xfrm>
          <a:solidFill>
            <a:schemeClr val="accent1"/>
          </a:solidFill>
        </p:grpSpPr>
        <p:sp>
          <p:nvSpPr>
            <p:cNvPr id="498" name="Freeform 58"/>
            <p:cNvSpPr>
              <a:spLocks noChangeArrowheads="1"/>
            </p:cNvSpPr>
            <p:nvPr/>
          </p:nvSpPr>
          <p:spPr bwMode="auto">
            <a:xfrm>
              <a:off x="7567613" y="5864225"/>
              <a:ext cx="1608137" cy="855663"/>
            </a:xfrm>
            <a:custGeom>
              <a:avLst/>
              <a:gdLst>
                <a:gd name="T0" fmla="*/ 4468 w 4469"/>
                <a:gd name="T1" fmla="*/ 0 h 2375"/>
                <a:gd name="T2" fmla="*/ 4468 w 4469"/>
                <a:gd name="T3" fmla="*/ 0 h 2375"/>
                <a:gd name="T4" fmla="*/ 2218 w 4469"/>
                <a:gd name="T5" fmla="*/ 2374 h 2375"/>
                <a:gd name="T6" fmla="*/ 0 w 4469"/>
                <a:gd name="T7" fmla="*/ 0 h 2375"/>
                <a:gd name="T8" fmla="*/ 4468 w 4469"/>
                <a:gd name="T9" fmla="*/ 0 h 2375"/>
                <a:gd name="T10" fmla="*/ 2249 w 4469"/>
                <a:gd name="T11" fmla="*/ 967 h 2375"/>
                <a:gd name="T12" fmla="*/ 2249 w 4469"/>
                <a:gd name="T13" fmla="*/ 967 h 2375"/>
                <a:gd name="T14" fmla="*/ 2843 w 4469"/>
                <a:gd name="T15" fmla="*/ 1561 h 2375"/>
                <a:gd name="T16" fmla="*/ 2249 w 4469"/>
                <a:gd name="T17" fmla="*/ 2155 h 2375"/>
                <a:gd name="T18" fmla="*/ 1656 w 4469"/>
                <a:gd name="T19" fmla="*/ 1561 h 2375"/>
                <a:gd name="T20" fmla="*/ 2249 w 4469"/>
                <a:gd name="T21" fmla="*/ 967 h 2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69" h="2375">
                  <a:moveTo>
                    <a:pt x="4468" y="0"/>
                  </a:moveTo>
                  <a:lnTo>
                    <a:pt x="4468" y="0"/>
                  </a:lnTo>
                  <a:cubicBezTo>
                    <a:pt x="4437" y="1311"/>
                    <a:pt x="3468" y="2374"/>
                    <a:pt x="2218" y="2374"/>
                  </a:cubicBezTo>
                  <a:cubicBezTo>
                    <a:pt x="1000" y="2374"/>
                    <a:pt x="0" y="1311"/>
                    <a:pt x="0" y="0"/>
                  </a:cubicBezTo>
                  <a:lnTo>
                    <a:pt x="4468" y="0"/>
                  </a:lnTo>
                  <a:close/>
                  <a:moveTo>
                    <a:pt x="2249" y="967"/>
                  </a:moveTo>
                  <a:lnTo>
                    <a:pt x="2249" y="967"/>
                  </a:lnTo>
                  <a:cubicBezTo>
                    <a:pt x="2562" y="967"/>
                    <a:pt x="2843" y="1249"/>
                    <a:pt x="2843" y="1561"/>
                  </a:cubicBezTo>
                  <a:cubicBezTo>
                    <a:pt x="2843" y="1874"/>
                    <a:pt x="2562" y="2155"/>
                    <a:pt x="2249" y="2155"/>
                  </a:cubicBezTo>
                  <a:cubicBezTo>
                    <a:pt x="1906" y="2155"/>
                    <a:pt x="1656" y="1874"/>
                    <a:pt x="1656" y="1561"/>
                  </a:cubicBezTo>
                  <a:cubicBezTo>
                    <a:pt x="1656" y="1249"/>
                    <a:pt x="1906" y="967"/>
                    <a:pt x="2249" y="96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99" name="Freeform 59"/>
            <p:cNvSpPr>
              <a:spLocks noChangeArrowheads="1"/>
            </p:cNvSpPr>
            <p:nvPr/>
          </p:nvSpPr>
          <p:spPr bwMode="auto">
            <a:xfrm>
              <a:off x="7454900" y="5300663"/>
              <a:ext cx="1833563" cy="495300"/>
            </a:xfrm>
            <a:custGeom>
              <a:avLst/>
              <a:gdLst>
                <a:gd name="T0" fmla="*/ 781 w 5093"/>
                <a:gd name="T1" fmla="*/ 0 h 1376"/>
                <a:gd name="T2" fmla="*/ 781 w 5093"/>
                <a:gd name="T3" fmla="*/ 0 h 1376"/>
                <a:gd name="T4" fmla="*/ 812 w 5093"/>
                <a:gd name="T5" fmla="*/ 188 h 1376"/>
                <a:gd name="T6" fmla="*/ 62 w 5093"/>
                <a:gd name="T7" fmla="*/ 938 h 1376"/>
                <a:gd name="T8" fmla="*/ 0 w 5093"/>
                <a:gd name="T9" fmla="*/ 906 h 1376"/>
                <a:gd name="T10" fmla="*/ 0 w 5093"/>
                <a:gd name="T11" fmla="*/ 1250 h 1376"/>
                <a:gd name="T12" fmla="*/ 156 w 5093"/>
                <a:gd name="T13" fmla="*/ 1375 h 1376"/>
                <a:gd name="T14" fmla="*/ 4936 w 5093"/>
                <a:gd name="T15" fmla="*/ 1375 h 1376"/>
                <a:gd name="T16" fmla="*/ 5092 w 5093"/>
                <a:gd name="T17" fmla="*/ 1250 h 1376"/>
                <a:gd name="T18" fmla="*/ 5092 w 5093"/>
                <a:gd name="T19" fmla="*/ 0 h 1376"/>
                <a:gd name="T20" fmla="*/ 781 w 5093"/>
                <a:gd name="T21" fmla="*/ 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3" h="1376">
                  <a:moveTo>
                    <a:pt x="781" y="0"/>
                  </a:moveTo>
                  <a:lnTo>
                    <a:pt x="781" y="0"/>
                  </a:lnTo>
                  <a:cubicBezTo>
                    <a:pt x="812" y="63"/>
                    <a:pt x="812" y="125"/>
                    <a:pt x="812" y="188"/>
                  </a:cubicBezTo>
                  <a:cubicBezTo>
                    <a:pt x="812" y="594"/>
                    <a:pt x="468" y="938"/>
                    <a:pt x="62" y="938"/>
                  </a:cubicBezTo>
                  <a:cubicBezTo>
                    <a:pt x="31" y="938"/>
                    <a:pt x="31" y="906"/>
                    <a:pt x="0" y="906"/>
                  </a:cubicBezTo>
                  <a:cubicBezTo>
                    <a:pt x="0" y="1250"/>
                    <a:pt x="0" y="1250"/>
                    <a:pt x="0" y="1250"/>
                  </a:cubicBezTo>
                  <a:cubicBezTo>
                    <a:pt x="0" y="1313"/>
                    <a:pt x="62" y="1375"/>
                    <a:pt x="156" y="1375"/>
                  </a:cubicBezTo>
                  <a:cubicBezTo>
                    <a:pt x="4936" y="1375"/>
                    <a:pt x="4936" y="1375"/>
                    <a:pt x="4936" y="1375"/>
                  </a:cubicBezTo>
                  <a:cubicBezTo>
                    <a:pt x="5030" y="1375"/>
                    <a:pt x="5092" y="1313"/>
                    <a:pt x="5092" y="1250"/>
                  </a:cubicBezTo>
                  <a:cubicBezTo>
                    <a:pt x="5092" y="0"/>
                    <a:pt x="5092" y="0"/>
                    <a:pt x="5092" y="0"/>
                  </a:cubicBezTo>
                  <a:lnTo>
                    <a:pt x="781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00" name="Freeform 60"/>
            <p:cNvSpPr>
              <a:spLocks noChangeArrowheads="1"/>
            </p:cNvSpPr>
            <p:nvPr/>
          </p:nvSpPr>
          <p:spPr bwMode="auto">
            <a:xfrm>
              <a:off x="7375525" y="5256213"/>
              <a:ext cx="214313" cy="203200"/>
            </a:xfrm>
            <a:custGeom>
              <a:avLst/>
              <a:gdLst>
                <a:gd name="T0" fmla="*/ 312 w 595"/>
                <a:gd name="T1" fmla="*/ 563 h 564"/>
                <a:gd name="T2" fmla="*/ 312 w 595"/>
                <a:gd name="T3" fmla="*/ 563 h 564"/>
                <a:gd name="T4" fmla="*/ 594 w 595"/>
                <a:gd name="T5" fmla="*/ 281 h 564"/>
                <a:gd name="T6" fmla="*/ 312 w 595"/>
                <a:gd name="T7" fmla="*/ 0 h 564"/>
                <a:gd name="T8" fmla="*/ 0 w 595"/>
                <a:gd name="T9" fmla="*/ 281 h 564"/>
                <a:gd name="T10" fmla="*/ 312 w 595"/>
                <a:gd name="T11" fmla="*/ 563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5" h="564">
                  <a:moveTo>
                    <a:pt x="312" y="563"/>
                  </a:moveTo>
                  <a:lnTo>
                    <a:pt x="312" y="563"/>
                  </a:lnTo>
                  <a:cubicBezTo>
                    <a:pt x="469" y="563"/>
                    <a:pt x="594" y="438"/>
                    <a:pt x="594" y="281"/>
                  </a:cubicBezTo>
                  <a:cubicBezTo>
                    <a:pt x="594" y="125"/>
                    <a:pt x="469" y="0"/>
                    <a:pt x="312" y="0"/>
                  </a:cubicBezTo>
                  <a:cubicBezTo>
                    <a:pt x="125" y="0"/>
                    <a:pt x="0" y="125"/>
                    <a:pt x="0" y="281"/>
                  </a:cubicBezTo>
                  <a:cubicBezTo>
                    <a:pt x="0" y="438"/>
                    <a:pt x="125" y="563"/>
                    <a:pt x="312" y="56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501" name="Freeform 81"/>
          <p:cNvSpPr>
            <a:spLocks noEditPoints="1"/>
          </p:cNvSpPr>
          <p:nvPr/>
        </p:nvSpPr>
        <p:spPr bwMode="auto">
          <a:xfrm>
            <a:off x="5685832" y="3891161"/>
            <a:ext cx="170520" cy="248226"/>
          </a:xfrm>
          <a:custGeom>
            <a:avLst/>
            <a:gdLst>
              <a:gd name="T0" fmla="*/ 362310836 w 404"/>
              <a:gd name="T1" fmla="*/ 419065820 h 565"/>
              <a:gd name="T2" fmla="*/ 239448003 w 404"/>
              <a:gd name="T3" fmla="*/ 373881482 h 565"/>
              <a:gd name="T4" fmla="*/ 239448003 w 404"/>
              <a:gd name="T5" fmla="*/ 332240053 h 565"/>
              <a:gd name="T6" fmla="*/ 353342746 w 404"/>
              <a:gd name="T7" fmla="*/ 171879138 h 565"/>
              <a:gd name="T8" fmla="*/ 179361800 w 404"/>
              <a:gd name="T9" fmla="*/ 0 h 565"/>
              <a:gd name="T10" fmla="*/ 84300046 w 404"/>
              <a:gd name="T11" fmla="*/ 28350810 h 565"/>
              <a:gd name="T12" fmla="*/ 112101125 w 404"/>
              <a:gd name="T13" fmla="*/ 79738065 h 565"/>
              <a:gd name="T14" fmla="*/ 49324495 w 404"/>
              <a:gd name="T15" fmla="*/ 141755932 h 565"/>
              <a:gd name="T16" fmla="*/ 11658517 w 404"/>
              <a:gd name="T17" fmla="*/ 129351982 h 565"/>
              <a:gd name="T18" fmla="*/ 6277663 w 404"/>
              <a:gd name="T19" fmla="*/ 171879138 h 565"/>
              <a:gd name="T20" fmla="*/ 125553260 w 404"/>
              <a:gd name="T21" fmla="*/ 334898177 h 565"/>
              <a:gd name="T22" fmla="*/ 125553260 w 404"/>
              <a:gd name="T23" fmla="*/ 372994813 h 565"/>
              <a:gd name="T24" fmla="*/ 0 w 404"/>
              <a:gd name="T25" fmla="*/ 419065820 h 565"/>
              <a:gd name="T26" fmla="*/ 1793618 w 404"/>
              <a:gd name="T27" fmla="*/ 426153523 h 565"/>
              <a:gd name="T28" fmla="*/ 0 w 404"/>
              <a:gd name="T29" fmla="*/ 435013621 h 565"/>
              <a:gd name="T30" fmla="*/ 181155418 w 404"/>
              <a:gd name="T31" fmla="*/ 500575340 h 565"/>
              <a:gd name="T32" fmla="*/ 362310836 w 404"/>
              <a:gd name="T33" fmla="*/ 435013621 h 565"/>
              <a:gd name="T34" fmla="*/ 360517218 w 404"/>
              <a:gd name="T35" fmla="*/ 426153523 h 565"/>
              <a:gd name="T36" fmla="*/ 362310836 w 404"/>
              <a:gd name="T37" fmla="*/ 419065820 h 565"/>
              <a:gd name="T38" fmla="*/ 48427686 w 404"/>
              <a:gd name="T39" fmla="*/ 101886899 h 565"/>
              <a:gd name="T40" fmla="*/ 73538338 w 404"/>
              <a:gd name="T41" fmla="*/ 77965668 h 565"/>
              <a:gd name="T42" fmla="*/ 48427686 w 404"/>
              <a:gd name="T43" fmla="*/ 53158710 h 565"/>
              <a:gd name="T44" fmla="*/ 24213843 w 404"/>
              <a:gd name="T45" fmla="*/ 77965668 h 565"/>
              <a:gd name="T46" fmla="*/ 48427686 w 404"/>
              <a:gd name="T47" fmla="*/ 101886899 h 565"/>
              <a:gd name="T48" fmla="*/ 243035239 w 404"/>
              <a:gd name="T49" fmla="*/ 177194444 h 565"/>
              <a:gd name="T50" fmla="*/ 181155418 w 404"/>
              <a:gd name="T51" fmla="*/ 238326584 h 565"/>
              <a:gd name="T52" fmla="*/ 118378788 w 404"/>
              <a:gd name="T53" fmla="*/ 177194444 h 565"/>
              <a:gd name="T54" fmla="*/ 181155418 w 404"/>
              <a:gd name="T55" fmla="*/ 116062304 h 565"/>
              <a:gd name="T56" fmla="*/ 243035239 w 404"/>
              <a:gd name="T57" fmla="*/ 177194444 h 56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404"/>
              <a:gd name="T88" fmla="*/ 0 h 565"/>
              <a:gd name="T89" fmla="*/ 404 w 404"/>
              <a:gd name="T90" fmla="*/ 565 h 56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404" h="565">
                <a:moveTo>
                  <a:pt x="404" y="473"/>
                </a:moveTo>
                <a:cubicBezTo>
                  <a:pt x="404" y="449"/>
                  <a:pt x="347" y="429"/>
                  <a:pt x="267" y="422"/>
                </a:cubicBezTo>
                <a:cubicBezTo>
                  <a:pt x="267" y="375"/>
                  <a:pt x="267" y="375"/>
                  <a:pt x="267" y="375"/>
                </a:cubicBezTo>
                <a:cubicBezTo>
                  <a:pt x="341" y="348"/>
                  <a:pt x="394" y="277"/>
                  <a:pt x="394" y="194"/>
                </a:cubicBezTo>
                <a:cubicBezTo>
                  <a:pt x="394" y="87"/>
                  <a:pt x="307" y="0"/>
                  <a:pt x="200" y="0"/>
                </a:cubicBezTo>
                <a:cubicBezTo>
                  <a:pt x="161" y="0"/>
                  <a:pt x="125" y="12"/>
                  <a:pt x="94" y="32"/>
                </a:cubicBezTo>
                <a:cubicBezTo>
                  <a:pt x="112" y="45"/>
                  <a:pt x="125" y="66"/>
                  <a:pt x="125" y="90"/>
                </a:cubicBezTo>
                <a:cubicBezTo>
                  <a:pt x="125" y="129"/>
                  <a:pt x="93" y="160"/>
                  <a:pt x="55" y="160"/>
                </a:cubicBezTo>
                <a:cubicBezTo>
                  <a:pt x="39" y="160"/>
                  <a:pt x="25" y="155"/>
                  <a:pt x="13" y="146"/>
                </a:cubicBezTo>
                <a:cubicBezTo>
                  <a:pt x="9" y="161"/>
                  <a:pt x="7" y="177"/>
                  <a:pt x="7" y="194"/>
                </a:cubicBezTo>
                <a:cubicBezTo>
                  <a:pt x="7" y="279"/>
                  <a:pt x="63" y="352"/>
                  <a:pt x="140" y="378"/>
                </a:cubicBezTo>
                <a:cubicBezTo>
                  <a:pt x="140" y="421"/>
                  <a:pt x="140" y="421"/>
                  <a:pt x="140" y="421"/>
                </a:cubicBezTo>
                <a:cubicBezTo>
                  <a:pt x="59" y="428"/>
                  <a:pt x="0" y="449"/>
                  <a:pt x="0" y="473"/>
                </a:cubicBezTo>
                <a:cubicBezTo>
                  <a:pt x="0" y="476"/>
                  <a:pt x="1" y="478"/>
                  <a:pt x="2" y="481"/>
                </a:cubicBezTo>
                <a:cubicBezTo>
                  <a:pt x="1" y="484"/>
                  <a:pt x="0" y="488"/>
                  <a:pt x="0" y="491"/>
                </a:cubicBezTo>
                <a:cubicBezTo>
                  <a:pt x="0" y="532"/>
                  <a:pt x="91" y="565"/>
                  <a:pt x="202" y="565"/>
                </a:cubicBezTo>
                <a:cubicBezTo>
                  <a:pt x="313" y="565"/>
                  <a:pt x="404" y="532"/>
                  <a:pt x="404" y="491"/>
                </a:cubicBezTo>
                <a:cubicBezTo>
                  <a:pt x="404" y="488"/>
                  <a:pt x="403" y="484"/>
                  <a:pt x="402" y="481"/>
                </a:cubicBezTo>
                <a:cubicBezTo>
                  <a:pt x="403" y="478"/>
                  <a:pt x="404" y="476"/>
                  <a:pt x="404" y="473"/>
                </a:cubicBezTo>
                <a:close/>
                <a:moveTo>
                  <a:pt x="54" y="115"/>
                </a:moveTo>
                <a:cubicBezTo>
                  <a:pt x="70" y="115"/>
                  <a:pt x="82" y="103"/>
                  <a:pt x="82" y="88"/>
                </a:cubicBezTo>
                <a:cubicBezTo>
                  <a:pt x="82" y="72"/>
                  <a:pt x="70" y="60"/>
                  <a:pt x="54" y="60"/>
                </a:cubicBezTo>
                <a:cubicBezTo>
                  <a:pt x="39" y="60"/>
                  <a:pt x="27" y="72"/>
                  <a:pt x="27" y="88"/>
                </a:cubicBezTo>
                <a:cubicBezTo>
                  <a:pt x="27" y="103"/>
                  <a:pt x="39" y="115"/>
                  <a:pt x="54" y="115"/>
                </a:cubicBezTo>
                <a:close/>
                <a:moveTo>
                  <a:pt x="271" y="200"/>
                </a:moveTo>
                <a:cubicBezTo>
                  <a:pt x="271" y="238"/>
                  <a:pt x="240" y="269"/>
                  <a:pt x="202" y="269"/>
                </a:cubicBezTo>
                <a:cubicBezTo>
                  <a:pt x="163" y="269"/>
                  <a:pt x="132" y="238"/>
                  <a:pt x="132" y="200"/>
                </a:cubicBezTo>
                <a:cubicBezTo>
                  <a:pt x="132" y="162"/>
                  <a:pt x="163" y="131"/>
                  <a:pt x="202" y="131"/>
                </a:cubicBezTo>
                <a:cubicBezTo>
                  <a:pt x="240" y="131"/>
                  <a:pt x="271" y="162"/>
                  <a:pt x="271" y="20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91406" tIns="45702" rIns="91406" bIns="45702"/>
          <a:lstStyle/>
          <a:p>
            <a:endParaRPr lang="en-US" dirty="0">
              <a:latin typeface="+mn-lt"/>
            </a:endParaRPr>
          </a:p>
        </p:txBody>
      </p:sp>
      <p:sp>
        <p:nvSpPr>
          <p:cNvPr id="502" name="Freeform 62"/>
          <p:cNvSpPr>
            <a:spLocks noEditPoints="1"/>
          </p:cNvSpPr>
          <p:nvPr/>
        </p:nvSpPr>
        <p:spPr bwMode="auto">
          <a:xfrm>
            <a:off x="6284156" y="2008491"/>
            <a:ext cx="217750" cy="305240"/>
          </a:xfrm>
          <a:custGeom>
            <a:avLst/>
            <a:gdLst>
              <a:gd name="T0" fmla="*/ 2147483647 w 418"/>
              <a:gd name="T1" fmla="*/ 0 h 588"/>
              <a:gd name="T2" fmla="*/ 2147483647 w 418"/>
              <a:gd name="T3" fmla="*/ 0 h 588"/>
              <a:gd name="T4" fmla="*/ 2147483647 w 418"/>
              <a:gd name="T5" fmla="*/ 2147483647 h 588"/>
              <a:gd name="T6" fmla="*/ 2147483647 w 418"/>
              <a:gd name="T7" fmla="*/ 2147483647 h 588"/>
              <a:gd name="T8" fmla="*/ 0 w 418"/>
              <a:gd name="T9" fmla="*/ 2147483647 h 588"/>
              <a:gd name="T10" fmla="*/ 0 w 418"/>
              <a:gd name="T11" fmla="*/ 2147483647 h 588"/>
              <a:gd name="T12" fmla="*/ 2147483647 w 418"/>
              <a:gd name="T13" fmla="*/ 2147483647 h 588"/>
              <a:gd name="T14" fmla="*/ 2147483647 w 418"/>
              <a:gd name="T15" fmla="*/ 2147483647 h 588"/>
              <a:gd name="T16" fmla="*/ 2147483647 w 418"/>
              <a:gd name="T17" fmla="*/ 2147483647 h 588"/>
              <a:gd name="T18" fmla="*/ 2147483647 w 418"/>
              <a:gd name="T19" fmla="*/ 2147483647 h 588"/>
              <a:gd name="T20" fmla="*/ 2147483647 w 418"/>
              <a:gd name="T21" fmla="*/ 0 h 588"/>
              <a:gd name="T22" fmla="*/ 2147483647 w 418"/>
              <a:gd name="T23" fmla="*/ 2147483647 h 588"/>
              <a:gd name="T24" fmla="*/ 2147483647 w 418"/>
              <a:gd name="T25" fmla="*/ 2147483647 h 588"/>
              <a:gd name="T26" fmla="*/ 2147483647 w 418"/>
              <a:gd name="T27" fmla="*/ 2147483647 h 588"/>
              <a:gd name="T28" fmla="*/ 2147483647 w 418"/>
              <a:gd name="T29" fmla="*/ 2147483647 h 588"/>
              <a:gd name="T30" fmla="*/ 2147483647 w 418"/>
              <a:gd name="T31" fmla="*/ 2147483647 h 588"/>
              <a:gd name="T32" fmla="*/ 2147483647 w 418"/>
              <a:gd name="T33" fmla="*/ 2147483647 h 588"/>
              <a:gd name="T34" fmla="*/ 2147483647 w 418"/>
              <a:gd name="T35" fmla="*/ 2147483647 h 588"/>
              <a:gd name="T36" fmla="*/ 2147483647 w 418"/>
              <a:gd name="T37" fmla="*/ 2147483647 h 588"/>
              <a:gd name="T38" fmla="*/ 2147483647 w 418"/>
              <a:gd name="T39" fmla="*/ 2147483647 h 588"/>
              <a:gd name="T40" fmla="*/ 2147483647 w 418"/>
              <a:gd name="T41" fmla="*/ 2147483647 h 588"/>
              <a:gd name="T42" fmla="*/ 2147483647 w 418"/>
              <a:gd name="T43" fmla="*/ 2147483647 h 588"/>
              <a:gd name="T44" fmla="*/ 2147483647 w 418"/>
              <a:gd name="T45" fmla="*/ 2147483647 h 588"/>
              <a:gd name="T46" fmla="*/ 2147483647 w 418"/>
              <a:gd name="T47" fmla="*/ 2147483647 h 588"/>
              <a:gd name="T48" fmla="*/ 2147483647 w 418"/>
              <a:gd name="T49" fmla="*/ 2147483647 h 588"/>
              <a:gd name="T50" fmla="*/ 2147483647 w 418"/>
              <a:gd name="T51" fmla="*/ 2147483647 h 588"/>
              <a:gd name="T52" fmla="*/ 2147483647 w 418"/>
              <a:gd name="T53" fmla="*/ 2147483647 h 588"/>
              <a:gd name="T54" fmla="*/ 2147483647 w 418"/>
              <a:gd name="T55" fmla="*/ 2147483647 h 588"/>
              <a:gd name="T56" fmla="*/ 2147483647 w 418"/>
              <a:gd name="T57" fmla="*/ 2147483647 h 588"/>
              <a:gd name="T58" fmla="*/ 2147483647 w 418"/>
              <a:gd name="T59" fmla="*/ 2147483647 h 588"/>
              <a:gd name="T60" fmla="*/ 2147483647 w 418"/>
              <a:gd name="T61" fmla="*/ 2147483647 h 588"/>
              <a:gd name="T62" fmla="*/ 2147483647 w 418"/>
              <a:gd name="T63" fmla="*/ 2147483647 h 58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18"/>
              <a:gd name="T97" fmla="*/ 0 h 588"/>
              <a:gd name="T98" fmla="*/ 418 w 418"/>
              <a:gd name="T99" fmla="*/ 588 h 58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18" h="588">
                <a:moveTo>
                  <a:pt x="375" y="0"/>
                </a:moveTo>
                <a:cubicBezTo>
                  <a:pt x="102" y="0"/>
                  <a:pt x="102" y="0"/>
                  <a:pt x="102" y="0"/>
                </a:cubicBezTo>
                <a:cubicBezTo>
                  <a:pt x="107" y="9"/>
                  <a:pt x="109" y="19"/>
                  <a:pt x="109" y="30"/>
                </a:cubicBezTo>
                <a:cubicBezTo>
                  <a:pt x="109" y="70"/>
                  <a:pt x="77" y="102"/>
                  <a:pt x="37" y="102"/>
                </a:cubicBezTo>
                <a:cubicBezTo>
                  <a:pt x="24" y="102"/>
                  <a:pt x="11" y="98"/>
                  <a:pt x="0" y="91"/>
                </a:cubicBezTo>
                <a:cubicBezTo>
                  <a:pt x="0" y="537"/>
                  <a:pt x="0" y="537"/>
                  <a:pt x="0" y="537"/>
                </a:cubicBezTo>
                <a:cubicBezTo>
                  <a:pt x="0" y="565"/>
                  <a:pt x="19" y="588"/>
                  <a:pt x="42" y="588"/>
                </a:cubicBezTo>
                <a:cubicBezTo>
                  <a:pt x="375" y="588"/>
                  <a:pt x="375" y="588"/>
                  <a:pt x="375" y="588"/>
                </a:cubicBezTo>
                <a:cubicBezTo>
                  <a:pt x="399" y="588"/>
                  <a:pt x="418" y="565"/>
                  <a:pt x="418" y="537"/>
                </a:cubicBezTo>
                <a:cubicBezTo>
                  <a:pt x="418" y="51"/>
                  <a:pt x="418" y="51"/>
                  <a:pt x="418" y="51"/>
                </a:cubicBezTo>
                <a:cubicBezTo>
                  <a:pt x="418" y="23"/>
                  <a:pt x="399" y="0"/>
                  <a:pt x="375" y="0"/>
                </a:cubicBezTo>
                <a:close/>
                <a:moveTo>
                  <a:pt x="36" y="59"/>
                </a:moveTo>
                <a:cubicBezTo>
                  <a:pt x="51" y="59"/>
                  <a:pt x="63" y="46"/>
                  <a:pt x="63" y="31"/>
                </a:cubicBezTo>
                <a:cubicBezTo>
                  <a:pt x="63" y="16"/>
                  <a:pt x="51" y="3"/>
                  <a:pt x="36" y="3"/>
                </a:cubicBezTo>
                <a:cubicBezTo>
                  <a:pt x="20" y="3"/>
                  <a:pt x="8" y="16"/>
                  <a:pt x="8" y="31"/>
                </a:cubicBezTo>
                <a:cubicBezTo>
                  <a:pt x="8" y="46"/>
                  <a:pt x="20" y="59"/>
                  <a:pt x="36" y="59"/>
                </a:cubicBezTo>
                <a:close/>
                <a:moveTo>
                  <a:pt x="152" y="256"/>
                </a:moveTo>
                <a:cubicBezTo>
                  <a:pt x="40" y="206"/>
                  <a:pt x="40" y="206"/>
                  <a:pt x="40" y="206"/>
                </a:cubicBezTo>
                <a:cubicBezTo>
                  <a:pt x="152" y="156"/>
                  <a:pt x="152" y="156"/>
                  <a:pt x="152" y="156"/>
                </a:cubicBezTo>
                <a:cubicBezTo>
                  <a:pt x="152" y="195"/>
                  <a:pt x="152" y="195"/>
                  <a:pt x="152" y="195"/>
                </a:cubicBezTo>
                <a:cubicBezTo>
                  <a:pt x="322" y="195"/>
                  <a:pt x="322" y="195"/>
                  <a:pt x="322" y="195"/>
                </a:cubicBezTo>
                <a:cubicBezTo>
                  <a:pt x="322" y="215"/>
                  <a:pt x="322" y="215"/>
                  <a:pt x="322" y="215"/>
                </a:cubicBezTo>
                <a:cubicBezTo>
                  <a:pt x="152" y="215"/>
                  <a:pt x="152" y="215"/>
                  <a:pt x="152" y="215"/>
                </a:cubicBezTo>
                <a:lnTo>
                  <a:pt x="152" y="256"/>
                </a:lnTo>
                <a:close/>
                <a:moveTo>
                  <a:pt x="240" y="425"/>
                </a:moveTo>
                <a:cubicBezTo>
                  <a:pt x="240" y="386"/>
                  <a:pt x="240" y="386"/>
                  <a:pt x="240" y="386"/>
                </a:cubicBezTo>
                <a:cubicBezTo>
                  <a:pt x="60" y="386"/>
                  <a:pt x="60" y="386"/>
                  <a:pt x="60" y="386"/>
                </a:cubicBezTo>
                <a:cubicBezTo>
                  <a:pt x="60" y="366"/>
                  <a:pt x="60" y="366"/>
                  <a:pt x="60" y="366"/>
                </a:cubicBezTo>
                <a:cubicBezTo>
                  <a:pt x="240" y="366"/>
                  <a:pt x="240" y="366"/>
                  <a:pt x="240" y="366"/>
                </a:cubicBezTo>
                <a:cubicBezTo>
                  <a:pt x="240" y="325"/>
                  <a:pt x="240" y="325"/>
                  <a:pt x="240" y="325"/>
                </a:cubicBezTo>
                <a:cubicBezTo>
                  <a:pt x="352" y="375"/>
                  <a:pt x="352" y="375"/>
                  <a:pt x="352" y="375"/>
                </a:cubicBezTo>
                <a:lnTo>
                  <a:pt x="240" y="425"/>
                </a:lnTo>
                <a:close/>
              </a:path>
            </a:pathLst>
          </a:custGeom>
          <a:solidFill>
            <a:srgbClr val="00B9E1"/>
          </a:solidFill>
          <a:ln w="9525">
            <a:noFill/>
            <a:round/>
            <a:headEnd/>
            <a:tailEnd/>
          </a:ln>
        </p:spPr>
        <p:txBody>
          <a:bodyPr lIns="91406" tIns="45702" rIns="91406" bIns="45702"/>
          <a:lstStyle/>
          <a:p>
            <a:pPr>
              <a:spcAft>
                <a:spcPts val="0"/>
              </a:spcAft>
            </a:pPr>
            <a:endParaRPr lang="en-US" dirty="0">
              <a:latin typeface="+mn-lt"/>
            </a:endParaRPr>
          </a:p>
        </p:txBody>
      </p:sp>
      <p:sp>
        <p:nvSpPr>
          <p:cNvPr id="504" name="Arc plein 503"/>
          <p:cNvSpPr/>
          <p:nvPr/>
        </p:nvSpPr>
        <p:spPr bwMode="auto">
          <a:xfrm>
            <a:off x="2031322" y="646958"/>
            <a:ext cx="4125525" cy="3864196"/>
          </a:xfrm>
          <a:prstGeom prst="blockArc">
            <a:avLst>
              <a:gd name="adj1" fmla="val 18511233"/>
              <a:gd name="adj2" fmla="val 20675561"/>
              <a:gd name="adj3" fmla="val 27835"/>
            </a:avLst>
          </a:pr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12" tIns="45705" rIns="91412" bIns="45705" numCol="1" anchor="t" anchorCtr="0" compatLnSpc="1">
            <a:prstTxWarp prst="textNoShape">
              <a:avLst/>
            </a:prstTxWarp>
          </a:bodyPr>
          <a:lstStyle/>
          <a:p>
            <a:pPr defTabSz="696602"/>
            <a:endParaRPr lang="fr-FR" dirty="0"/>
          </a:p>
        </p:txBody>
      </p:sp>
      <p:sp>
        <p:nvSpPr>
          <p:cNvPr id="505" name="Freeform 103"/>
          <p:cNvSpPr>
            <a:spLocks noEditPoints="1"/>
          </p:cNvSpPr>
          <p:nvPr/>
        </p:nvSpPr>
        <p:spPr bwMode="auto">
          <a:xfrm>
            <a:off x="5121906" y="1353782"/>
            <a:ext cx="458937" cy="501914"/>
          </a:xfrm>
          <a:custGeom>
            <a:avLst/>
            <a:gdLst/>
            <a:ahLst/>
            <a:cxnLst>
              <a:cxn ang="0">
                <a:pos x="384" y="598"/>
              </a:cxn>
              <a:cxn ang="0">
                <a:pos x="340" y="643"/>
              </a:cxn>
              <a:cxn ang="0">
                <a:pos x="293" y="672"/>
              </a:cxn>
              <a:cxn ang="0">
                <a:pos x="233" y="692"/>
              </a:cxn>
              <a:cxn ang="0">
                <a:pos x="168" y="727"/>
              </a:cxn>
              <a:cxn ang="0">
                <a:pos x="110" y="680"/>
              </a:cxn>
              <a:cxn ang="0">
                <a:pos x="82" y="605"/>
              </a:cxn>
              <a:cxn ang="0">
                <a:pos x="67" y="543"/>
              </a:cxn>
              <a:cxn ang="0">
                <a:pos x="66" y="485"/>
              </a:cxn>
              <a:cxn ang="0">
                <a:pos x="78" y="422"/>
              </a:cxn>
              <a:cxn ang="0">
                <a:pos x="218" y="338"/>
              </a:cxn>
              <a:cxn ang="0">
                <a:pos x="272" y="343"/>
              </a:cxn>
              <a:cxn ang="0">
                <a:pos x="332" y="362"/>
              </a:cxn>
              <a:cxn ang="0">
                <a:pos x="402" y="397"/>
              </a:cxn>
              <a:cxn ang="0">
                <a:pos x="443" y="460"/>
              </a:cxn>
              <a:cxn ang="0">
                <a:pos x="432" y="535"/>
              </a:cxn>
              <a:cxn ang="0">
                <a:pos x="411" y="185"/>
              </a:cxn>
              <a:cxn ang="0">
                <a:pos x="432" y="133"/>
              </a:cxn>
              <a:cxn ang="0">
                <a:pos x="469" y="80"/>
              </a:cxn>
              <a:cxn ang="0">
                <a:pos x="522" y="22"/>
              </a:cxn>
              <a:cxn ang="0">
                <a:pos x="592" y="0"/>
              </a:cxn>
              <a:cxn ang="0">
                <a:pos x="657" y="34"/>
              </a:cxn>
              <a:cxn ang="0">
                <a:pos x="700" y="101"/>
              </a:cxn>
              <a:cxn ang="0">
                <a:pos x="728" y="159"/>
              </a:cxn>
              <a:cxn ang="0">
                <a:pos x="740" y="215"/>
              </a:cxn>
              <a:cxn ang="0">
                <a:pos x="740" y="280"/>
              </a:cxn>
              <a:cxn ang="0">
                <a:pos x="730" y="360"/>
              </a:cxn>
              <a:cxn ang="0">
                <a:pos x="686" y="420"/>
              </a:cxn>
              <a:cxn ang="0">
                <a:pos x="614" y="433"/>
              </a:cxn>
              <a:cxn ang="0">
                <a:pos x="552" y="398"/>
              </a:cxn>
              <a:cxn ang="0">
                <a:pos x="499" y="382"/>
              </a:cxn>
              <a:cxn ang="0">
                <a:pos x="445" y="349"/>
              </a:cxn>
              <a:cxn ang="0">
                <a:pos x="384" y="300"/>
              </a:cxn>
              <a:cxn ang="0">
                <a:pos x="356" y="230"/>
              </a:cxn>
              <a:cxn ang="0">
                <a:pos x="770" y="768"/>
              </a:cxn>
              <a:cxn ang="0">
                <a:pos x="725" y="813"/>
              </a:cxn>
              <a:cxn ang="0">
                <a:pos x="678" y="843"/>
              </a:cxn>
              <a:cxn ang="0">
                <a:pos x="619" y="863"/>
              </a:cxn>
              <a:cxn ang="0">
                <a:pos x="553" y="898"/>
              </a:cxn>
              <a:cxn ang="0">
                <a:pos x="496" y="851"/>
              </a:cxn>
              <a:cxn ang="0">
                <a:pos x="467" y="776"/>
              </a:cxn>
              <a:cxn ang="0">
                <a:pos x="452" y="713"/>
              </a:cxn>
              <a:cxn ang="0">
                <a:pos x="451" y="656"/>
              </a:cxn>
              <a:cxn ang="0">
                <a:pos x="464" y="593"/>
              </a:cxn>
              <a:cxn ang="0">
                <a:pos x="490" y="517"/>
              </a:cxn>
              <a:cxn ang="0">
                <a:pos x="545" y="467"/>
              </a:cxn>
              <a:cxn ang="0">
                <a:pos x="618" y="471"/>
              </a:cxn>
              <a:cxn ang="0">
                <a:pos x="683" y="514"/>
              </a:cxn>
              <a:cxn ang="0">
                <a:pos x="731" y="555"/>
              </a:cxn>
              <a:cxn ang="0">
                <a:pos x="764" y="601"/>
              </a:cxn>
              <a:cxn ang="0">
                <a:pos x="790" y="660"/>
              </a:cxn>
              <a:cxn ang="0">
                <a:pos x="575" y="151"/>
              </a:cxn>
              <a:cxn ang="0">
                <a:pos x="158" y="509"/>
              </a:cxn>
              <a:cxn ang="0">
                <a:pos x="614" y="757"/>
              </a:cxn>
              <a:cxn ang="0">
                <a:pos x="168" y="351"/>
              </a:cxn>
            </a:cxnLst>
            <a:rect l="0" t="0" r="r" b="b"/>
            <a:pathLst>
              <a:path w="832" h="907">
                <a:moveTo>
                  <a:pt x="445" y="554"/>
                </a:moveTo>
                <a:cubicBezTo>
                  <a:pt x="443" y="562"/>
                  <a:pt x="435" y="568"/>
                  <a:pt x="426" y="566"/>
                </a:cubicBezTo>
                <a:cubicBezTo>
                  <a:pt x="398" y="564"/>
                  <a:pt x="398" y="564"/>
                  <a:pt x="398" y="564"/>
                </a:cubicBezTo>
                <a:cubicBezTo>
                  <a:pt x="393" y="565"/>
                  <a:pt x="389" y="567"/>
                  <a:pt x="387" y="571"/>
                </a:cubicBezTo>
                <a:cubicBezTo>
                  <a:pt x="386" y="576"/>
                  <a:pt x="384" y="581"/>
                  <a:pt x="382" y="586"/>
                </a:cubicBezTo>
                <a:cubicBezTo>
                  <a:pt x="380" y="590"/>
                  <a:pt x="381" y="594"/>
                  <a:pt x="384" y="598"/>
                </a:cubicBezTo>
                <a:cubicBezTo>
                  <a:pt x="405" y="618"/>
                  <a:pt x="405" y="618"/>
                  <a:pt x="405" y="618"/>
                </a:cubicBezTo>
                <a:cubicBezTo>
                  <a:pt x="413" y="623"/>
                  <a:pt x="414" y="633"/>
                  <a:pt x="409" y="640"/>
                </a:cubicBezTo>
                <a:cubicBezTo>
                  <a:pt x="404" y="648"/>
                  <a:pt x="395" y="649"/>
                  <a:pt x="388" y="644"/>
                </a:cubicBezTo>
                <a:cubicBezTo>
                  <a:pt x="362" y="630"/>
                  <a:pt x="362" y="630"/>
                  <a:pt x="362" y="630"/>
                </a:cubicBezTo>
                <a:cubicBezTo>
                  <a:pt x="358" y="629"/>
                  <a:pt x="354" y="630"/>
                  <a:pt x="350" y="632"/>
                </a:cubicBezTo>
                <a:cubicBezTo>
                  <a:pt x="347" y="636"/>
                  <a:pt x="343" y="639"/>
                  <a:pt x="340" y="643"/>
                </a:cubicBezTo>
                <a:cubicBezTo>
                  <a:pt x="337" y="646"/>
                  <a:pt x="336" y="651"/>
                  <a:pt x="337" y="655"/>
                </a:cubicBezTo>
                <a:cubicBezTo>
                  <a:pt x="349" y="683"/>
                  <a:pt x="349" y="683"/>
                  <a:pt x="349" y="683"/>
                </a:cubicBezTo>
                <a:cubicBezTo>
                  <a:pt x="353" y="690"/>
                  <a:pt x="351" y="700"/>
                  <a:pt x="343" y="705"/>
                </a:cubicBezTo>
                <a:cubicBezTo>
                  <a:pt x="336" y="709"/>
                  <a:pt x="326" y="707"/>
                  <a:pt x="322" y="699"/>
                </a:cubicBezTo>
                <a:cubicBezTo>
                  <a:pt x="304" y="676"/>
                  <a:pt x="304" y="676"/>
                  <a:pt x="304" y="676"/>
                </a:cubicBezTo>
                <a:cubicBezTo>
                  <a:pt x="301" y="673"/>
                  <a:pt x="296" y="671"/>
                  <a:pt x="293" y="672"/>
                </a:cubicBezTo>
                <a:cubicBezTo>
                  <a:pt x="288" y="674"/>
                  <a:pt x="283" y="676"/>
                  <a:pt x="278" y="677"/>
                </a:cubicBezTo>
                <a:cubicBezTo>
                  <a:pt x="275" y="679"/>
                  <a:pt x="272" y="683"/>
                  <a:pt x="271" y="688"/>
                </a:cubicBezTo>
                <a:cubicBezTo>
                  <a:pt x="271" y="717"/>
                  <a:pt x="271" y="717"/>
                  <a:pt x="271" y="717"/>
                </a:cubicBezTo>
                <a:cubicBezTo>
                  <a:pt x="272" y="726"/>
                  <a:pt x="266" y="734"/>
                  <a:pt x="258" y="735"/>
                </a:cubicBezTo>
                <a:cubicBezTo>
                  <a:pt x="249" y="737"/>
                  <a:pt x="242" y="730"/>
                  <a:pt x="241" y="721"/>
                </a:cubicBezTo>
                <a:cubicBezTo>
                  <a:pt x="233" y="692"/>
                  <a:pt x="233" y="692"/>
                  <a:pt x="233" y="692"/>
                </a:cubicBezTo>
                <a:cubicBezTo>
                  <a:pt x="232" y="688"/>
                  <a:pt x="228" y="685"/>
                  <a:pt x="224" y="684"/>
                </a:cubicBezTo>
                <a:cubicBezTo>
                  <a:pt x="222" y="684"/>
                  <a:pt x="219" y="684"/>
                  <a:pt x="217" y="684"/>
                </a:cubicBezTo>
                <a:cubicBezTo>
                  <a:pt x="214" y="684"/>
                  <a:pt x="212" y="683"/>
                  <a:pt x="209" y="683"/>
                </a:cubicBezTo>
                <a:cubicBezTo>
                  <a:pt x="205" y="683"/>
                  <a:pt x="201" y="685"/>
                  <a:pt x="199" y="689"/>
                </a:cubicBezTo>
                <a:cubicBezTo>
                  <a:pt x="187" y="717"/>
                  <a:pt x="187" y="717"/>
                  <a:pt x="187" y="717"/>
                </a:cubicBezTo>
                <a:cubicBezTo>
                  <a:pt x="185" y="725"/>
                  <a:pt x="176" y="730"/>
                  <a:pt x="168" y="727"/>
                </a:cubicBezTo>
                <a:cubicBezTo>
                  <a:pt x="159" y="725"/>
                  <a:pt x="155" y="716"/>
                  <a:pt x="157" y="707"/>
                </a:cubicBezTo>
                <a:cubicBezTo>
                  <a:pt x="162" y="678"/>
                  <a:pt x="162" y="678"/>
                  <a:pt x="162" y="678"/>
                </a:cubicBezTo>
                <a:cubicBezTo>
                  <a:pt x="162" y="673"/>
                  <a:pt x="160" y="669"/>
                  <a:pt x="157" y="666"/>
                </a:cubicBezTo>
                <a:cubicBezTo>
                  <a:pt x="152" y="664"/>
                  <a:pt x="148" y="662"/>
                  <a:pt x="144" y="659"/>
                </a:cubicBezTo>
                <a:cubicBezTo>
                  <a:pt x="140" y="657"/>
                  <a:pt x="135" y="658"/>
                  <a:pt x="132" y="660"/>
                </a:cubicBezTo>
                <a:cubicBezTo>
                  <a:pt x="110" y="680"/>
                  <a:pt x="110" y="680"/>
                  <a:pt x="110" y="680"/>
                </a:cubicBezTo>
                <a:cubicBezTo>
                  <a:pt x="105" y="687"/>
                  <a:pt x="95" y="688"/>
                  <a:pt x="88" y="682"/>
                </a:cubicBezTo>
                <a:cubicBezTo>
                  <a:pt x="82" y="676"/>
                  <a:pt x="81" y="666"/>
                  <a:pt x="87" y="659"/>
                </a:cubicBezTo>
                <a:cubicBezTo>
                  <a:pt x="103" y="634"/>
                  <a:pt x="103" y="634"/>
                  <a:pt x="103" y="634"/>
                </a:cubicBezTo>
                <a:cubicBezTo>
                  <a:pt x="105" y="630"/>
                  <a:pt x="104" y="625"/>
                  <a:pt x="102" y="621"/>
                </a:cubicBezTo>
                <a:cubicBezTo>
                  <a:pt x="99" y="618"/>
                  <a:pt x="96" y="613"/>
                  <a:pt x="93" y="609"/>
                </a:cubicBezTo>
                <a:cubicBezTo>
                  <a:pt x="91" y="606"/>
                  <a:pt x="86" y="605"/>
                  <a:pt x="82" y="605"/>
                </a:cubicBezTo>
                <a:cubicBezTo>
                  <a:pt x="55" y="615"/>
                  <a:pt x="55" y="615"/>
                  <a:pt x="55" y="615"/>
                </a:cubicBezTo>
                <a:cubicBezTo>
                  <a:pt x="47" y="618"/>
                  <a:pt x="37" y="615"/>
                  <a:pt x="34" y="607"/>
                </a:cubicBezTo>
                <a:cubicBezTo>
                  <a:pt x="30" y="599"/>
                  <a:pt x="34" y="589"/>
                  <a:pt x="41" y="585"/>
                </a:cubicBezTo>
                <a:cubicBezTo>
                  <a:pt x="66" y="569"/>
                  <a:pt x="66" y="569"/>
                  <a:pt x="66" y="569"/>
                </a:cubicBezTo>
                <a:cubicBezTo>
                  <a:pt x="69" y="566"/>
                  <a:pt x="71" y="562"/>
                  <a:pt x="70" y="558"/>
                </a:cubicBezTo>
                <a:cubicBezTo>
                  <a:pt x="69" y="553"/>
                  <a:pt x="68" y="548"/>
                  <a:pt x="67" y="543"/>
                </a:cubicBezTo>
                <a:cubicBezTo>
                  <a:pt x="65" y="538"/>
                  <a:pt x="62" y="535"/>
                  <a:pt x="58" y="534"/>
                </a:cubicBezTo>
                <a:cubicBezTo>
                  <a:pt x="29" y="531"/>
                  <a:pt x="29" y="531"/>
                  <a:pt x="29" y="531"/>
                </a:cubicBezTo>
                <a:cubicBezTo>
                  <a:pt x="21" y="531"/>
                  <a:pt x="0" y="514"/>
                  <a:pt x="0" y="505"/>
                </a:cubicBezTo>
                <a:cubicBezTo>
                  <a:pt x="0" y="496"/>
                  <a:pt x="20" y="499"/>
                  <a:pt x="29" y="499"/>
                </a:cubicBezTo>
                <a:cubicBezTo>
                  <a:pt x="57" y="494"/>
                  <a:pt x="57" y="494"/>
                  <a:pt x="57" y="494"/>
                </a:cubicBezTo>
                <a:cubicBezTo>
                  <a:pt x="61" y="493"/>
                  <a:pt x="65" y="490"/>
                  <a:pt x="66" y="485"/>
                </a:cubicBezTo>
                <a:cubicBezTo>
                  <a:pt x="66" y="480"/>
                  <a:pt x="67" y="475"/>
                  <a:pt x="68" y="470"/>
                </a:cubicBezTo>
                <a:cubicBezTo>
                  <a:pt x="69" y="466"/>
                  <a:pt x="67" y="462"/>
                  <a:pt x="64" y="459"/>
                </a:cubicBezTo>
                <a:cubicBezTo>
                  <a:pt x="39" y="444"/>
                  <a:pt x="39" y="444"/>
                  <a:pt x="39" y="444"/>
                </a:cubicBezTo>
                <a:cubicBezTo>
                  <a:pt x="31" y="440"/>
                  <a:pt x="27" y="431"/>
                  <a:pt x="31" y="423"/>
                </a:cubicBezTo>
                <a:cubicBezTo>
                  <a:pt x="34" y="414"/>
                  <a:pt x="43" y="411"/>
                  <a:pt x="51" y="414"/>
                </a:cubicBezTo>
                <a:cubicBezTo>
                  <a:pt x="78" y="422"/>
                  <a:pt x="78" y="422"/>
                  <a:pt x="78" y="422"/>
                </a:cubicBezTo>
                <a:cubicBezTo>
                  <a:pt x="83" y="423"/>
                  <a:pt x="87" y="421"/>
                  <a:pt x="90" y="418"/>
                </a:cubicBezTo>
                <a:cubicBezTo>
                  <a:pt x="92" y="415"/>
                  <a:pt x="94" y="412"/>
                  <a:pt x="96" y="409"/>
                </a:cubicBezTo>
                <a:cubicBezTo>
                  <a:pt x="108" y="418"/>
                  <a:pt x="124" y="425"/>
                  <a:pt x="141" y="425"/>
                </a:cubicBezTo>
                <a:cubicBezTo>
                  <a:pt x="181" y="425"/>
                  <a:pt x="214" y="392"/>
                  <a:pt x="214" y="352"/>
                </a:cubicBezTo>
                <a:cubicBezTo>
                  <a:pt x="214" y="347"/>
                  <a:pt x="213" y="343"/>
                  <a:pt x="212" y="338"/>
                </a:cubicBezTo>
                <a:cubicBezTo>
                  <a:pt x="214" y="338"/>
                  <a:pt x="216" y="338"/>
                  <a:pt x="218" y="338"/>
                </a:cubicBezTo>
                <a:cubicBezTo>
                  <a:pt x="222" y="337"/>
                  <a:pt x="225" y="333"/>
                  <a:pt x="227" y="329"/>
                </a:cubicBezTo>
                <a:cubicBezTo>
                  <a:pt x="233" y="300"/>
                  <a:pt x="233" y="300"/>
                  <a:pt x="233" y="300"/>
                </a:cubicBezTo>
                <a:cubicBezTo>
                  <a:pt x="234" y="291"/>
                  <a:pt x="241" y="284"/>
                  <a:pt x="250" y="285"/>
                </a:cubicBezTo>
                <a:cubicBezTo>
                  <a:pt x="258" y="286"/>
                  <a:pt x="264" y="294"/>
                  <a:pt x="264" y="303"/>
                </a:cubicBezTo>
                <a:cubicBezTo>
                  <a:pt x="265" y="333"/>
                  <a:pt x="265" y="333"/>
                  <a:pt x="265" y="333"/>
                </a:cubicBezTo>
                <a:cubicBezTo>
                  <a:pt x="266" y="337"/>
                  <a:pt x="269" y="341"/>
                  <a:pt x="272" y="343"/>
                </a:cubicBezTo>
                <a:cubicBezTo>
                  <a:pt x="277" y="344"/>
                  <a:pt x="282" y="345"/>
                  <a:pt x="287" y="347"/>
                </a:cubicBezTo>
                <a:cubicBezTo>
                  <a:pt x="291" y="348"/>
                  <a:pt x="295" y="346"/>
                  <a:pt x="298" y="343"/>
                </a:cubicBezTo>
                <a:cubicBezTo>
                  <a:pt x="315" y="319"/>
                  <a:pt x="315" y="319"/>
                  <a:pt x="315" y="319"/>
                </a:cubicBezTo>
                <a:cubicBezTo>
                  <a:pt x="319" y="311"/>
                  <a:pt x="329" y="308"/>
                  <a:pt x="336" y="313"/>
                </a:cubicBezTo>
                <a:cubicBezTo>
                  <a:pt x="344" y="317"/>
                  <a:pt x="346" y="327"/>
                  <a:pt x="342" y="335"/>
                </a:cubicBezTo>
                <a:cubicBezTo>
                  <a:pt x="332" y="362"/>
                  <a:pt x="332" y="362"/>
                  <a:pt x="332" y="362"/>
                </a:cubicBezTo>
                <a:cubicBezTo>
                  <a:pt x="331" y="367"/>
                  <a:pt x="332" y="371"/>
                  <a:pt x="335" y="375"/>
                </a:cubicBezTo>
                <a:cubicBezTo>
                  <a:pt x="339" y="378"/>
                  <a:pt x="342" y="381"/>
                  <a:pt x="346" y="385"/>
                </a:cubicBezTo>
                <a:cubicBezTo>
                  <a:pt x="349" y="387"/>
                  <a:pt x="354" y="388"/>
                  <a:pt x="358" y="386"/>
                </a:cubicBezTo>
                <a:cubicBezTo>
                  <a:pt x="383" y="371"/>
                  <a:pt x="383" y="371"/>
                  <a:pt x="383" y="371"/>
                </a:cubicBezTo>
                <a:cubicBezTo>
                  <a:pt x="390" y="366"/>
                  <a:pt x="399" y="367"/>
                  <a:pt x="405" y="374"/>
                </a:cubicBezTo>
                <a:cubicBezTo>
                  <a:pt x="410" y="381"/>
                  <a:pt x="408" y="392"/>
                  <a:pt x="402" y="397"/>
                </a:cubicBezTo>
                <a:cubicBezTo>
                  <a:pt x="381" y="418"/>
                  <a:pt x="381" y="418"/>
                  <a:pt x="381" y="418"/>
                </a:cubicBezTo>
                <a:cubicBezTo>
                  <a:pt x="378" y="421"/>
                  <a:pt x="377" y="426"/>
                  <a:pt x="379" y="430"/>
                </a:cubicBezTo>
                <a:cubicBezTo>
                  <a:pt x="381" y="435"/>
                  <a:pt x="383" y="439"/>
                  <a:pt x="385" y="444"/>
                </a:cubicBezTo>
                <a:cubicBezTo>
                  <a:pt x="387" y="448"/>
                  <a:pt x="391" y="450"/>
                  <a:pt x="396" y="451"/>
                </a:cubicBezTo>
                <a:cubicBezTo>
                  <a:pt x="424" y="447"/>
                  <a:pt x="424" y="447"/>
                  <a:pt x="424" y="447"/>
                </a:cubicBezTo>
                <a:cubicBezTo>
                  <a:pt x="433" y="445"/>
                  <a:pt x="441" y="451"/>
                  <a:pt x="443" y="460"/>
                </a:cubicBezTo>
                <a:cubicBezTo>
                  <a:pt x="445" y="468"/>
                  <a:pt x="440" y="477"/>
                  <a:pt x="431" y="479"/>
                </a:cubicBezTo>
                <a:cubicBezTo>
                  <a:pt x="404" y="489"/>
                  <a:pt x="404" y="489"/>
                  <a:pt x="404" y="489"/>
                </a:cubicBezTo>
                <a:cubicBezTo>
                  <a:pt x="401" y="491"/>
                  <a:pt x="398" y="495"/>
                  <a:pt x="398" y="500"/>
                </a:cubicBezTo>
                <a:cubicBezTo>
                  <a:pt x="398" y="505"/>
                  <a:pt x="398" y="510"/>
                  <a:pt x="398" y="515"/>
                </a:cubicBezTo>
                <a:cubicBezTo>
                  <a:pt x="398" y="519"/>
                  <a:pt x="401" y="523"/>
                  <a:pt x="405" y="525"/>
                </a:cubicBezTo>
                <a:cubicBezTo>
                  <a:pt x="432" y="535"/>
                  <a:pt x="432" y="535"/>
                  <a:pt x="432" y="535"/>
                </a:cubicBezTo>
                <a:cubicBezTo>
                  <a:pt x="441" y="536"/>
                  <a:pt x="446" y="545"/>
                  <a:pt x="445" y="554"/>
                </a:cubicBezTo>
                <a:close/>
                <a:moveTo>
                  <a:pt x="356" y="230"/>
                </a:moveTo>
                <a:cubicBezTo>
                  <a:pt x="356" y="221"/>
                  <a:pt x="362" y="214"/>
                  <a:pt x="371" y="214"/>
                </a:cubicBezTo>
                <a:cubicBezTo>
                  <a:pt x="399" y="209"/>
                  <a:pt x="399" y="209"/>
                  <a:pt x="399" y="209"/>
                </a:cubicBezTo>
                <a:cubicBezTo>
                  <a:pt x="404" y="208"/>
                  <a:pt x="407" y="205"/>
                  <a:pt x="408" y="200"/>
                </a:cubicBezTo>
                <a:cubicBezTo>
                  <a:pt x="409" y="195"/>
                  <a:pt x="410" y="190"/>
                  <a:pt x="411" y="185"/>
                </a:cubicBezTo>
                <a:cubicBezTo>
                  <a:pt x="411" y="181"/>
                  <a:pt x="409" y="177"/>
                  <a:pt x="406" y="174"/>
                </a:cubicBezTo>
                <a:cubicBezTo>
                  <a:pt x="381" y="159"/>
                  <a:pt x="381" y="159"/>
                  <a:pt x="381" y="159"/>
                </a:cubicBezTo>
                <a:cubicBezTo>
                  <a:pt x="373" y="155"/>
                  <a:pt x="370" y="146"/>
                  <a:pt x="373" y="138"/>
                </a:cubicBezTo>
                <a:cubicBezTo>
                  <a:pt x="376" y="129"/>
                  <a:pt x="385" y="126"/>
                  <a:pt x="393" y="129"/>
                </a:cubicBezTo>
                <a:cubicBezTo>
                  <a:pt x="421" y="137"/>
                  <a:pt x="421" y="137"/>
                  <a:pt x="421" y="137"/>
                </a:cubicBezTo>
                <a:cubicBezTo>
                  <a:pt x="425" y="138"/>
                  <a:pt x="430" y="136"/>
                  <a:pt x="432" y="133"/>
                </a:cubicBezTo>
                <a:cubicBezTo>
                  <a:pt x="435" y="129"/>
                  <a:pt x="438" y="124"/>
                  <a:pt x="441" y="120"/>
                </a:cubicBezTo>
                <a:cubicBezTo>
                  <a:pt x="443" y="117"/>
                  <a:pt x="443" y="112"/>
                  <a:pt x="441" y="108"/>
                </a:cubicBezTo>
                <a:cubicBezTo>
                  <a:pt x="424" y="83"/>
                  <a:pt x="424" y="83"/>
                  <a:pt x="424" y="83"/>
                </a:cubicBezTo>
                <a:cubicBezTo>
                  <a:pt x="418" y="77"/>
                  <a:pt x="418" y="67"/>
                  <a:pt x="425" y="61"/>
                </a:cubicBezTo>
                <a:cubicBezTo>
                  <a:pt x="431" y="54"/>
                  <a:pt x="441" y="55"/>
                  <a:pt x="447" y="61"/>
                </a:cubicBezTo>
                <a:cubicBezTo>
                  <a:pt x="469" y="80"/>
                  <a:pt x="469" y="80"/>
                  <a:pt x="469" y="80"/>
                </a:cubicBezTo>
                <a:cubicBezTo>
                  <a:pt x="473" y="83"/>
                  <a:pt x="477" y="83"/>
                  <a:pt x="481" y="81"/>
                </a:cubicBezTo>
                <a:cubicBezTo>
                  <a:pt x="485" y="78"/>
                  <a:pt x="489" y="76"/>
                  <a:pt x="494" y="73"/>
                </a:cubicBezTo>
                <a:cubicBezTo>
                  <a:pt x="497" y="71"/>
                  <a:pt x="499" y="66"/>
                  <a:pt x="499" y="62"/>
                </a:cubicBezTo>
                <a:cubicBezTo>
                  <a:pt x="493" y="32"/>
                  <a:pt x="493" y="32"/>
                  <a:pt x="493" y="32"/>
                </a:cubicBezTo>
                <a:cubicBezTo>
                  <a:pt x="490" y="24"/>
                  <a:pt x="494" y="15"/>
                  <a:pt x="502" y="12"/>
                </a:cubicBezTo>
                <a:cubicBezTo>
                  <a:pt x="510" y="9"/>
                  <a:pt x="519" y="13"/>
                  <a:pt x="522" y="22"/>
                </a:cubicBezTo>
                <a:cubicBezTo>
                  <a:pt x="535" y="49"/>
                  <a:pt x="535" y="49"/>
                  <a:pt x="535" y="49"/>
                </a:cubicBezTo>
                <a:cubicBezTo>
                  <a:pt x="537" y="52"/>
                  <a:pt x="541" y="55"/>
                  <a:pt x="545" y="55"/>
                </a:cubicBezTo>
                <a:cubicBezTo>
                  <a:pt x="550" y="54"/>
                  <a:pt x="555" y="53"/>
                  <a:pt x="560" y="53"/>
                </a:cubicBezTo>
                <a:cubicBezTo>
                  <a:pt x="564" y="52"/>
                  <a:pt x="568" y="49"/>
                  <a:pt x="569" y="44"/>
                </a:cubicBezTo>
                <a:cubicBezTo>
                  <a:pt x="575" y="15"/>
                  <a:pt x="575" y="15"/>
                  <a:pt x="575" y="15"/>
                </a:cubicBezTo>
                <a:cubicBezTo>
                  <a:pt x="576" y="6"/>
                  <a:pt x="583" y="0"/>
                  <a:pt x="592" y="0"/>
                </a:cubicBezTo>
                <a:cubicBezTo>
                  <a:pt x="601" y="1"/>
                  <a:pt x="607" y="9"/>
                  <a:pt x="606" y="18"/>
                </a:cubicBezTo>
                <a:cubicBezTo>
                  <a:pt x="607" y="48"/>
                  <a:pt x="607" y="48"/>
                  <a:pt x="607" y="48"/>
                </a:cubicBezTo>
                <a:cubicBezTo>
                  <a:pt x="608" y="52"/>
                  <a:pt x="611" y="56"/>
                  <a:pt x="615" y="58"/>
                </a:cubicBezTo>
                <a:cubicBezTo>
                  <a:pt x="620" y="59"/>
                  <a:pt x="625" y="60"/>
                  <a:pt x="629" y="62"/>
                </a:cubicBezTo>
                <a:cubicBezTo>
                  <a:pt x="633" y="63"/>
                  <a:pt x="638" y="61"/>
                  <a:pt x="641" y="58"/>
                </a:cubicBezTo>
                <a:cubicBezTo>
                  <a:pt x="657" y="34"/>
                  <a:pt x="657" y="34"/>
                  <a:pt x="657" y="34"/>
                </a:cubicBezTo>
                <a:cubicBezTo>
                  <a:pt x="662" y="26"/>
                  <a:pt x="671" y="23"/>
                  <a:pt x="679" y="28"/>
                </a:cubicBezTo>
                <a:cubicBezTo>
                  <a:pt x="686" y="32"/>
                  <a:pt x="689" y="42"/>
                  <a:pt x="685" y="50"/>
                </a:cubicBezTo>
                <a:cubicBezTo>
                  <a:pt x="674" y="77"/>
                  <a:pt x="674" y="77"/>
                  <a:pt x="674" y="77"/>
                </a:cubicBezTo>
                <a:cubicBezTo>
                  <a:pt x="673" y="82"/>
                  <a:pt x="674" y="87"/>
                  <a:pt x="677" y="90"/>
                </a:cubicBezTo>
                <a:cubicBezTo>
                  <a:pt x="681" y="93"/>
                  <a:pt x="685" y="96"/>
                  <a:pt x="688" y="100"/>
                </a:cubicBezTo>
                <a:cubicBezTo>
                  <a:pt x="691" y="102"/>
                  <a:pt x="696" y="103"/>
                  <a:pt x="700" y="101"/>
                </a:cubicBezTo>
                <a:cubicBezTo>
                  <a:pt x="725" y="86"/>
                  <a:pt x="725" y="86"/>
                  <a:pt x="725" y="86"/>
                </a:cubicBezTo>
                <a:cubicBezTo>
                  <a:pt x="732" y="81"/>
                  <a:pt x="742" y="82"/>
                  <a:pt x="747" y="89"/>
                </a:cubicBezTo>
                <a:cubicBezTo>
                  <a:pt x="752" y="97"/>
                  <a:pt x="751" y="107"/>
                  <a:pt x="744" y="112"/>
                </a:cubicBezTo>
                <a:cubicBezTo>
                  <a:pt x="723" y="133"/>
                  <a:pt x="723" y="133"/>
                  <a:pt x="723" y="133"/>
                </a:cubicBezTo>
                <a:cubicBezTo>
                  <a:pt x="721" y="136"/>
                  <a:pt x="720" y="141"/>
                  <a:pt x="721" y="145"/>
                </a:cubicBezTo>
                <a:cubicBezTo>
                  <a:pt x="724" y="150"/>
                  <a:pt x="726" y="155"/>
                  <a:pt x="728" y="159"/>
                </a:cubicBezTo>
                <a:cubicBezTo>
                  <a:pt x="730" y="163"/>
                  <a:pt x="734" y="165"/>
                  <a:pt x="738" y="166"/>
                </a:cubicBezTo>
                <a:cubicBezTo>
                  <a:pt x="767" y="163"/>
                  <a:pt x="767" y="163"/>
                  <a:pt x="767" y="163"/>
                </a:cubicBezTo>
                <a:cubicBezTo>
                  <a:pt x="775" y="161"/>
                  <a:pt x="783" y="166"/>
                  <a:pt x="785" y="175"/>
                </a:cubicBezTo>
                <a:cubicBezTo>
                  <a:pt x="787" y="183"/>
                  <a:pt x="782" y="192"/>
                  <a:pt x="774" y="194"/>
                </a:cubicBezTo>
                <a:cubicBezTo>
                  <a:pt x="747" y="204"/>
                  <a:pt x="747" y="204"/>
                  <a:pt x="747" y="204"/>
                </a:cubicBezTo>
                <a:cubicBezTo>
                  <a:pt x="743" y="206"/>
                  <a:pt x="740" y="210"/>
                  <a:pt x="740" y="215"/>
                </a:cubicBezTo>
                <a:cubicBezTo>
                  <a:pt x="740" y="220"/>
                  <a:pt x="740" y="225"/>
                  <a:pt x="740" y="230"/>
                </a:cubicBezTo>
                <a:cubicBezTo>
                  <a:pt x="741" y="235"/>
                  <a:pt x="743" y="239"/>
                  <a:pt x="747" y="241"/>
                </a:cubicBezTo>
                <a:cubicBezTo>
                  <a:pt x="775" y="250"/>
                  <a:pt x="775" y="250"/>
                  <a:pt x="775" y="250"/>
                </a:cubicBezTo>
                <a:cubicBezTo>
                  <a:pt x="783" y="252"/>
                  <a:pt x="789" y="260"/>
                  <a:pt x="787" y="269"/>
                </a:cubicBezTo>
                <a:cubicBezTo>
                  <a:pt x="785" y="278"/>
                  <a:pt x="777" y="283"/>
                  <a:pt x="769" y="282"/>
                </a:cubicBezTo>
                <a:cubicBezTo>
                  <a:pt x="740" y="280"/>
                  <a:pt x="740" y="280"/>
                  <a:pt x="740" y="280"/>
                </a:cubicBezTo>
                <a:cubicBezTo>
                  <a:pt x="736" y="280"/>
                  <a:pt x="732" y="283"/>
                  <a:pt x="730" y="286"/>
                </a:cubicBezTo>
                <a:cubicBezTo>
                  <a:pt x="728" y="291"/>
                  <a:pt x="726" y="296"/>
                  <a:pt x="724" y="301"/>
                </a:cubicBezTo>
                <a:cubicBezTo>
                  <a:pt x="723" y="305"/>
                  <a:pt x="724" y="310"/>
                  <a:pt x="727" y="313"/>
                </a:cubicBezTo>
                <a:cubicBezTo>
                  <a:pt x="748" y="333"/>
                  <a:pt x="748" y="333"/>
                  <a:pt x="748" y="333"/>
                </a:cubicBezTo>
                <a:cubicBezTo>
                  <a:pt x="755" y="338"/>
                  <a:pt x="757" y="348"/>
                  <a:pt x="752" y="355"/>
                </a:cubicBezTo>
                <a:cubicBezTo>
                  <a:pt x="747" y="363"/>
                  <a:pt x="737" y="365"/>
                  <a:pt x="730" y="360"/>
                </a:cubicBezTo>
                <a:cubicBezTo>
                  <a:pt x="705" y="345"/>
                  <a:pt x="705" y="345"/>
                  <a:pt x="705" y="345"/>
                </a:cubicBezTo>
                <a:cubicBezTo>
                  <a:pt x="701" y="344"/>
                  <a:pt x="696" y="345"/>
                  <a:pt x="693" y="347"/>
                </a:cubicBezTo>
                <a:cubicBezTo>
                  <a:pt x="689" y="351"/>
                  <a:pt x="686" y="354"/>
                  <a:pt x="682" y="358"/>
                </a:cubicBezTo>
                <a:cubicBezTo>
                  <a:pt x="679" y="361"/>
                  <a:pt x="678" y="366"/>
                  <a:pt x="679" y="370"/>
                </a:cubicBezTo>
                <a:cubicBezTo>
                  <a:pt x="691" y="398"/>
                  <a:pt x="691" y="398"/>
                  <a:pt x="691" y="398"/>
                </a:cubicBezTo>
                <a:cubicBezTo>
                  <a:pt x="695" y="405"/>
                  <a:pt x="693" y="415"/>
                  <a:pt x="686" y="420"/>
                </a:cubicBezTo>
                <a:cubicBezTo>
                  <a:pt x="678" y="424"/>
                  <a:pt x="669" y="422"/>
                  <a:pt x="664" y="414"/>
                </a:cubicBezTo>
                <a:cubicBezTo>
                  <a:pt x="647" y="391"/>
                  <a:pt x="647" y="391"/>
                  <a:pt x="647" y="391"/>
                </a:cubicBezTo>
                <a:cubicBezTo>
                  <a:pt x="643" y="388"/>
                  <a:pt x="639" y="386"/>
                  <a:pt x="635" y="387"/>
                </a:cubicBezTo>
                <a:cubicBezTo>
                  <a:pt x="630" y="389"/>
                  <a:pt x="626" y="391"/>
                  <a:pt x="621" y="392"/>
                </a:cubicBezTo>
                <a:cubicBezTo>
                  <a:pt x="617" y="394"/>
                  <a:pt x="614" y="398"/>
                  <a:pt x="614" y="403"/>
                </a:cubicBezTo>
                <a:cubicBezTo>
                  <a:pt x="614" y="433"/>
                  <a:pt x="614" y="433"/>
                  <a:pt x="614" y="433"/>
                </a:cubicBezTo>
                <a:cubicBezTo>
                  <a:pt x="615" y="441"/>
                  <a:pt x="609" y="449"/>
                  <a:pt x="600" y="451"/>
                </a:cubicBezTo>
                <a:cubicBezTo>
                  <a:pt x="592" y="452"/>
                  <a:pt x="584" y="445"/>
                  <a:pt x="583" y="437"/>
                </a:cubicBezTo>
                <a:cubicBezTo>
                  <a:pt x="576" y="408"/>
                  <a:pt x="576" y="408"/>
                  <a:pt x="576" y="408"/>
                </a:cubicBezTo>
                <a:cubicBezTo>
                  <a:pt x="574" y="403"/>
                  <a:pt x="570" y="400"/>
                  <a:pt x="566" y="399"/>
                </a:cubicBezTo>
                <a:cubicBezTo>
                  <a:pt x="564" y="399"/>
                  <a:pt x="561" y="399"/>
                  <a:pt x="559" y="399"/>
                </a:cubicBezTo>
                <a:cubicBezTo>
                  <a:pt x="557" y="399"/>
                  <a:pt x="554" y="398"/>
                  <a:pt x="552" y="398"/>
                </a:cubicBezTo>
                <a:cubicBezTo>
                  <a:pt x="548" y="398"/>
                  <a:pt x="543" y="401"/>
                  <a:pt x="541" y="404"/>
                </a:cubicBezTo>
                <a:cubicBezTo>
                  <a:pt x="529" y="432"/>
                  <a:pt x="529" y="432"/>
                  <a:pt x="529" y="432"/>
                </a:cubicBezTo>
                <a:cubicBezTo>
                  <a:pt x="527" y="440"/>
                  <a:pt x="518" y="445"/>
                  <a:pt x="510" y="443"/>
                </a:cubicBezTo>
                <a:cubicBezTo>
                  <a:pt x="502" y="440"/>
                  <a:pt x="497" y="431"/>
                  <a:pt x="500" y="422"/>
                </a:cubicBezTo>
                <a:cubicBezTo>
                  <a:pt x="505" y="393"/>
                  <a:pt x="505" y="393"/>
                  <a:pt x="505" y="393"/>
                </a:cubicBezTo>
                <a:cubicBezTo>
                  <a:pt x="505" y="388"/>
                  <a:pt x="503" y="384"/>
                  <a:pt x="499" y="382"/>
                </a:cubicBezTo>
                <a:cubicBezTo>
                  <a:pt x="495" y="379"/>
                  <a:pt x="490" y="377"/>
                  <a:pt x="486" y="374"/>
                </a:cubicBezTo>
                <a:cubicBezTo>
                  <a:pt x="482" y="372"/>
                  <a:pt x="478" y="373"/>
                  <a:pt x="474" y="375"/>
                </a:cubicBezTo>
                <a:cubicBezTo>
                  <a:pt x="453" y="395"/>
                  <a:pt x="453" y="395"/>
                  <a:pt x="453" y="395"/>
                </a:cubicBezTo>
                <a:cubicBezTo>
                  <a:pt x="447" y="402"/>
                  <a:pt x="437" y="403"/>
                  <a:pt x="431" y="397"/>
                </a:cubicBezTo>
                <a:cubicBezTo>
                  <a:pt x="424" y="391"/>
                  <a:pt x="424" y="381"/>
                  <a:pt x="429" y="374"/>
                </a:cubicBezTo>
                <a:cubicBezTo>
                  <a:pt x="445" y="349"/>
                  <a:pt x="445" y="349"/>
                  <a:pt x="445" y="349"/>
                </a:cubicBezTo>
                <a:cubicBezTo>
                  <a:pt x="447" y="345"/>
                  <a:pt x="447" y="340"/>
                  <a:pt x="445" y="337"/>
                </a:cubicBezTo>
                <a:cubicBezTo>
                  <a:pt x="442" y="333"/>
                  <a:pt x="439" y="329"/>
                  <a:pt x="436" y="324"/>
                </a:cubicBezTo>
                <a:cubicBezTo>
                  <a:pt x="433" y="321"/>
                  <a:pt x="428" y="320"/>
                  <a:pt x="424" y="320"/>
                </a:cubicBezTo>
                <a:cubicBezTo>
                  <a:pt x="397" y="330"/>
                  <a:pt x="397" y="330"/>
                  <a:pt x="397" y="330"/>
                </a:cubicBezTo>
                <a:cubicBezTo>
                  <a:pt x="389" y="333"/>
                  <a:pt x="380" y="330"/>
                  <a:pt x="376" y="322"/>
                </a:cubicBezTo>
                <a:cubicBezTo>
                  <a:pt x="373" y="314"/>
                  <a:pt x="376" y="304"/>
                  <a:pt x="384" y="300"/>
                </a:cubicBezTo>
                <a:cubicBezTo>
                  <a:pt x="408" y="284"/>
                  <a:pt x="408" y="284"/>
                  <a:pt x="408" y="284"/>
                </a:cubicBezTo>
                <a:cubicBezTo>
                  <a:pt x="411" y="282"/>
                  <a:pt x="413" y="277"/>
                  <a:pt x="412" y="273"/>
                </a:cubicBezTo>
                <a:cubicBezTo>
                  <a:pt x="411" y="268"/>
                  <a:pt x="410" y="263"/>
                  <a:pt x="409" y="258"/>
                </a:cubicBezTo>
                <a:cubicBezTo>
                  <a:pt x="408" y="254"/>
                  <a:pt x="404" y="250"/>
                  <a:pt x="400" y="249"/>
                </a:cubicBezTo>
                <a:cubicBezTo>
                  <a:pt x="372" y="246"/>
                  <a:pt x="372" y="246"/>
                  <a:pt x="372" y="246"/>
                </a:cubicBezTo>
                <a:cubicBezTo>
                  <a:pt x="363" y="246"/>
                  <a:pt x="356" y="239"/>
                  <a:pt x="356" y="230"/>
                </a:cubicBezTo>
                <a:close/>
                <a:moveTo>
                  <a:pt x="830" y="724"/>
                </a:moveTo>
                <a:cubicBezTo>
                  <a:pt x="828" y="733"/>
                  <a:pt x="820" y="739"/>
                  <a:pt x="812" y="737"/>
                </a:cubicBezTo>
                <a:cubicBezTo>
                  <a:pt x="783" y="735"/>
                  <a:pt x="783" y="735"/>
                  <a:pt x="783" y="735"/>
                </a:cubicBezTo>
                <a:cubicBezTo>
                  <a:pt x="779" y="735"/>
                  <a:pt x="775" y="738"/>
                  <a:pt x="773" y="742"/>
                </a:cubicBezTo>
                <a:cubicBezTo>
                  <a:pt x="771" y="747"/>
                  <a:pt x="769" y="752"/>
                  <a:pt x="767" y="756"/>
                </a:cubicBezTo>
                <a:cubicBezTo>
                  <a:pt x="766" y="760"/>
                  <a:pt x="767" y="765"/>
                  <a:pt x="770" y="768"/>
                </a:cubicBezTo>
                <a:cubicBezTo>
                  <a:pt x="791" y="788"/>
                  <a:pt x="791" y="788"/>
                  <a:pt x="791" y="788"/>
                </a:cubicBezTo>
                <a:cubicBezTo>
                  <a:pt x="798" y="794"/>
                  <a:pt x="800" y="804"/>
                  <a:pt x="795" y="811"/>
                </a:cubicBezTo>
                <a:cubicBezTo>
                  <a:pt x="790" y="818"/>
                  <a:pt x="780" y="820"/>
                  <a:pt x="773" y="815"/>
                </a:cubicBezTo>
                <a:cubicBezTo>
                  <a:pt x="748" y="801"/>
                  <a:pt x="748" y="801"/>
                  <a:pt x="748" y="801"/>
                </a:cubicBezTo>
                <a:cubicBezTo>
                  <a:pt x="744" y="800"/>
                  <a:pt x="739" y="800"/>
                  <a:pt x="736" y="803"/>
                </a:cubicBezTo>
                <a:cubicBezTo>
                  <a:pt x="732" y="807"/>
                  <a:pt x="729" y="810"/>
                  <a:pt x="725" y="813"/>
                </a:cubicBezTo>
                <a:cubicBezTo>
                  <a:pt x="722" y="817"/>
                  <a:pt x="721" y="821"/>
                  <a:pt x="722" y="826"/>
                </a:cubicBezTo>
                <a:cubicBezTo>
                  <a:pt x="734" y="853"/>
                  <a:pt x="734" y="853"/>
                  <a:pt x="734" y="853"/>
                </a:cubicBezTo>
                <a:cubicBezTo>
                  <a:pt x="738" y="861"/>
                  <a:pt x="736" y="871"/>
                  <a:pt x="729" y="875"/>
                </a:cubicBezTo>
                <a:cubicBezTo>
                  <a:pt x="721" y="880"/>
                  <a:pt x="712" y="877"/>
                  <a:pt x="707" y="870"/>
                </a:cubicBezTo>
                <a:cubicBezTo>
                  <a:pt x="689" y="846"/>
                  <a:pt x="689" y="846"/>
                  <a:pt x="689" y="846"/>
                </a:cubicBezTo>
                <a:cubicBezTo>
                  <a:pt x="686" y="843"/>
                  <a:pt x="682" y="842"/>
                  <a:pt x="678" y="843"/>
                </a:cubicBezTo>
                <a:cubicBezTo>
                  <a:pt x="673" y="845"/>
                  <a:pt x="669" y="846"/>
                  <a:pt x="664" y="848"/>
                </a:cubicBezTo>
                <a:cubicBezTo>
                  <a:pt x="660" y="850"/>
                  <a:pt x="657" y="854"/>
                  <a:pt x="657" y="858"/>
                </a:cubicBezTo>
                <a:cubicBezTo>
                  <a:pt x="657" y="888"/>
                  <a:pt x="657" y="888"/>
                  <a:pt x="657" y="888"/>
                </a:cubicBezTo>
                <a:cubicBezTo>
                  <a:pt x="658" y="897"/>
                  <a:pt x="652" y="905"/>
                  <a:pt x="643" y="906"/>
                </a:cubicBezTo>
                <a:cubicBezTo>
                  <a:pt x="635" y="907"/>
                  <a:pt x="627" y="901"/>
                  <a:pt x="626" y="892"/>
                </a:cubicBezTo>
                <a:cubicBezTo>
                  <a:pt x="619" y="863"/>
                  <a:pt x="619" y="863"/>
                  <a:pt x="619" y="863"/>
                </a:cubicBezTo>
                <a:cubicBezTo>
                  <a:pt x="617" y="859"/>
                  <a:pt x="613" y="856"/>
                  <a:pt x="609" y="855"/>
                </a:cubicBezTo>
                <a:cubicBezTo>
                  <a:pt x="607" y="855"/>
                  <a:pt x="604" y="855"/>
                  <a:pt x="602" y="854"/>
                </a:cubicBezTo>
                <a:cubicBezTo>
                  <a:pt x="599" y="854"/>
                  <a:pt x="597" y="854"/>
                  <a:pt x="595" y="854"/>
                </a:cubicBezTo>
                <a:cubicBezTo>
                  <a:pt x="590" y="854"/>
                  <a:pt x="586" y="856"/>
                  <a:pt x="584" y="860"/>
                </a:cubicBezTo>
                <a:cubicBezTo>
                  <a:pt x="572" y="887"/>
                  <a:pt x="572" y="887"/>
                  <a:pt x="572" y="887"/>
                </a:cubicBezTo>
                <a:cubicBezTo>
                  <a:pt x="570" y="896"/>
                  <a:pt x="561" y="901"/>
                  <a:pt x="553" y="898"/>
                </a:cubicBezTo>
                <a:cubicBezTo>
                  <a:pt x="545" y="895"/>
                  <a:pt x="540" y="886"/>
                  <a:pt x="543" y="878"/>
                </a:cubicBezTo>
                <a:cubicBezTo>
                  <a:pt x="548" y="848"/>
                  <a:pt x="548" y="848"/>
                  <a:pt x="548" y="848"/>
                </a:cubicBezTo>
                <a:cubicBezTo>
                  <a:pt x="548" y="844"/>
                  <a:pt x="546" y="839"/>
                  <a:pt x="542" y="837"/>
                </a:cubicBezTo>
                <a:cubicBezTo>
                  <a:pt x="538" y="835"/>
                  <a:pt x="533" y="832"/>
                  <a:pt x="529" y="830"/>
                </a:cubicBezTo>
                <a:cubicBezTo>
                  <a:pt x="525" y="828"/>
                  <a:pt x="521" y="828"/>
                  <a:pt x="517" y="831"/>
                </a:cubicBezTo>
                <a:cubicBezTo>
                  <a:pt x="496" y="851"/>
                  <a:pt x="496" y="851"/>
                  <a:pt x="496" y="851"/>
                </a:cubicBezTo>
                <a:cubicBezTo>
                  <a:pt x="490" y="858"/>
                  <a:pt x="480" y="858"/>
                  <a:pt x="474" y="852"/>
                </a:cubicBezTo>
                <a:cubicBezTo>
                  <a:pt x="467" y="847"/>
                  <a:pt x="467" y="836"/>
                  <a:pt x="472" y="830"/>
                </a:cubicBezTo>
                <a:cubicBezTo>
                  <a:pt x="488" y="805"/>
                  <a:pt x="488" y="805"/>
                  <a:pt x="488" y="805"/>
                </a:cubicBezTo>
                <a:cubicBezTo>
                  <a:pt x="490" y="801"/>
                  <a:pt x="490" y="796"/>
                  <a:pt x="488" y="792"/>
                </a:cubicBezTo>
                <a:cubicBezTo>
                  <a:pt x="484" y="788"/>
                  <a:pt x="481" y="784"/>
                  <a:pt x="479" y="780"/>
                </a:cubicBezTo>
                <a:cubicBezTo>
                  <a:pt x="476" y="777"/>
                  <a:pt x="471" y="775"/>
                  <a:pt x="467" y="776"/>
                </a:cubicBezTo>
                <a:cubicBezTo>
                  <a:pt x="440" y="785"/>
                  <a:pt x="440" y="785"/>
                  <a:pt x="440" y="785"/>
                </a:cubicBezTo>
                <a:cubicBezTo>
                  <a:pt x="432" y="789"/>
                  <a:pt x="423" y="785"/>
                  <a:pt x="419" y="777"/>
                </a:cubicBezTo>
                <a:cubicBezTo>
                  <a:pt x="416" y="769"/>
                  <a:pt x="419" y="760"/>
                  <a:pt x="427" y="756"/>
                </a:cubicBezTo>
                <a:cubicBezTo>
                  <a:pt x="451" y="740"/>
                  <a:pt x="451" y="740"/>
                  <a:pt x="451" y="740"/>
                </a:cubicBezTo>
                <a:cubicBezTo>
                  <a:pt x="454" y="737"/>
                  <a:pt x="456" y="732"/>
                  <a:pt x="455" y="728"/>
                </a:cubicBezTo>
                <a:cubicBezTo>
                  <a:pt x="454" y="723"/>
                  <a:pt x="453" y="718"/>
                  <a:pt x="452" y="713"/>
                </a:cubicBezTo>
                <a:cubicBezTo>
                  <a:pt x="451" y="709"/>
                  <a:pt x="447" y="706"/>
                  <a:pt x="443" y="705"/>
                </a:cubicBezTo>
                <a:cubicBezTo>
                  <a:pt x="415" y="702"/>
                  <a:pt x="415" y="702"/>
                  <a:pt x="415" y="702"/>
                </a:cubicBezTo>
                <a:cubicBezTo>
                  <a:pt x="406" y="702"/>
                  <a:pt x="399" y="695"/>
                  <a:pt x="399" y="686"/>
                </a:cubicBezTo>
                <a:cubicBezTo>
                  <a:pt x="399" y="677"/>
                  <a:pt x="405" y="669"/>
                  <a:pt x="414" y="669"/>
                </a:cubicBezTo>
                <a:cubicBezTo>
                  <a:pt x="442" y="665"/>
                  <a:pt x="442" y="665"/>
                  <a:pt x="442" y="665"/>
                </a:cubicBezTo>
                <a:cubicBezTo>
                  <a:pt x="447" y="664"/>
                  <a:pt x="450" y="660"/>
                  <a:pt x="451" y="656"/>
                </a:cubicBezTo>
                <a:cubicBezTo>
                  <a:pt x="452" y="651"/>
                  <a:pt x="453" y="646"/>
                  <a:pt x="454" y="641"/>
                </a:cubicBezTo>
                <a:cubicBezTo>
                  <a:pt x="454" y="637"/>
                  <a:pt x="452" y="632"/>
                  <a:pt x="449" y="629"/>
                </a:cubicBezTo>
                <a:cubicBezTo>
                  <a:pt x="424" y="614"/>
                  <a:pt x="424" y="614"/>
                  <a:pt x="424" y="614"/>
                </a:cubicBezTo>
                <a:cubicBezTo>
                  <a:pt x="416" y="611"/>
                  <a:pt x="412" y="601"/>
                  <a:pt x="416" y="593"/>
                </a:cubicBezTo>
                <a:cubicBezTo>
                  <a:pt x="419" y="585"/>
                  <a:pt x="428" y="581"/>
                  <a:pt x="436" y="585"/>
                </a:cubicBezTo>
                <a:cubicBezTo>
                  <a:pt x="464" y="593"/>
                  <a:pt x="464" y="593"/>
                  <a:pt x="464" y="593"/>
                </a:cubicBezTo>
                <a:cubicBezTo>
                  <a:pt x="468" y="593"/>
                  <a:pt x="473" y="592"/>
                  <a:pt x="475" y="588"/>
                </a:cubicBezTo>
                <a:cubicBezTo>
                  <a:pt x="478" y="584"/>
                  <a:pt x="481" y="580"/>
                  <a:pt x="484" y="576"/>
                </a:cubicBezTo>
                <a:cubicBezTo>
                  <a:pt x="486" y="572"/>
                  <a:pt x="486" y="567"/>
                  <a:pt x="484" y="563"/>
                </a:cubicBezTo>
                <a:cubicBezTo>
                  <a:pt x="467" y="539"/>
                  <a:pt x="467" y="539"/>
                  <a:pt x="467" y="539"/>
                </a:cubicBezTo>
                <a:cubicBezTo>
                  <a:pt x="461" y="532"/>
                  <a:pt x="461" y="522"/>
                  <a:pt x="468" y="516"/>
                </a:cubicBezTo>
                <a:cubicBezTo>
                  <a:pt x="474" y="510"/>
                  <a:pt x="484" y="510"/>
                  <a:pt x="490" y="517"/>
                </a:cubicBezTo>
                <a:cubicBezTo>
                  <a:pt x="512" y="536"/>
                  <a:pt x="512" y="536"/>
                  <a:pt x="512" y="536"/>
                </a:cubicBezTo>
                <a:cubicBezTo>
                  <a:pt x="515" y="538"/>
                  <a:pt x="520" y="539"/>
                  <a:pt x="524" y="537"/>
                </a:cubicBezTo>
                <a:cubicBezTo>
                  <a:pt x="528" y="534"/>
                  <a:pt x="532" y="531"/>
                  <a:pt x="536" y="529"/>
                </a:cubicBezTo>
                <a:cubicBezTo>
                  <a:pt x="540" y="526"/>
                  <a:pt x="542" y="522"/>
                  <a:pt x="541" y="517"/>
                </a:cubicBezTo>
                <a:cubicBezTo>
                  <a:pt x="536" y="488"/>
                  <a:pt x="536" y="488"/>
                  <a:pt x="536" y="488"/>
                </a:cubicBezTo>
                <a:cubicBezTo>
                  <a:pt x="533" y="480"/>
                  <a:pt x="537" y="470"/>
                  <a:pt x="545" y="467"/>
                </a:cubicBezTo>
                <a:cubicBezTo>
                  <a:pt x="553" y="464"/>
                  <a:pt x="562" y="469"/>
                  <a:pt x="565" y="477"/>
                </a:cubicBezTo>
                <a:cubicBezTo>
                  <a:pt x="577" y="504"/>
                  <a:pt x="577" y="504"/>
                  <a:pt x="577" y="504"/>
                </a:cubicBezTo>
                <a:cubicBezTo>
                  <a:pt x="580" y="508"/>
                  <a:pt x="584" y="510"/>
                  <a:pt x="588" y="510"/>
                </a:cubicBezTo>
                <a:cubicBezTo>
                  <a:pt x="593" y="509"/>
                  <a:pt x="598" y="509"/>
                  <a:pt x="603" y="508"/>
                </a:cubicBezTo>
                <a:cubicBezTo>
                  <a:pt x="607" y="507"/>
                  <a:pt x="611" y="504"/>
                  <a:pt x="612" y="500"/>
                </a:cubicBezTo>
                <a:cubicBezTo>
                  <a:pt x="618" y="471"/>
                  <a:pt x="618" y="471"/>
                  <a:pt x="618" y="471"/>
                </a:cubicBezTo>
                <a:cubicBezTo>
                  <a:pt x="619" y="462"/>
                  <a:pt x="626" y="455"/>
                  <a:pt x="635" y="456"/>
                </a:cubicBezTo>
                <a:cubicBezTo>
                  <a:pt x="643" y="457"/>
                  <a:pt x="650" y="464"/>
                  <a:pt x="649" y="473"/>
                </a:cubicBezTo>
                <a:cubicBezTo>
                  <a:pt x="650" y="503"/>
                  <a:pt x="650" y="503"/>
                  <a:pt x="650" y="503"/>
                </a:cubicBezTo>
                <a:cubicBezTo>
                  <a:pt x="651" y="508"/>
                  <a:pt x="654" y="512"/>
                  <a:pt x="658" y="513"/>
                </a:cubicBezTo>
                <a:cubicBezTo>
                  <a:pt x="663" y="514"/>
                  <a:pt x="667" y="516"/>
                  <a:pt x="672" y="518"/>
                </a:cubicBezTo>
                <a:cubicBezTo>
                  <a:pt x="676" y="518"/>
                  <a:pt x="681" y="517"/>
                  <a:pt x="683" y="514"/>
                </a:cubicBezTo>
                <a:cubicBezTo>
                  <a:pt x="700" y="490"/>
                  <a:pt x="700" y="490"/>
                  <a:pt x="700" y="490"/>
                </a:cubicBezTo>
                <a:cubicBezTo>
                  <a:pt x="705" y="482"/>
                  <a:pt x="714" y="479"/>
                  <a:pt x="722" y="483"/>
                </a:cubicBezTo>
                <a:cubicBezTo>
                  <a:pt x="729" y="488"/>
                  <a:pt x="732" y="497"/>
                  <a:pt x="728" y="505"/>
                </a:cubicBezTo>
                <a:cubicBezTo>
                  <a:pt x="717" y="533"/>
                  <a:pt x="717" y="533"/>
                  <a:pt x="717" y="533"/>
                </a:cubicBezTo>
                <a:cubicBezTo>
                  <a:pt x="716" y="537"/>
                  <a:pt x="717" y="542"/>
                  <a:pt x="720" y="545"/>
                </a:cubicBezTo>
                <a:cubicBezTo>
                  <a:pt x="724" y="548"/>
                  <a:pt x="727" y="552"/>
                  <a:pt x="731" y="555"/>
                </a:cubicBezTo>
                <a:cubicBezTo>
                  <a:pt x="734" y="558"/>
                  <a:pt x="739" y="558"/>
                  <a:pt x="743" y="557"/>
                </a:cubicBezTo>
                <a:cubicBezTo>
                  <a:pt x="768" y="542"/>
                  <a:pt x="768" y="542"/>
                  <a:pt x="768" y="542"/>
                </a:cubicBezTo>
                <a:cubicBezTo>
                  <a:pt x="775" y="536"/>
                  <a:pt x="785" y="538"/>
                  <a:pt x="790" y="545"/>
                </a:cubicBezTo>
                <a:cubicBezTo>
                  <a:pt x="795" y="552"/>
                  <a:pt x="794" y="562"/>
                  <a:pt x="787" y="568"/>
                </a:cubicBezTo>
                <a:cubicBezTo>
                  <a:pt x="766" y="588"/>
                  <a:pt x="766" y="588"/>
                  <a:pt x="766" y="588"/>
                </a:cubicBezTo>
                <a:cubicBezTo>
                  <a:pt x="764" y="592"/>
                  <a:pt x="763" y="597"/>
                  <a:pt x="764" y="601"/>
                </a:cubicBezTo>
                <a:cubicBezTo>
                  <a:pt x="767" y="605"/>
                  <a:pt x="769" y="610"/>
                  <a:pt x="770" y="615"/>
                </a:cubicBezTo>
                <a:cubicBezTo>
                  <a:pt x="772" y="618"/>
                  <a:pt x="777" y="621"/>
                  <a:pt x="781" y="621"/>
                </a:cubicBezTo>
                <a:cubicBezTo>
                  <a:pt x="810" y="618"/>
                  <a:pt x="810" y="618"/>
                  <a:pt x="810" y="618"/>
                </a:cubicBezTo>
                <a:cubicBezTo>
                  <a:pt x="818" y="616"/>
                  <a:pt x="826" y="621"/>
                  <a:pt x="828" y="630"/>
                </a:cubicBezTo>
                <a:cubicBezTo>
                  <a:pt x="830" y="639"/>
                  <a:pt x="825" y="648"/>
                  <a:pt x="817" y="650"/>
                </a:cubicBezTo>
                <a:cubicBezTo>
                  <a:pt x="790" y="660"/>
                  <a:pt x="790" y="660"/>
                  <a:pt x="790" y="660"/>
                </a:cubicBezTo>
                <a:cubicBezTo>
                  <a:pt x="786" y="662"/>
                  <a:pt x="783" y="666"/>
                  <a:pt x="783" y="670"/>
                </a:cubicBezTo>
                <a:cubicBezTo>
                  <a:pt x="783" y="675"/>
                  <a:pt x="783" y="681"/>
                  <a:pt x="783" y="686"/>
                </a:cubicBezTo>
                <a:cubicBezTo>
                  <a:pt x="784" y="690"/>
                  <a:pt x="786" y="694"/>
                  <a:pt x="790" y="696"/>
                </a:cubicBezTo>
                <a:cubicBezTo>
                  <a:pt x="818" y="705"/>
                  <a:pt x="818" y="705"/>
                  <a:pt x="818" y="705"/>
                </a:cubicBezTo>
                <a:cubicBezTo>
                  <a:pt x="826" y="707"/>
                  <a:pt x="832" y="716"/>
                  <a:pt x="830" y="724"/>
                </a:cubicBezTo>
                <a:close/>
                <a:moveTo>
                  <a:pt x="575" y="151"/>
                </a:moveTo>
                <a:cubicBezTo>
                  <a:pt x="534" y="151"/>
                  <a:pt x="501" y="184"/>
                  <a:pt x="501" y="224"/>
                </a:cubicBezTo>
                <a:cubicBezTo>
                  <a:pt x="501" y="265"/>
                  <a:pt x="534" y="298"/>
                  <a:pt x="575" y="298"/>
                </a:cubicBezTo>
                <a:cubicBezTo>
                  <a:pt x="615" y="298"/>
                  <a:pt x="649" y="265"/>
                  <a:pt x="649" y="224"/>
                </a:cubicBezTo>
                <a:cubicBezTo>
                  <a:pt x="649" y="184"/>
                  <a:pt x="615" y="151"/>
                  <a:pt x="575" y="151"/>
                </a:cubicBezTo>
                <a:close/>
                <a:moveTo>
                  <a:pt x="232" y="435"/>
                </a:moveTo>
                <a:cubicBezTo>
                  <a:pt x="192" y="435"/>
                  <a:pt x="158" y="468"/>
                  <a:pt x="158" y="509"/>
                </a:cubicBezTo>
                <a:cubicBezTo>
                  <a:pt x="158" y="550"/>
                  <a:pt x="192" y="583"/>
                  <a:pt x="232" y="583"/>
                </a:cubicBezTo>
                <a:cubicBezTo>
                  <a:pt x="273" y="583"/>
                  <a:pt x="306" y="550"/>
                  <a:pt x="306" y="509"/>
                </a:cubicBezTo>
                <a:cubicBezTo>
                  <a:pt x="306" y="468"/>
                  <a:pt x="273" y="435"/>
                  <a:pt x="232" y="435"/>
                </a:cubicBezTo>
                <a:close/>
                <a:moveTo>
                  <a:pt x="614" y="609"/>
                </a:moveTo>
                <a:cubicBezTo>
                  <a:pt x="573" y="609"/>
                  <a:pt x="540" y="642"/>
                  <a:pt x="540" y="683"/>
                </a:cubicBezTo>
                <a:cubicBezTo>
                  <a:pt x="540" y="723"/>
                  <a:pt x="573" y="757"/>
                  <a:pt x="614" y="757"/>
                </a:cubicBezTo>
                <a:cubicBezTo>
                  <a:pt x="655" y="757"/>
                  <a:pt x="688" y="723"/>
                  <a:pt x="688" y="683"/>
                </a:cubicBezTo>
                <a:cubicBezTo>
                  <a:pt x="688" y="642"/>
                  <a:pt x="655" y="609"/>
                  <a:pt x="614" y="609"/>
                </a:cubicBezTo>
                <a:close/>
                <a:moveTo>
                  <a:pt x="141" y="323"/>
                </a:moveTo>
                <a:cubicBezTo>
                  <a:pt x="126" y="323"/>
                  <a:pt x="113" y="336"/>
                  <a:pt x="113" y="351"/>
                </a:cubicBezTo>
                <a:cubicBezTo>
                  <a:pt x="113" y="366"/>
                  <a:pt x="126" y="378"/>
                  <a:pt x="141" y="378"/>
                </a:cubicBezTo>
                <a:cubicBezTo>
                  <a:pt x="156" y="378"/>
                  <a:pt x="168" y="366"/>
                  <a:pt x="168" y="351"/>
                </a:cubicBezTo>
                <a:cubicBezTo>
                  <a:pt x="168" y="336"/>
                  <a:pt x="156" y="323"/>
                  <a:pt x="141" y="323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12" tIns="0" rIns="0" bIns="0" anchor="t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06" name="ZoneTexte 505"/>
          <p:cNvSpPr txBox="1"/>
          <p:nvPr/>
        </p:nvSpPr>
        <p:spPr>
          <a:xfrm>
            <a:off x="4827956" y="1870291"/>
            <a:ext cx="877523" cy="277000"/>
          </a:xfrm>
          <a:prstGeom prst="rect">
            <a:avLst/>
          </a:prstGeom>
          <a:noFill/>
        </p:spPr>
        <p:txBody>
          <a:bodyPr wrap="square" lIns="91412" tIns="45705" rIns="91412" bIns="45705" rtlCol="0">
            <a:spAutoFit/>
          </a:bodyPr>
          <a:lstStyle/>
          <a:p>
            <a:pPr algn="r"/>
            <a:r>
              <a:rPr lang="fr-FR" sz="1200" b="1" dirty="0">
                <a:solidFill>
                  <a:schemeClr val="bg1"/>
                </a:solidFill>
                <a:latin typeface="Trebuchet MS" pitchFamily="34" charset="0"/>
              </a:rPr>
              <a:t>IN APPS</a:t>
            </a:r>
            <a:endParaRPr lang="en-US" sz="12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07" name="ZoneTexte 506"/>
          <p:cNvSpPr txBox="1"/>
          <p:nvPr/>
        </p:nvSpPr>
        <p:spPr>
          <a:xfrm>
            <a:off x="3294210" y="1042736"/>
            <a:ext cx="1112809" cy="459841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txBody>
          <a:bodyPr wrap="square" lIns="91406" tIns="71976" rIns="91406" bIns="45702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fr-FR" sz="1100" b="1" dirty="0">
                <a:solidFill>
                  <a:schemeClr val="bg1"/>
                </a:solidFill>
                <a:latin typeface="Trebuchet MS" pitchFamily="34" charset="0"/>
              </a:rPr>
              <a:t>CONTEXTUAL</a:t>
            </a:r>
          </a:p>
          <a:p>
            <a:pPr algn="ctr">
              <a:lnSpc>
                <a:spcPts val="1000"/>
              </a:lnSpc>
            </a:pPr>
            <a:r>
              <a:rPr lang="fr-FR" sz="1100" b="1" dirty="0">
                <a:solidFill>
                  <a:schemeClr val="bg1"/>
                </a:solidFill>
                <a:latin typeface="Trebuchet MS" pitchFamily="34" charset="0"/>
              </a:rPr>
              <a:t>EXCHANGE</a:t>
            </a:r>
            <a:endParaRPr lang="en-US" sz="11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08" name="ZoneTexte 507"/>
          <p:cNvSpPr txBox="1"/>
          <p:nvPr/>
        </p:nvSpPr>
        <p:spPr>
          <a:xfrm>
            <a:off x="3028363" y="3444633"/>
            <a:ext cx="1562592" cy="1411057"/>
          </a:xfrm>
          <a:prstGeom prst="rect">
            <a:avLst/>
          </a:prstGeom>
          <a:solidFill>
            <a:srgbClr val="1C588F"/>
          </a:solidFill>
        </p:spPr>
        <p:txBody>
          <a:bodyPr wrap="square" lIns="91406" tIns="45702" rIns="91406" bIns="35988" rtlCol="0">
            <a:spAutoFit/>
          </a:bodyPr>
          <a:lstStyle/>
          <a:p>
            <a:pPr marL="171399" indent="-171399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en-US" sz="700" dirty="0">
                <a:solidFill>
                  <a:schemeClr val="bg1"/>
                </a:solidFill>
                <a:latin typeface="Trebuchet MS" pitchFamily="34" charset="0"/>
              </a:rPr>
              <a:t>Collaboration functions</a:t>
            </a:r>
          </a:p>
          <a:p>
            <a:pPr marL="171399" indent="-171399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en-US" sz="700" dirty="0">
                <a:solidFill>
                  <a:schemeClr val="bg1"/>
                </a:solidFill>
                <a:latin typeface="Trebuchet MS" pitchFamily="34" charset="0"/>
              </a:rPr>
              <a:t>Messaging services </a:t>
            </a:r>
          </a:p>
          <a:p>
            <a:pPr marL="171399" indent="-171399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en-US" sz="700" dirty="0">
                <a:solidFill>
                  <a:schemeClr val="bg1"/>
                </a:solidFill>
                <a:latin typeface="Trebuchet MS" pitchFamily="34" charset="0"/>
              </a:rPr>
              <a:t>Community</a:t>
            </a: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> management</a:t>
            </a:r>
            <a:endParaRPr lang="en-US" sz="700" dirty="0">
              <a:solidFill>
                <a:schemeClr val="bg1"/>
              </a:solidFill>
              <a:latin typeface="Trebuchet MS" pitchFamily="34" charset="0"/>
            </a:endParaRPr>
          </a:p>
          <a:p>
            <a:pPr marL="171399" indent="-171399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en-US" sz="700" dirty="0">
                <a:solidFill>
                  <a:schemeClr val="bg1"/>
                </a:solidFill>
                <a:latin typeface="Trebuchet MS" pitchFamily="34" charset="0"/>
              </a:rPr>
              <a:t>Speech recognition – transcription</a:t>
            </a:r>
          </a:p>
          <a:p>
            <a:pPr marL="171399" indent="-171399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en-US" sz="700" dirty="0">
                <a:solidFill>
                  <a:schemeClr val="bg1"/>
                </a:solidFill>
                <a:latin typeface="Trebuchet MS" pitchFamily="34" charset="0"/>
              </a:rPr>
              <a:t>Authentication</a:t>
            </a:r>
          </a:p>
          <a:p>
            <a:pPr marL="171399" indent="-171399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en-US" sz="700" dirty="0">
                <a:solidFill>
                  <a:schemeClr val="bg1"/>
                </a:solidFill>
                <a:latin typeface="Trebuchet MS" pitchFamily="34" charset="0"/>
              </a:rPr>
              <a:t>Voice &amp; Video</a:t>
            </a:r>
          </a:p>
          <a:p>
            <a:pPr marL="171399" indent="-171399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>Recording, Storage</a:t>
            </a:r>
          </a:p>
          <a:p>
            <a:pPr marL="171399" indent="-171399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fr-FR" sz="700" dirty="0">
                <a:solidFill>
                  <a:schemeClr val="bg1"/>
                </a:solidFill>
                <a:latin typeface="Trebuchet MS" pitchFamily="34" charset="0"/>
              </a:rPr>
              <a:t>Notification and  alerts</a:t>
            </a:r>
            <a:endParaRPr lang="en-US" sz="700" dirty="0">
              <a:solidFill>
                <a:schemeClr val="bg1"/>
              </a:solidFill>
              <a:latin typeface="Trebuchet MS" pitchFamily="34" charset="0"/>
            </a:endParaRPr>
          </a:p>
        </p:txBody>
      </p:sp>
      <p:grpSp>
        <p:nvGrpSpPr>
          <p:cNvPr id="509" name="Groupe 377"/>
          <p:cNvGrpSpPr/>
          <p:nvPr/>
        </p:nvGrpSpPr>
        <p:grpSpPr>
          <a:xfrm>
            <a:off x="2858145" y="2364300"/>
            <a:ext cx="530178" cy="529777"/>
            <a:chOff x="3528159" y="796927"/>
            <a:chExt cx="1776413" cy="1774825"/>
          </a:xfrm>
        </p:grpSpPr>
        <p:sp>
          <p:nvSpPr>
            <p:cNvPr id="510" name="Freeform 21"/>
            <p:cNvSpPr>
              <a:spLocks/>
            </p:cNvSpPr>
            <p:nvPr/>
          </p:nvSpPr>
          <p:spPr bwMode="auto">
            <a:xfrm>
              <a:off x="3528159" y="796927"/>
              <a:ext cx="1776413" cy="1774825"/>
            </a:xfrm>
            <a:custGeom>
              <a:avLst/>
              <a:gdLst>
                <a:gd name="T0" fmla="*/ 224 w 1119"/>
                <a:gd name="T1" fmla="*/ 0 h 1118"/>
                <a:gd name="T2" fmla="*/ 895 w 1119"/>
                <a:gd name="T3" fmla="*/ 0 h 1118"/>
                <a:gd name="T4" fmla="*/ 931 w 1119"/>
                <a:gd name="T5" fmla="*/ 3 h 1118"/>
                <a:gd name="T6" fmla="*/ 966 w 1119"/>
                <a:gd name="T7" fmla="*/ 11 h 1118"/>
                <a:gd name="T8" fmla="*/ 998 w 1119"/>
                <a:gd name="T9" fmla="*/ 25 h 1118"/>
                <a:gd name="T10" fmla="*/ 1027 w 1119"/>
                <a:gd name="T11" fmla="*/ 42 h 1118"/>
                <a:gd name="T12" fmla="*/ 1053 w 1119"/>
                <a:gd name="T13" fmla="*/ 65 h 1118"/>
                <a:gd name="T14" fmla="*/ 1076 w 1119"/>
                <a:gd name="T15" fmla="*/ 91 h 1118"/>
                <a:gd name="T16" fmla="*/ 1094 w 1119"/>
                <a:gd name="T17" fmla="*/ 120 h 1118"/>
                <a:gd name="T18" fmla="*/ 1107 w 1119"/>
                <a:gd name="T19" fmla="*/ 153 h 1118"/>
                <a:gd name="T20" fmla="*/ 1116 w 1119"/>
                <a:gd name="T21" fmla="*/ 187 h 1118"/>
                <a:gd name="T22" fmla="*/ 1119 w 1119"/>
                <a:gd name="T23" fmla="*/ 224 h 1118"/>
                <a:gd name="T24" fmla="*/ 1119 w 1119"/>
                <a:gd name="T25" fmla="*/ 894 h 1118"/>
                <a:gd name="T26" fmla="*/ 1116 w 1119"/>
                <a:gd name="T27" fmla="*/ 931 h 1118"/>
                <a:gd name="T28" fmla="*/ 1107 w 1119"/>
                <a:gd name="T29" fmla="*/ 965 h 1118"/>
                <a:gd name="T30" fmla="*/ 1094 w 1119"/>
                <a:gd name="T31" fmla="*/ 998 h 1118"/>
                <a:gd name="T32" fmla="*/ 1076 w 1119"/>
                <a:gd name="T33" fmla="*/ 1027 h 1118"/>
                <a:gd name="T34" fmla="*/ 1053 w 1119"/>
                <a:gd name="T35" fmla="*/ 1053 h 1118"/>
                <a:gd name="T36" fmla="*/ 1027 w 1119"/>
                <a:gd name="T37" fmla="*/ 1076 h 1118"/>
                <a:gd name="T38" fmla="*/ 998 w 1119"/>
                <a:gd name="T39" fmla="*/ 1093 h 1118"/>
                <a:gd name="T40" fmla="*/ 966 w 1119"/>
                <a:gd name="T41" fmla="*/ 1107 h 1118"/>
                <a:gd name="T42" fmla="*/ 931 w 1119"/>
                <a:gd name="T43" fmla="*/ 1115 h 1118"/>
                <a:gd name="T44" fmla="*/ 895 w 1119"/>
                <a:gd name="T45" fmla="*/ 1118 h 1118"/>
                <a:gd name="T46" fmla="*/ 224 w 1119"/>
                <a:gd name="T47" fmla="*/ 1118 h 1118"/>
                <a:gd name="T48" fmla="*/ 188 w 1119"/>
                <a:gd name="T49" fmla="*/ 1115 h 1118"/>
                <a:gd name="T50" fmla="*/ 153 w 1119"/>
                <a:gd name="T51" fmla="*/ 1107 h 1118"/>
                <a:gd name="T52" fmla="*/ 121 w 1119"/>
                <a:gd name="T53" fmla="*/ 1093 h 1118"/>
                <a:gd name="T54" fmla="*/ 92 w 1119"/>
                <a:gd name="T55" fmla="*/ 1076 h 1118"/>
                <a:gd name="T56" fmla="*/ 66 w 1119"/>
                <a:gd name="T57" fmla="*/ 1053 h 1118"/>
                <a:gd name="T58" fmla="*/ 43 w 1119"/>
                <a:gd name="T59" fmla="*/ 1027 h 1118"/>
                <a:gd name="T60" fmla="*/ 25 w 1119"/>
                <a:gd name="T61" fmla="*/ 998 h 1118"/>
                <a:gd name="T62" fmla="*/ 11 w 1119"/>
                <a:gd name="T63" fmla="*/ 965 h 1118"/>
                <a:gd name="T64" fmla="*/ 3 w 1119"/>
                <a:gd name="T65" fmla="*/ 931 h 1118"/>
                <a:gd name="T66" fmla="*/ 0 w 1119"/>
                <a:gd name="T67" fmla="*/ 894 h 1118"/>
                <a:gd name="T68" fmla="*/ 0 w 1119"/>
                <a:gd name="T69" fmla="*/ 224 h 1118"/>
                <a:gd name="T70" fmla="*/ 3 w 1119"/>
                <a:gd name="T71" fmla="*/ 187 h 1118"/>
                <a:gd name="T72" fmla="*/ 11 w 1119"/>
                <a:gd name="T73" fmla="*/ 153 h 1118"/>
                <a:gd name="T74" fmla="*/ 25 w 1119"/>
                <a:gd name="T75" fmla="*/ 120 h 1118"/>
                <a:gd name="T76" fmla="*/ 43 w 1119"/>
                <a:gd name="T77" fmla="*/ 91 h 1118"/>
                <a:gd name="T78" fmla="*/ 66 w 1119"/>
                <a:gd name="T79" fmla="*/ 65 h 1118"/>
                <a:gd name="T80" fmla="*/ 92 w 1119"/>
                <a:gd name="T81" fmla="*/ 42 h 1118"/>
                <a:gd name="T82" fmla="*/ 121 w 1119"/>
                <a:gd name="T83" fmla="*/ 25 h 1118"/>
                <a:gd name="T84" fmla="*/ 153 w 1119"/>
                <a:gd name="T85" fmla="*/ 11 h 1118"/>
                <a:gd name="T86" fmla="*/ 188 w 1119"/>
                <a:gd name="T87" fmla="*/ 3 h 1118"/>
                <a:gd name="T88" fmla="*/ 224 w 1119"/>
                <a:gd name="T89" fmla="*/ 0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19" h="1118">
                  <a:moveTo>
                    <a:pt x="224" y="0"/>
                  </a:moveTo>
                  <a:lnTo>
                    <a:pt x="895" y="0"/>
                  </a:lnTo>
                  <a:lnTo>
                    <a:pt x="931" y="3"/>
                  </a:lnTo>
                  <a:lnTo>
                    <a:pt x="966" y="11"/>
                  </a:lnTo>
                  <a:lnTo>
                    <a:pt x="998" y="25"/>
                  </a:lnTo>
                  <a:lnTo>
                    <a:pt x="1027" y="42"/>
                  </a:lnTo>
                  <a:lnTo>
                    <a:pt x="1053" y="65"/>
                  </a:lnTo>
                  <a:lnTo>
                    <a:pt x="1076" y="91"/>
                  </a:lnTo>
                  <a:lnTo>
                    <a:pt x="1094" y="120"/>
                  </a:lnTo>
                  <a:lnTo>
                    <a:pt x="1107" y="153"/>
                  </a:lnTo>
                  <a:lnTo>
                    <a:pt x="1116" y="187"/>
                  </a:lnTo>
                  <a:lnTo>
                    <a:pt x="1119" y="224"/>
                  </a:lnTo>
                  <a:lnTo>
                    <a:pt x="1119" y="894"/>
                  </a:lnTo>
                  <a:lnTo>
                    <a:pt x="1116" y="931"/>
                  </a:lnTo>
                  <a:lnTo>
                    <a:pt x="1107" y="965"/>
                  </a:lnTo>
                  <a:lnTo>
                    <a:pt x="1094" y="998"/>
                  </a:lnTo>
                  <a:lnTo>
                    <a:pt x="1076" y="1027"/>
                  </a:lnTo>
                  <a:lnTo>
                    <a:pt x="1053" y="1053"/>
                  </a:lnTo>
                  <a:lnTo>
                    <a:pt x="1027" y="1076"/>
                  </a:lnTo>
                  <a:lnTo>
                    <a:pt x="998" y="1093"/>
                  </a:lnTo>
                  <a:lnTo>
                    <a:pt x="966" y="1107"/>
                  </a:lnTo>
                  <a:lnTo>
                    <a:pt x="931" y="1115"/>
                  </a:lnTo>
                  <a:lnTo>
                    <a:pt x="895" y="1118"/>
                  </a:lnTo>
                  <a:lnTo>
                    <a:pt x="224" y="1118"/>
                  </a:lnTo>
                  <a:lnTo>
                    <a:pt x="188" y="1115"/>
                  </a:lnTo>
                  <a:lnTo>
                    <a:pt x="153" y="1107"/>
                  </a:lnTo>
                  <a:lnTo>
                    <a:pt x="121" y="1093"/>
                  </a:lnTo>
                  <a:lnTo>
                    <a:pt x="92" y="1076"/>
                  </a:lnTo>
                  <a:lnTo>
                    <a:pt x="66" y="1053"/>
                  </a:lnTo>
                  <a:lnTo>
                    <a:pt x="43" y="1027"/>
                  </a:lnTo>
                  <a:lnTo>
                    <a:pt x="25" y="998"/>
                  </a:lnTo>
                  <a:lnTo>
                    <a:pt x="11" y="965"/>
                  </a:lnTo>
                  <a:lnTo>
                    <a:pt x="3" y="931"/>
                  </a:lnTo>
                  <a:lnTo>
                    <a:pt x="0" y="894"/>
                  </a:lnTo>
                  <a:lnTo>
                    <a:pt x="0" y="224"/>
                  </a:lnTo>
                  <a:lnTo>
                    <a:pt x="3" y="187"/>
                  </a:lnTo>
                  <a:lnTo>
                    <a:pt x="11" y="153"/>
                  </a:lnTo>
                  <a:lnTo>
                    <a:pt x="25" y="120"/>
                  </a:lnTo>
                  <a:lnTo>
                    <a:pt x="43" y="91"/>
                  </a:lnTo>
                  <a:lnTo>
                    <a:pt x="66" y="65"/>
                  </a:lnTo>
                  <a:lnTo>
                    <a:pt x="92" y="42"/>
                  </a:lnTo>
                  <a:lnTo>
                    <a:pt x="121" y="25"/>
                  </a:lnTo>
                  <a:lnTo>
                    <a:pt x="153" y="11"/>
                  </a:lnTo>
                  <a:lnTo>
                    <a:pt x="188" y="3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fr-BE" dirty="0"/>
            </a:p>
          </p:txBody>
        </p:sp>
        <p:sp>
          <p:nvSpPr>
            <p:cNvPr id="511" name="Freeform 22"/>
            <p:cNvSpPr>
              <a:spLocks/>
            </p:cNvSpPr>
            <p:nvPr/>
          </p:nvSpPr>
          <p:spPr bwMode="auto">
            <a:xfrm>
              <a:off x="4004409" y="1217615"/>
              <a:ext cx="823913" cy="933450"/>
            </a:xfrm>
            <a:custGeom>
              <a:avLst/>
              <a:gdLst>
                <a:gd name="T0" fmla="*/ 368 w 519"/>
                <a:gd name="T1" fmla="*/ 2 h 588"/>
                <a:gd name="T2" fmla="*/ 421 w 519"/>
                <a:gd name="T3" fmla="*/ 18 h 588"/>
                <a:gd name="T4" fmla="*/ 464 w 519"/>
                <a:gd name="T5" fmla="*/ 45 h 588"/>
                <a:gd name="T6" fmla="*/ 494 w 519"/>
                <a:gd name="T7" fmla="*/ 81 h 588"/>
                <a:gd name="T8" fmla="*/ 513 w 519"/>
                <a:gd name="T9" fmla="*/ 124 h 588"/>
                <a:gd name="T10" fmla="*/ 519 w 519"/>
                <a:gd name="T11" fmla="*/ 169 h 588"/>
                <a:gd name="T12" fmla="*/ 511 w 519"/>
                <a:gd name="T13" fmla="*/ 221 h 588"/>
                <a:gd name="T14" fmla="*/ 488 w 519"/>
                <a:gd name="T15" fmla="*/ 268 h 588"/>
                <a:gd name="T16" fmla="*/ 458 w 519"/>
                <a:gd name="T17" fmla="*/ 299 h 588"/>
                <a:gd name="T18" fmla="*/ 423 w 519"/>
                <a:gd name="T19" fmla="*/ 322 h 588"/>
                <a:gd name="T20" fmla="*/ 374 w 519"/>
                <a:gd name="T21" fmla="*/ 338 h 588"/>
                <a:gd name="T22" fmla="*/ 504 w 519"/>
                <a:gd name="T23" fmla="*/ 500 h 588"/>
                <a:gd name="T24" fmla="*/ 516 w 519"/>
                <a:gd name="T25" fmla="*/ 526 h 588"/>
                <a:gd name="T26" fmla="*/ 512 w 519"/>
                <a:gd name="T27" fmla="*/ 553 h 588"/>
                <a:gd name="T28" fmla="*/ 495 w 519"/>
                <a:gd name="T29" fmla="*/ 576 h 588"/>
                <a:gd name="T30" fmla="*/ 474 w 519"/>
                <a:gd name="T31" fmla="*/ 586 h 588"/>
                <a:gd name="T32" fmla="*/ 446 w 519"/>
                <a:gd name="T33" fmla="*/ 585 h 588"/>
                <a:gd name="T34" fmla="*/ 420 w 519"/>
                <a:gd name="T35" fmla="*/ 567 h 588"/>
                <a:gd name="T36" fmla="*/ 184 w 519"/>
                <a:gd name="T37" fmla="*/ 308 h 588"/>
                <a:gd name="T38" fmla="*/ 181 w 519"/>
                <a:gd name="T39" fmla="*/ 276 h 588"/>
                <a:gd name="T40" fmla="*/ 195 w 519"/>
                <a:gd name="T41" fmla="*/ 250 h 588"/>
                <a:gd name="T42" fmla="*/ 219 w 519"/>
                <a:gd name="T43" fmla="*/ 236 h 588"/>
                <a:gd name="T44" fmla="*/ 337 w 519"/>
                <a:gd name="T45" fmla="*/ 234 h 588"/>
                <a:gd name="T46" fmla="*/ 371 w 519"/>
                <a:gd name="T47" fmla="*/ 227 h 588"/>
                <a:gd name="T48" fmla="*/ 395 w 519"/>
                <a:gd name="T49" fmla="*/ 213 h 588"/>
                <a:gd name="T50" fmla="*/ 407 w 519"/>
                <a:gd name="T51" fmla="*/ 192 h 588"/>
                <a:gd name="T52" fmla="*/ 412 w 519"/>
                <a:gd name="T53" fmla="*/ 169 h 588"/>
                <a:gd name="T54" fmla="*/ 406 w 519"/>
                <a:gd name="T55" fmla="*/ 144 h 588"/>
                <a:gd name="T56" fmla="*/ 389 w 519"/>
                <a:gd name="T57" fmla="*/ 123 h 588"/>
                <a:gd name="T58" fmla="*/ 358 w 519"/>
                <a:gd name="T59" fmla="*/ 110 h 588"/>
                <a:gd name="T60" fmla="*/ 108 w 519"/>
                <a:gd name="T61" fmla="*/ 109 h 588"/>
                <a:gd name="T62" fmla="*/ 105 w 519"/>
                <a:gd name="T63" fmla="*/ 549 h 588"/>
                <a:gd name="T64" fmla="*/ 86 w 519"/>
                <a:gd name="T65" fmla="*/ 576 h 588"/>
                <a:gd name="T66" fmla="*/ 55 w 519"/>
                <a:gd name="T67" fmla="*/ 588 h 588"/>
                <a:gd name="T68" fmla="*/ 23 w 519"/>
                <a:gd name="T69" fmla="*/ 577 h 588"/>
                <a:gd name="T70" fmla="*/ 3 w 519"/>
                <a:gd name="T71" fmla="*/ 551 h 588"/>
                <a:gd name="T72" fmla="*/ 0 w 519"/>
                <a:gd name="T73" fmla="*/ 54 h 588"/>
                <a:gd name="T74" fmla="*/ 10 w 519"/>
                <a:gd name="T75" fmla="*/ 23 h 588"/>
                <a:gd name="T76" fmla="*/ 38 w 519"/>
                <a:gd name="T77" fmla="*/ 3 h 588"/>
                <a:gd name="T78" fmla="*/ 337 w 519"/>
                <a:gd name="T79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9" h="588">
                  <a:moveTo>
                    <a:pt x="337" y="0"/>
                  </a:moveTo>
                  <a:lnTo>
                    <a:pt x="368" y="2"/>
                  </a:lnTo>
                  <a:lnTo>
                    <a:pt x="396" y="9"/>
                  </a:lnTo>
                  <a:lnTo>
                    <a:pt x="421" y="18"/>
                  </a:lnTo>
                  <a:lnTo>
                    <a:pt x="444" y="30"/>
                  </a:lnTo>
                  <a:lnTo>
                    <a:pt x="464" y="45"/>
                  </a:lnTo>
                  <a:lnTo>
                    <a:pt x="480" y="63"/>
                  </a:lnTo>
                  <a:lnTo>
                    <a:pt x="494" y="81"/>
                  </a:lnTo>
                  <a:lnTo>
                    <a:pt x="504" y="102"/>
                  </a:lnTo>
                  <a:lnTo>
                    <a:pt x="513" y="124"/>
                  </a:lnTo>
                  <a:lnTo>
                    <a:pt x="517" y="146"/>
                  </a:lnTo>
                  <a:lnTo>
                    <a:pt x="519" y="169"/>
                  </a:lnTo>
                  <a:lnTo>
                    <a:pt x="517" y="196"/>
                  </a:lnTo>
                  <a:lnTo>
                    <a:pt x="511" y="221"/>
                  </a:lnTo>
                  <a:lnTo>
                    <a:pt x="501" y="245"/>
                  </a:lnTo>
                  <a:lnTo>
                    <a:pt x="488" y="268"/>
                  </a:lnTo>
                  <a:lnTo>
                    <a:pt x="471" y="288"/>
                  </a:lnTo>
                  <a:lnTo>
                    <a:pt x="458" y="299"/>
                  </a:lnTo>
                  <a:lnTo>
                    <a:pt x="443" y="312"/>
                  </a:lnTo>
                  <a:lnTo>
                    <a:pt x="423" y="322"/>
                  </a:lnTo>
                  <a:lnTo>
                    <a:pt x="400" y="332"/>
                  </a:lnTo>
                  <a:lnTo>
                    <a:pt x="374" y="338"/>
                  </a:lnTo>
                  <a:lnTo>
                    <a:pt x="344" y="341"/>
                  </a:lnTo>
                  <a:lnTo>
                    <a:pt x="504" y="500"/>
                  </a:lnTo>
                  <a:lnTo>
                    <a:pt x="512" y="513"/>
                  </a:lnTo>
                  <a:lnTo>
                    <a:pt x="516" y="526"/>
                  </a:lnTo>
                  <a:lnTo>
                    <a:pt x="516" y="540"/>
                  </a:lnTo>
                  <a:lnTo>
                    <a:pt x="512" y="553"/>
                  </a:lnTo>
                  <a:lnTo>
                    <a:pt x="505" y="566"/>
                  </a:lnTo>
                  <a:lnTo>
                    <a:pt x="495" y="576"/>
                  </a:lnTo>
                  <a:lnTo>
                    <a:pt x="484" y="583"/>
                  </a:lnTo>
                  <a:lnTo>
                    <a:pt x="474" y="586"/>
                  </a:lnTo>
                  <a:lnTo>
                    <a:pt x="463" y="588"/>
                  </a:lnTo>
                  <a:lnTo>
                    <a:pt x="446" y="585"/>
                  </a:lnTo>
                  <a:lnTo>
                    <a:pt x="432" y="578"/>
                  </a:lnTo>
                  <a:lnTo>
                    <a:pt x="420" y="567"/>
                  </a:lnTo>
                  <a:lnTo>
                    <a:pt x="192" y="322"/>
                  </a:lnTo>
                  <a:lnTo>
                    <a:pt x="184" y="308"/>
                  </a:lnTo>
                  <a:lnTo>
                    <a:pt x="180" y="292"/>
                  </a:lnTo>
                  <a:lnTo>
                    <a:pt x="181" y="276"/>
                  </a:lnTo>
                  <a:lnTo>
                    <a:pt x="187" y="262"/>
                  </a:lnTo>
                  <a:lnTo>
                    <a:pt x="195" y="250"/>
                  </a:lnTo>
                  <a:lnTo>
                    <a:pt x="205" y="241"/>
                  </a:lnTo>
                  <a:lnTo>
                    <a:pt x="219" y="236"/>
                  </a:lnTo>
                  <a:lnTo>
                    <a:pt x="233" y="234"/>
                  </a:lnTo>
                  <a:lnTo>
                    <a:pt x="337" y="234"/>
                  </a:lnTo>
                  <a:lnTo>
                    <a:pt x="355" y="231"/>
                  </a:lnTo>
                  <a:lnTo>
                    <a:pt x="371" y="227"/>
                  </a:lnTo>
                  <a:lnTo>
                    <a:pt x="384" y="221"/>
                  </a:lnTo>
                  <a:lnTo>
                    <a:pt x="395" y="213"/>
                  </a:lnTo>
                  <a:lnTo>
                    <a:pt x="402" y="202"/>
                  </a:lnTo>
                  <a:lnTo>
                    <a:pt x="407" y="192"/>
                  </a:lnTo>
                  <a:lnTo>
                    <a:pt x="410" y="180"/>
                  </a:lnTo>
                  <a:lnTo>
                    <a:pt x="412" y="169"/>
                  </a:lnTo>
                  <a:lnTo>
                    <a:pt x="409" y="156"/>
                  </a:lnTo>
                  <a:lnTo>
                    <a:pt x="406" y="144"/>
                  </a:lnTo>
                  <a:lnTo>
                    <a:pt x="399" y="133"/>
                  </a:lnTo>
                  <a:lnTo>
                    <a:pt x="389" y="123"/>
                  </a:lnTo>
                  <a:lnTo>
                    <a:pt x="375" y="115"/>
                  </a:lnTo>
                  <a:lnTo>
                    <a:pt x="358" y="110"/>
                  </a:lnTo>
                  <a:lnTo>
                    <a:pt x="337" y="108"/>
                  </a:lnTo>
                  <a:lnTo>
                    <a:pt x="108" y="109"/>
                  </a:lnTo>
                  <a:lnTo>
                    <a:pt x="108" y="532"/>
                  </a:lnTo>
                  <a:lnTo>
                    <a:pt x="105" y="549"/>
                  </a:lnTo>
                  <a:lnTo>
                    <a:pt x="98" y="564"/>
                  </a:lnTo>
                  <a:lnTo>
                    <a:pt x="86" y="576"/>
                  </a:lnTo>
                  <a:lnTo>
                    <a:pt x="72" y="585"/>
                  </a:lnTo>
                  <a:lnTo>
                    <a:pt x="55" y="588"/>
                  </a:lnTo>
                  <a:lnTo>
                    <a:pt x="39" y="585"/>
                  </a:lnTo>
                  <a:lnTo>
                    <a:pt x="23" y="577"/>
                  </a:lnTo>
                  <a:lnTo>
                    <a:pt x="11" y="566"/>
                  </a:lnTo>
                  <a:lnTo>
                    <a:pt x="3" y="551"/>
                  </a:lnTo>
                  <a:lnTo>
                    <a:pt x="0" y="534"/>
                  </a:lnTo>
                  <a:lnTo>
                    <a:pt x="0" y="54"/>
                  </a:lnTo>
                  <a:lnTo>
                    <a:pt x="3" y="38"/>
                  </a:lnTo>
                  <a:lnTo>
                    <a:pt x="10" y="23"/>
                  </a:lnTo>
                  <a:lnTo>
                    <a:pt x="22" y="11"/>
                  </a:lnTo>
                  <a:lnTo>
                    <a:pt x="38" y="3"/>
                  </a:lnTo>
                  <a:lnTo>
                    <a:pt x="54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6639B7"/>
            </a:solidFill>
            <a:ln w="0">
              <a:solidFill>
                <a:srgbClr val="6639B7"/>
              </a:solidFill>
              <a:prstDash val="solid"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fr-BE" dirty="0"/>
            </a:p>
          </p:txBody>
        </p:sp>
        <p:sp>
          <p:nvSpPr>
            <p:cNvPr id="512" name="Freeform 23"/>
            <p:cNvSpPr>
              <a:spLocks/>
            </p:cNvSpPr>
            <p:nvPr/>
          </p:nvSpPr>
          <p:spPr bwMode="auto">
            <a:xfrm>
              <a:off x="4228247" y="925515"/>
              <a:ext cx="947738" cy="523875"/>
            </a:xfrm>
            <a:custGeom>
              <a:avLst/>
              <a:gdLst>
                <a:gd name="T0" fmla="*/ 453 w 597"/>
                <a:gd name="T1" fmla="*/ 0 h 330"/>
                <a:gd name="T2" fmla="*/ 453 w 597"/>
                <a:gd name="T3" fmla="*/ 0 h 330"/>
                <a:gd name="T4" fmla="*/ 481 w 597"/>
                <a:gd name="T5" fmla="*/ 2 h 330"/>
                <a:gd name="T6" fmla="*/ 508 w 597"/>
                <a:gd name="T7" fmla="*/ 10 h 330"/>
                <a:gd name="T8" fmla="*/ 532 w 597"/>
                <a:gd name="T9" fmla="*/ 24 h 330"/>
                <a:gd name="T10" fmla="*/ 555 w 597"/>
                <a:gd name="T11" fmla="*/ 42 h 330"/>
                <a:gd name="T12" fmla="*/ 573 w 597"/>
                <a:gd name="T13" fmla="*/ 63 h 330"/>
                <a:gd name="T14" fmla="*/ 586 w 597"/>
                <a:gd name="T15" fmla="*/ 88 h 330"/>
                <a:gd name="T16" fmla="*/ 594 w 597"/>
                <a:gd name="T17" fmla="*/ 115 h 330"/>
                <a:gd name="T18" fmla="*/ 597 w 597"/>
                <a:gd name="T19" fmla="*/ 144 h 330"/>
                <a:gd name="T20" fmla="*/ 597 w 597"/>
                <a:gd name="T21" fmla="*/ 330 h 330"/>
                <a:gd name="T22" fmla="*/ 582 w 597"/>
                <a:gd name="T23" fmla="*/ 327 h 330"/>
                <a:gd name="T24" fmla="*/ 552 w 597"/>
                <a:gd name="T25" fmla="*/ 321 h 330"/>
                <a:gd name="T26" fmla="*/ 505 w 597"/>
                <a:gd name="T27" fmla="*/ 313 h 330"/>
                <a:gd name="T28" fmla="*/ 505 w 597"/>
                <a:gd name="T29" fmla="*/ 144 h 330"/>
                <a:gd name="T30" fmla="*/ 503 w 597"/>
                <a:gd name="T31" fmla="*/ 130 h 330"/>
                <a:gd name="T32" fmla="*/ 498 w 597"/>
                <a:gd name="T33" fmla="*/ 118 h 330"/>
                <a:gd name="T34" fmla="*/ 489 w 597"/>
                <a:gd name="T35" fmla="*/ 107 h 330"/>
                <a:gd name="T36" fmla="*/ 479 w 597"/>
                <a:gd name="T37" fmla="*/ 99 h 330"/>
                <a:gd name="T38" fmla="*/ 466 w 597"/>
                <a:gd name="T39" fmla="*/ 94 h 330"/>
                <a:gd name="T40" fmla="*/ 453 w 597"/>
                <a:gd name="T41" fmla="*/ 92 h 330"/>
                <a:gd name="T42" fmla="*/ 453 w 597"/>
                <a:gd name="T43" fmla="*/ 92 h 330"/>
                <a:gd name="T44" fmla="*/ 0 w 597"/>
                <a:gd name="T45" fmla="*/ 92 h 330"/>
                <a:gd name="T46" fmla="*/ 14 w 597"/>
                <a:gd name="T47" fmla="*/ 59 h 330"/>
                <a:gd name="T48" fmla="*/ 32 w 597"/>
                <a:gd name="T49" fmla="*/ 29 h 330"/>
                <a:gd name="T50" fmla="*/ 52 w 597"/>
                <a:gd name="T51" fmla="*/ 0 h 330"/>
                <a:gd name="T52" fmla="*/ 453 w 597"/>
                <a:gd name="T53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7" h="330">
                  <a:moveTo>
                    <a:pt x="453" y="0"/>
                  </a:moveTo>
                  <a:lnTo>
                    <a:pt x="453" y="0"/>
                  </a:lnTo>
                  <a:lnTo>
                    <a:pt x="481" y="2"/>
                  </a:lnTo>
                  <a:lnTo>
                    <a:pt x="508" y="10"/>
                  </a:lnTo>
                  <a:lnTo>
                    <a:pt x="532" y="24"/>
                  </a:lnTo>
                  <a:lnTo>
                    <a:pt x="555" y="42"/>
                  </a:lnTo>
                  <a:lnTo>
                    <a:pt x="573" y="63"/>
                  </a:lnTo>
                  <a:lnTo>
                    <a:pt x="586" y="88"/>
                  </a:lnTo>
                  <a:lnTo>
                    <a:pt x="594" y="115"/>
                  </a:lnTo>
                  <a:lnTo>
                    <a:pt x="597" y="144"/>
                  </a:lnTo>
                  <a:lnTo>
                    <a:pt x="597" y="330"/>
                  </a:lnTo>
                  <a:lnTo>
                    <a:pt x="582" y="327"/>
                  </a:lnTo>
                  <a:lnTo>
                    <a:pt x="552" y="321"/>
                  </a:lnTo>
                  <a:lnTo>
                    <a:pt x="505" y="313"/>
                  </a:lnTo>
                  <a:lnTo>
                    <a:pt x="505" y="144"/>
                  </a:lnTo>
                  <a:lnTo>
                    <a:pt x="503" y="130"/>
                  </a:lnTo>
                  <a:lnTo>
                    <a:pt x="498" y="118"/>
                  </a:lnTo>
                  <a:lnTo>
                    <a:pt x="489" y="107"/>
                  </a:lnTo>
                  <a:lnTo>
                    <a:pt x="479" y="99"/>
                  </a:lnTo>
                  <a:lnTo>
                    <a:pt x="466" y="94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0" y="92"/>
                  </a:lnTo>
                  <a:lnTo>
                    <a:pt x="14" y="59"/>
                  </a:lnTo>
                  <a:lnTo>
                    <a:pt x="32" y="29"/>
                  </a:lnTo>
                  <a:lnTo>
                    <a:pt x="52" y="0"/>
                  </a:lnTo>
                  <a:lnTo>
                    <a:pt x="453" y="0"/>
                  </a:lnTo>
                  <a:close/>
                </a:path>
              </a:pathLst>
            </a:custGeom>
            <a:solidFill>
              <a:srgbClr val="0086CC"/>
            </a:solidFill>
            <a:ln w="0">
              <a:solidFill>
                <a:srgbClr val="0086CC"/>
              </a:solidFill>
              <a:prstDash val="solid"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fr-BE" dirty="0"/>
            </a:p>
          </p:txBody>
        </p:sp>
        <p:sp>
          <p:nvSpPr>
            <p:cNvPr id="513" name="Freeform 24"/>
            <p:cNvSpPr>
              <a:spLocks/>
            </p:cNvSpPr>
            <p:nvPr/>
          </p:nvSpPr>
          <p:spPr bwMode="auto">
            <a:xfrm>
              <a:off x="3656747" y="925515"/>
              <a:ext cx="654050" cy="954088"/>
            </a:xfrm>
            <a:custGeom>
              <a:avLst/>
              <a:gdLst>
                <a:gd name="T0" fmla="*/ 412 w 412"/>
                <a:gd name="T1" fmla="*/ 0 h 601"/>
                <a:gd name="T2" fmla="*/ 392 w 412"/>
                <a:gd name="T3" fmla="*/ 29 h 601"/>
                <a:gd name="T4" fmla="*/ 374 w 412"/>
                <a:gd name="T5" fmla="*/ 59 h 601"/>
                <a:gd name="T6" fmla="*/ 360 w 412"/>
                <a:gd name="T7" fmla="*/ 92 h 601"/>
                <a:gd name="T8" fmla="*/ 144 w 412"/>
                <a:gd name="T9" fmla="*/ 92 h 601"/>
                <a:gd name="T10" fmla="*/ 130 w 412"/>
                <a:gd name="T11" fmla="*/ 94 h 601"/>
                <a:gd name="T12" fmla="*/ 118 w 412"/>
                <a:gd name="T13" fmla="*/ 99 h 601"/>
                <a:gd name="T14" fmla="*/ 108 w 412"/>
                <a:gd name="T15" fmla="*/ 107 h 601"/>
                <a:gd name="T16" fmla="*/ 99 w 412"/>
                <a:gd name="T17" fmla="*/ 118 h 601"/>
                <a:gd name="T18" fmla="*/ 94 w 412"/>
                <a:gd name="T19" fmla="*/ 130 h 601"/>
                <a:gd name="T20" fmla="*/ 92 w 412"/>
                <a:gd name="T21" fmla="*/ 144 h 601"/>
                <a:gd name="T22" fmla="*/ 92 w 412"/>
                <a:gd name="T23" fmla="*/ 518 h 601"/>
                <a:gd name="T24" fmla="*/ 87 w 412"/>
                <a:gd name="T25" fmla="*/ 522 h 601"/>
                <a:gd name="T26" fmla="*/ 42 w 412"/>
                <a:gd name="T27" fmla="*/ 560 h 601"/>
                <a:gd name="T28" fmla="*/ 0 w 412"/>
                <a:gd name="T29" fmla="*/ 601 h 601"/>
                <a:gd name="T30" fmla="*/ 0 w 412"/>
                <a:gd name="T31" fmla="*/ 144 h 601"/>
                <a:gd name="T32" fmla="*/ 2 w 412"/>
                <a:gd name="T33" fmla="*/ 115 h 601"/>
                <a:gd name="T34" fmla="*/ 11 w 412"/>
                <a:gd name="T35" fmla="*/ 88 h 601"/>
                <a:gd name="T36" fmla="*/ 24 w 412"/>
                <a:gd name="T37" fmla="*/ 64 h 601"/>
                <a:gd name="T38" fmla="*/ 42 w 412"/>
                <a:gd name="T39" fmla="*/ 43 h 601"/>
                <a:gd name="T40" fmla="*/ 64 w 412"/>
                <a:gd name="T41" fmla="*/ 24 h 601"/>
                <a:gd name="T42" fmla="*/ 89 w 412"/>
                <a:gd name="T43" fmla="*/ 10 h 601"/>
                <a:gd name="T44" fmla="*/ 116 w 412"/>
                <a:gd name="T45" fmla="*/ 3 h 601"/>
                <a:gd name="T46" fmla="*/ 144 w 412"/>
                <a:gd name="T47" fmla="*/ 0 h 601"/>
                <a:gd name="T48" fmla="*/ 412 w 412"/>
                <a:gd name="T49" fmla="*/ 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2" h="601">
                  <a:moveTo>
                    <a:pt x="412" y="0"/>
                  </a:moveTo>
                  <a:lnTo>
                    <a:pt x="392" y="29"/>
                  </a:lnTo>
                  <a:lnTo>
                    <a:pt x="374" y="59"/>
                  </a:lnTo>
                  <a:lnTo>
                    <a:pt x="360" y="92"/>
                  </a:lnTo>
                  <a:lnTo>
                    <a:pt x="144" y="92"/>
                  </a:lnTo>
                  <a:lnTo>
                    <a:pt x="130" y="94"/>
                  </a:lnTo>
                  <a:lnTo>
                    <a:pt x="118" y="99"/>
                  </a:lnTo>
                  <a:lnTo>
                    <a:pt x="108" y="107"/>
                  </a:lnTo>
                  <a:lnTo>
                    <a:pt x="99" y="118"/>
                  </a:lnTo>
                  <a:lnTo>
                    <a:pt x="94" y="130"/>
                  </a:lnTo>
                  <a:lnTo>
                    <a:pt x="92" y="144"/>
                  </a:lnTo>
                  <a:lnTo>
                    <a:pt x="92" y="518"/>
                  </a:lnTo>
                  <a:lnTo>
                    <a:pt x="87" y="522"/>
                  </a:lnTo>
                  <a:lnTo>
                    <a:pt x="42" y="560"/>
                  </a:lnTo>
                  <a:lnTo>
                    <a:pt x="0" y="601"/>
                  </a:lnTo>
                  <a:lnTo>
                    <a:pt x="0" y="144"/>
                  </a:lnTo>
                  <a:lnTo>
                    <a:pt x="2" y="115"/>
                  </a:lnTo>
                  <a:lnTo>
                    <a:pt x="11" y="88"/>
                  </a:lnTo>
                  <a:lnTo>
                    <a:pt x="24" y="64"/>
                  </a:lnTo>
                  <a:lnTo>
                    <a:pt x="42" y="43"/>
                  </a:lnTo>
                  <a:lnTo>
                    <a:pt x="64" y="24"/>
                  </a:lnTo>
                  <a:lnTo>
                    <a:pt x="89" y="10"/>
                  </a:lnTo>
                  <a:lnTo>
                    <a:pt x="116" y="3"/>
                  </a:lnTo>
                  <a:lnTo>
                    <a:pt x="144" y="0"/>
                  </a:lnTo>
                  <a:lnTo>
                    <a:pt x="412" y="0"/>
                  </a:lnTo>
                  <a:close/>
                </a:path>
              </a:pathLst>
            </a:custGeom>
            <a:solidFill>
              <a:srgbClr val="34B233"/>
            </a:solidFill>
            <a:ln w="0">
              <a:solidFill>
                <a:srgbClr val="34B233"/>
              </a:solidFill>
              <a:prstDash val="solid"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fr-BE" dirty="0"/>
            </a:p>
          </p:txBody>
        </p:sp>
        <p:sp>
          <p:nvSpPr>
            <p:cNvPr id="514" name="Freeform 25"/>
            <p:cNvSpPr>
              <a:spLocks/>
            </p:cNvSpPr>
            <p:nvPr/>
          </p:nvSpPr>
          <p:spPr bwMode="auto">
            <a:xfrm>
              <a:off x="4475897" y="1489077"/>
              <a:ext cx="700088" cy="954088"/>
            </a:xfrm>
            <a:custGeom>
              <a:avLst/>
              <a:gdLst>
                <a:gd name="T0" fmla="*/ 349 w 441"/>
                <a:gd name="T1" fmla="*/ 0 h 601"/>
                <a:gd name="T2" fmla="*/ 395 w 441"/>
                <a:gd name="T3" fmla="*/ 7 h 601"/>
                <a:gd name="T4" fmla="*/ 441 w 441"/>
                <a:gd name="T5" fmla="*/ 17 h 601"/>
                <a:gd name="T6" fmla="*/ 441 w 441"/>
                <a:gd name="T7" fmla="*/ 457 h 601"/>
                <a:gd name="T8" fmla="*/ 439 w 441"/>
                <a:gd name="T9" fmla="*/ 487 h 601"/>
                <a:gd name="T10" fmla="*/ 429 w 441"/>
                <a:gd name="T11" fmla="*/ 514 h 601"/>
                <a:gd name="T12" fmla="*/ 417 w 441"/>
                <a:gd name="T13" fmla="*/ 538 h 601"/>
                <a:gd name="T14" fmla="*/ 399 w 441"/>
                <a:gd name="T15" fmla="*/ 559 h 601"/>
                <a:gd name="T16" fmla="*/ 377 w 441"/>
                <a:gd name="T17" fmla="*/ 576 h 601"/>
                <a:gd name="T18" fmla="*/ 353 w 441"/>
                <a:gd name="T19" fmla="*/ 590 h 601"/>
                <a:gd name="T20" fmla="*/ 326 w 441"/>
                <a:gd name="T21" fmla="*/ 598 h 601"/>
                <a:gd name="T22" fmla="*/ 297 w 441"/>
                <a:gd name="T23" fmla="*/ 601 h 601"/>
                <a:gd name="T24" fmla="*/ 56 w 441"/>
                <a:gd name="T25" fmla="*/ 601 h 601"/>
                <a:gd name="T26" fmla="*/ 34 w 441"/>
                <a:gd name="T27" fmla="*/ 573 h 601"/>
                <a:gd name="T28" fmla="*/ 16 w 441"/>
                <a:gd name="T29" fmla="*/ 542 h 601"/>
                <a:gd name="T30" fmla="*/ 0 w 441"/>
                <a:gd name="T31" fmla="*/ 509 h 601"/>
                <a:gd name="T32" fmla="*/ 297 w 441"/>
                <a:gd name="T33" fmla="*/ 509 h 601"/>
                <a:gd name="T34" fmla="*/ 314 w 441"/>
                <a:gd name="T35" fmla="*/ 506 h 601"/>
                <a:gd name="T36" fmla="*/ 327 w 441"/>
                <a:gd name="T37" fmla="*/ 499 h 601"/>
                <a:gd name="T38" fmla="*/ 339 w 441"/>
                <a:gd name="T39" fmla="*/ 488 h 601"/>
                <a:gd name="T40" fmla="*/ 346 w 441"/>
                <a:gd name="T41" fmla="*/ 474 h 601"/>
                <a:gd name="T42" fmla="*/ 349 w 441"/>
                <a:gd name="T43" fmla="*/ 457 h 601"/>
                <a:gd name="T44" fmla="*/ 349 w 441"/>
                <a:gd name="T45" fmla="*/ 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1" h="601">
                  <a:moveTo>
                    <a:pt x="349" y="0"/>
                  </a:moveTo>
                  <a:lnTo>
                    <a:pt x="395" y="7"/>
                  </a:lnTo>
                  <a:lnTo>
                    <a:pt x="441" y="17"/>
                  </a:lnTo>
                  <a:lnTo>
                    <a:pt x="441" y="457"/>
                  </a:lnTo>
                  <a:lnTo>
                    <a:pt x="439" y="487"/>
                  </a:lnTo>
                  <a:lnTo>
                    <a:pt x="429" y="514"/>
                  </a:lnTo>
                  <a:lnTo>
                    <a:pt x="417" y="538"/>
                  </a:lnTo>
                  <a:lnTo>
                    <a:pt x="399" y="559"/>
                  </a:lnTo>
                  <a:lnTo>
                    <a:pt x="377" y="576"/>
                  </a:lnTo>
                  <a:lnTo>
                    <a:pt x="353" y="590"/>
                  </a:lnTo>
                  <a:lnTo>
                    <a:pt x="326" y="598"/>
                  </a:lnTo>
                  <a:lnTo>
                    <a:pt x="297" y="601"/>
                  </a:lnTo>
                  <a:lnTo>
                    <a:pt x="56" y="601"/>
                  </a:lnTo>
                  <a:lnTo>
                    <a:pt x="34" y="573"/>
                  </a:lnTo>
                  <a:lnTo>
                    <a:pt x="16" y="542"/>
                  </a:lnTo>
                  <a:lnTo>
                    <a:pt x="0" y="509"/>
                  </a:lnTo>
                  <a:lnTo>
                    <a:pt x="297" y="509"/>
                  </a:lnTo>
                  <a:lnTo>
                    <a:pt x="314" y="506"/>
                  </a:lnTo>
                  <a:lnTo>
                    <a:pt x="327" y="499"/>
                  </a:lnTo>
                  <a:lnTo>
                    <a:pt x="339" y="488"/>
                  </a:lnTo>
                  <a:lnTo>
                    <a:pt x="346" y="474"/>
                  </a:lnTo>
                  <a:lnTo>
                    <a:pt x="349" y="457"/>
                  </a:lnTo>
                  <a:lnTo>
                    <a:pt x="349" y="0"/>
                  </a:lnTo>
                  <a:close/>
                </a:path>
              </a:pathLst>
            </a:custGeom>
            <a:solidFill>
              <a:srgbClr val="CF0072"/>
            </a:solidFill>
            <a:ln w="0">
              <a:solidFill>
                <a:srgbClr val="CF0072"/>
              </a:solidFill>
              <a:prstDash val="solid"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fr-BE" dirty="0"/>
            </a:p>
          </p:txBody>
        </p:sp>
        <p:sp>
          <p:nvSpPr>
            <p:cNvPr id="515" name="Freeform 26"/>
            <p:cNvSpPr>
              <a:spLocks noEditPoints="1"/>
            </p:cNvSpPr>
            <p:nvPr/>
          </p:nvSpPr>
          <p:spPr bwMode="auto">
            <a:xfrm>
              <a:off x="3656747" y="1920877"/>
              <a:ext cx="1031875" cy="522288"/>
            </a:xfrm>
            <a:custGeom>
              <a:avLst/>
              <a:gdLst>
                <a:gd name="T0" fmla="*/ 650 w 650"/>
                <a:gd name="T1" fmla="*/ 237 h 329"/>
                <a:gd name="T2" fmla="*/ 516 w 650"/>
                <a:gd name="T3" fmla="*/ 237 h 329"/>
                <a:gd name="T4" fmla="*/ 516 w 650"/>
                <a:gd name="T5" fmla="*/ 237 h 329"/>
                <a:gd name="T6" fmla="*/ 650 w 650"/>
                <a:gd name="T7" fmla="*/ 237 h 329"/>
                <a:gd name="T8" fmla="*/ 92 w 650"/>
                <a:gd name="T9" fmla="*/ 0 h 329"/>
                <a:gd name="T10" fmla="*/ 92 w 650"/>
                <a:gd name="T11" fmla="*/ 185 h 329"/>
                <a:gd name="T12" fmla="*/ 95 w 650"/>
                <a:gd name="T13" fmla="*/ 202 h 329"/>
                <a:gd name="T14" fmla="*/ 102 w 650"/>
                <a:gd name="T15" fmla="*/ 216 h 329"/>
                <a:gd name="T16" fmla="*/ 114 w 650"/>
                <a:gd name="T17" fmla="*/ 227 h 329"/>
                <a:gd name="T18" fmla="*/ 127 w 650"/>
                <a:gd name="T19" fmla="*/ 234 h 329"/>
                <a:gd name="T20" fmla="*/ 144 w 650"/>
                <a:gd name="T21" fmla="*/ 237 h 329"/>
                <a:gd name="T22" fmla="*/ 516 w 650"/>
                <a:gd name="T23" fmla="*/ 237 h 329"/>
                <a:gd name="T24" fmla="*/ 532 w 650"/>
                <a:gd name="T25" fmla="*/ 270 h 329"/>
                <a:gd name="T26" fmla="*/ 550 w 650"/>
                <a:gd name="T27" fmla="*/ 301 h 329"/>
                <a:gd name="T28" fmla="*/ 572 w 650"/>
                <a:gd name="T29" fmla="*/ 329 h 329"/>
                <a:gd name="T30" fmla="*/ 144 w 650"/>
                <a:gd name="T31" fmla="*/ 329 h 329"/>
                <a:gd name="T32" fmla="*/ 144 w 650"/>
                <a:gd name="T33" fmla="*/ 329 h 329"/>
                <a:gd name="T34" fmla="*/ 115 w 650"/>
                <a:gd name="T35" fmla="*/ 326 h 329"/>
                <a:gd name="T36" fmla="*/ 88 w 650"/>
                <a:gd name="T37" fmla="*/ 318 h 329"/>
                <a:gd name="T38" fmla="*/ 64 w 650"/>
                <a:gd name="T39" fmla="*/ 305 h 329"/>
                <a:gd name="T40" fmla="*/ 43 w 650"/>
                <a:gd name="T41" fmla="*/ 287 h 329"/>
                <a:gd name="T42" fmla="*/ 25 w 650"/>
                <a:gd name="T43" fmla="*/ 266 h 329"/>
                <a:gd name="T44" fmla="*/ 12 w 650"/>
                <a:gd name="T45" fmla="*/ 242 h 329"/>
                <a:gd name="T46" fmla="*/ 3 w 650"/>
                <a:gd name="T47" fmla="*/ 215 h 329"/>
                <a:gd name="T48" fmla="*/ 0 w 650"/>
                <a:gd name="T49" fmla="*/ 185 h 329"/>
                <a:gd name="T50" fmla="*/ 0 w 650"/>
                <a:gd name="T51" fmla="*/ 105 h 329"/>
                <a:gd name="T52" fmla="*/ 44 w 650"/>
                <a:gd name="T53" fmla="*/ 51 h 329"/>
                <a:gd name="T54" fmla="*/ 92 w 650"/>
                <a:gd name="T55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0" h="329">
                  <a:moveTo>
                    <a:pt x="650" y="237"/>
                  </a:moveTo>
                  <a:lnTo>
                    <a:pt x="516" y="237"/>
                  </a:lnTo>
                  <a:lnTo>
                    <a:pt x="516" y="237"/>
                  </a:lnTo>
                  <a:lnTo>
                    <a:pt x="650" y="237"/>
                  </a:lnTo>
                  <a:close/>
                  <a:moveTo>
                    <a:pt x="92" y="0"/>
                  </a:moveTo>
                  <a:lnTo>
                    <a:pt x="92" y="185"/>
                  </a:lnTo>
                  <a:lnTo>
                    <a:pt x="95" y="202"/>
                  </a:lnTo>
                  <a:lnTo>
                    <a:pt x="102" y="216"/>
                  </a:lnTo>
                  <a:lnTo>
                    <a:pt x="114" y="227"/>
                  </a:lnTo>
                  <a:lnTo>
                    <a:pt x="127" y="234"/>
                  </a:lnTo>
                  <a:lnTo>
                    <a:pt x="144" y="237"/>
                  </a:lnTo>
                  <a:lnTo>
                    <a:pt x="516" y="237"/>
                  </a:lnTo>
                  <a:lnTo>
                    <a:pt x="532" y="270"/>
                  </a:lnTo>
                  <a:lnTo>
                    <a:pt x="550" y="301"/>
                  </a:lnTo>
                  <a:lnTo>
                    <a:pt x="572" y="329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15" y="326"/>
                  </a:lnTo>
                  <a:lnTo>
                    <a:pt x="88" y="318"/>
                  </a:lnTo>
                  <a:lnTo>
                    <a:pt x="64" y="305"/>
                  </a:lnTo>
                  <a:lnTo>
                    <a:pt x="43" y="287"/>
                  </a:lnTo>
                  <a:lnTo>
                    <a:pt x="25" y="266"/>
                  </a:lnTo>
                  <a:lnTo>
                    <a:pt x="12" y="242"/>
                  </a:lnTo>
                  <a:lnTo>
                    <a:pt x="3" y="215"/>
                  </a:lnTo>
                  <a:lnTo>
                    <a:pt x="0" y="185"/>
                  </a:lnTo>
                  <a:lnTo>
                    <a:pt x="0" y="105"/>
                  </a:lnTo>
                  <a:lnTo>
                    <a:pt x="44" y="51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FF4500"/>
            </a:solidFill>
            <a:ln w="0">
              <a:solidFill>
                <a:srgbClr val="FF4500"/>
              </a:solidFill>
              <a:prstDash val="solid"/>
              <a:round/>
              <a:headEnd/>
              <a:tailEnd/>
            </a:ln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fr-BE" dirty="0"/>
            </a:p>
          </p:txBody>
        </p:sp>
      </p:grpSp>
      <p:grpSp>
        <p:nvGrpSpPr>
          <p:cNvPr id="516" name="Groupe 384"/>
          <p:cNvGrpSpPr/>
          <p:nvPr/>
        </p:nvGrpSpPr>
        <p:grpSpPr>
          <a:xfrm>
            <a:off x="1401580" y="2946121"/>
            <a:ext cx="2255992" cy="1496562"/>
            <a:chOff x="10360140" y="2382634"/>
            <a:chExt cx="3791965" cy="2515145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pic>
          <p:nvPicPr>
            <p:cNvPr id="517" name="Image 5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60140" y="2382634"/>
              <a:ext cx="3791965" cy="2515145"/>
            </a:xfrm>
            <a:prstGeom prst="rect">
              <a:avLst/>
            </a:prstGeom>
          </p:spPr>
        </p:pic>
        <p:pic>
          <p:nvPicPr>
            <p:cNvPr id="518" name="Image 5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30462">
              <a:off x="10540573" y="3261330"/>
              <a:ext cx="810218" cy="1215325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19" name="ZoneTexte 518"/>
          <p:cNvSpPr txBox="1"/>
          <p:nvPr/>
        </p:nvSpPr>
        <p:spPr>
          <a:xfrm>
            <a:off x="4596104" y="797946"/>
            <a:ext cx="2661004" cy="3564000"/>
          </a:xfrm>
          <a:prstGeom prst="ellipse">
            <a:avLst/>
          </a:prstGeom>
          <a:noFill/>
        </p:spPr>
        <p:txBody>
          <a:bodyPr spcFirstLastPara="1" wrap="none" lIns="91412" tIns="45705" rIns="91412" bIns="45705" numCol="1" rtlCol="0">
            <a:prstTxWarp prst="textCircle">
              <a:avLst>
                <a:gd name="adj" fmla="val 19574869"/>
              </a:avLst>
            </a:prstTxWarp>
            <a:spAutoFit/>
          </a:bodyPr>
          <a:lstStyle/>
          <a:p>
            <a:pPr algn="ctr"/>
            <a:r>
              <a:rPr lang="fr-BE" sz="1400" dirty="0">
                <a:solidFill>
                  <a:schemeClr val="bg1"/>
                </a:solidFill>
                <a:latin typeface="Trebuchet MS" pitchFamily="34" charset="0"/>
              </a:rPr>
              <a:t> IoT </a:t>
            </a:r>
          </a:p>
        </p:txBody>
      </p:sp>
      <p:sp>
        <p:nvSpPr>
          <p:cNvPr id="520" name="ZoneTexte 519"/>
          <p:cNvSpPr txBox="1"/>
          <p:nvPr/>
        </p:nvSpPr>
        <p:spPr>
          <a:xfrm rot="3248823">
            <a:off x="4167761" y="1843255"/>
            <a:ext cx="2661364" cy="3595851"/>
          </a:xfrm>
          <a:prstGeom prst="ellipse">
            <a:avLst/>
          </a:prstGeom>
          <a:noFill/>
        </p:spPr>
        <p:txBody>
          <a:bodyPr spcFirstLastPara="1" wrap="none" lIns="91412" tIns="45705" rIns="91412" bIns="45705" numCol="1" rtlCol="0">
            <a:prstTxWarp prst="textCircle">
              <a:avLst>
                <a:gd name="adj" fmla="val 19574869"/>
              </a:avLst>
            </a:prstTxWarp>
            <a:spAutoFit/>
          </a:bodyPr>
          <a:lstStyle/>
          <a:p>
            <a:r>
              <a:rPr lang="fr-BE" sz="1400" dirty="0">
                <a:solidFill>
                  <a:schemeClr val="bg1"/>
                </a:solidFill>
                <a:latin typeface="Trebuchet MS" pitchFamily="34" charset="0"/>
              </a:rPr>
              <a:t>CENSORS</a:t>
            </a:r>
          </a:p>
        </p:txBody>
      </p:sp>
      <p:sp>
        <p:nvSpPr>
          <p:cNvPr id="521" name="Rectangle 520"/>
          <p:cNvSpPr/>
          <p:nvPr/>
        </p:nvSpPr>
        <p:spPr>
          <a:xfrm rot="2944435">
            <a:off x="6095359" y="1029055"/>
            <a:ext cx="750294" cy="307682"/>
          </a:xfrm>
          <a:prstGeom prst="rect">
            <a:avLst/>
          </a:prstGeom>
        </p:spPr>
        <p:txBody>
          <a:bodyPr wrap="none" lIns="91394" tIns="45696" rIns="91394" bIns="45696">
            <a:spAutoFit/>
          </a:bodyPr>
          <a:lstStyle/>
          <a:p>
            <a:r>
              <a:rPr lang="fr-BE" sz="1400" dirty="0">
                <a:solidFill>
                  <a:schemeClr val="bg1"/>
                </a:solidFill>
                <a:latin typeface="Trebuchet MS" pitchFamily="34" charset="0"/>
              </a:rPr>
              <a:t>ASSETS</a:t>
            </a:r>
          </a:p>
        </p:txBody>
      </p:sp>
      <p:pic>
        <p:nvPicPr>
          <p:cNvPr id="522" name="Image 14" descr="logo.ale.bw_HD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106" y="4753871"/>
            <a:ext cx="1118649" cy="299797"/>
          </a:xfrm>
          <a:prstGeom prst="rect">
            <a:avLst/>
          </a:prstGeom>
        </p:spPr>
      </p:pic>
      <p:grpSp>
        <p:nvGrpSpPr>
          <p:cNvPr id="523" name="Group 173"/>
          <p:cNvGrpSpPr/>
          <p:nvPr/>
        </p:nvGrpSpPr>
        <p:grpSpPr>
          <a:xfrm>
            <a:off x="6087906" y="4666440"/>
            <a:ext cx="396785" cy="777497"/>
            <a:chOff x="5495430" y="4619739"/>
            <a:chExt cx="396907" cy="777737"/>
          </a:xfrm>
        </p:grpSpPr>
        <p:grpSp>
          <p:nvGrpSpPr>
            <p:cNvPr id="524" name="Groupe 2991"/>
            <p:cNvGrpSpPr/>
            <p:nvPr/>
          </p:nvGrpSpPr>
          <p:grpSpPr>
            <a:xfrm>
              <a:off x="5495430" y="4619739"/>
              <a:ext cx="396907" cy="777737"/>
              <a:chOff x="2094041" y="5269433"/>
              <a:chExt cx="589739" cy="1155433"/>
            </a:xfrm>
          </p:grpSpPr>
          <p:grpSp>
            <p:nvGrpSpPr>
              <p:cNvPr id="526" name="Groupe 38"/>
              <p:cNvGrpSpPr/>
              <p:nvPr/>
            </p:nvGrpSpPr>
            <p:grpSpPr>
              <a:xfrm>
                <a:off x="2094041" y="5269433"/>
                <a:ext cx="589739" cy="589739"/>
                <a:chOff x="2330283" y="5269433"/>
                <a:chExt cx="589739" cy="589739"/>
              </a:xfrm>
            </p:grpSpPr>
            <p:sp>
              <p:nvSpPr>
                <p:cNvPr id="528" name="Ellipse 233"/>
                <p:cNvSpPr/>
                <p:nvPr/>
              </p:nvSpPr>
              <p:spPr>
                <a:xfrm>
                  <a:off x="2330283" y="5269433"/>
                  <a:ext cx="589739" cy="589739"/>
                </a:xfrm>
                <a:prstGeom prst="ellipse">
                  <a:avLst/>
                </a:prstGeom>
                <a:solidFill>
                  <a:srgbClr val="1289B4"/>
                </a:solidFill>
                <a:ln w="38100">
                  <a:solidFill>
                    <a:srgbClr val="29DBFF"/>
                  </a:solidFill>
                </a:ln>
              </p:spPr>
              <p:txBody>
                <a:bodyPr wrap="none" rtlCol="0" anchor="ctr">
                  <a:noAutofit/>
                </a:bodyPr>
                <a:lstStyle/>
                <a:p>
                  <a:pPr algn="ctr"/>
                  <a:endParaRPr lang="fr-BE" dirty="0"/>
                </a:p>
              </p:txBody>
            </p:sp>
            <p:grpSp>
              <p:nvGrpSpPr>
                <p:cNvPr id="529" name="Group 11"/>
                <p:cNvGrpSpPr>
                  <a:grpSpLocks noChangeAspect="1"/>
                </p:cNvGrpSpPr>
                <p:nvPr/>
              </p:nvGrpSpPr>
              <p:grpSpPr bwMode="auto">
                <a:xfrm>
                  <a:off x="2622058" y="5581740"/>
                  <a:ext cx="160728" cy="95177"/>
                  <a:chOff x="-1490" y="2592"/>
                  <a:chExt cx="1785" cy="1057"/>
                </a:xfrm>
                <a:solidFill>
                  <a:schemeClr val="bg1"/>
                </a:solidFill>
              </p:grpSpPr>
              <p:sp>
                <p:nvSpPr>
                  <p:cNvPr id="530" name="Freeform 13"/>
                  <p:cNvSpPr>
                    <a:spLocks/>
                  </p:cNvSpPr>
                  <p:nvPr/>
                </p:nvSpPr>
                <p:spPr bwMode="auto">
                  <a:xfrm>
                    <a:off x="279" y="3470"/>
                    <a:ext cx="16" cy="179"/>
                  </a:xfrm>
                  <a:custGeom>
                    <a:avLst/>
                    <a:gdLst>
                      <a:gd name="T0" fmla="*/ 0 w 16"/>
                      <a:gd name="T1" fmla="*/ 0 h 179"/>
                      <a:gd name="T2" fmla="*/ 0 w 16"/>
                      <a:gd name="T3" fmla="*/ 1 h 179"/>
                      <a:gd name="T4" fmla="*/ 0 w 16"/>
                      <a:gd name="T5" fmla="*/ 3 h 179"/>
                      <a:gd name="T6" fmla="*/ 0 w 16"/>
                      <a:gd name="T7" fmla="*/ 6 h 179"/>
                      <a:gd name="T8" fmla="*/ 0 w 16"/>
                      <a:gd name="T9" fmla="*/ 10 h 179"/>
                      <a:gd name="T10" fmla="*/ 2 w 16"/>
                      <a:gd name="T11" fmla="*/ 15 h 179"/>
                      <a:gd name="T12" fmla="*/ 2 w 16"/>
                      <a:gd name="T13" fmla="*/ 20 h 179"/>
                      <a:gd name="T14" fmla="*/ 3 w 16"/>
                      <a:gd name="T15" fmla="*/ 27 h 179"/>
                      <a:gd name="T16" fmla="*/ 3 w 16"/>
                      <a:gd name="T17" fmla="*/ 35 h 179"/>
                      <a:gd name="T18" fmla="*/ 4 w 16"/>
                      <a:gd name="T19" fmla="*/ 43 h 179"/>
                      <a:gd name="T20" fmla="*/ 4 w 16"/>
                      <a:gd name="T21" fmla="*/ 51 h 179"/>
                      <a:gd name="T22" fmla="*/ 6 w 16"/>
                      <a:gd name="T23" fmla="*/ 58 h 179"/>
                      <a:gd name="T24" fmla="*/ 6 w 16"/>
                      <a:gd name="T25" fmla="*/ 68 h 179"/>
                      <a:gd name="T26" fmla="*/ 7 w 16"/>
                      <a:gd name="T27" fmla="*/ 77 h 179"/>
                      <a:gd name="T28" fmla="*/ 8 w 16"/>
                      <a:gd name="T29" fmla="*/ 86 h 179"/>
                      <a:gd name="T30" fmla="*/ 8 w 16"/>
                      <a:gd name="T31" fmla="*/ 95 h 179"/>
                      <a:gd name="T32" fmla="*/ 10 w 16"/>
                      <a:gd name="T33" fmla="*/ 104 h 179"/>
                      <a:gd name="T34" fmla="*/ 11 w 16"/>
                      <a:gd name="T35" fmla="*/ 113 h 179"/>
                      <a:gd name="T36" fmla="*/ 11 w 16"/>
                      <a:gd name="T37" fmla="*/ 121 h 179"/>
                      <a:gd name="T38" fmla="*/ 12 w 16"/>
                      <a:gd name="T39" fmla="*/ 130 h 179"/>
                      <a:gd name="T40" fmla="*/ 12 w 16"/>
                      <a:gd name="T41" fmla="*/ 138 h 179"/>
                      <a:gd name="T42" fmla="*/ 13 w 16"/>
                      <a:gd name="T43" fmla="*/ 146 h 179"/>
                      <a:gd name="T44" fmla="*/ 13 w 16"/>
                      <a:gd name="T45" fmla="*/ 153 h 179"/>
                      <a:gd name="T46" fmla="*/ 15 w 16"/>
                      <a:gd name="T47" fmla="*/ 159 h 179"/>
                      <a:gd name="T48" fmla="*/ 15 w 16"/>
                      <a:gd name="T49" fmla="*/ 164 h 179"/>
                      <a:gd name="T50" fmla="*/ 15 w 16"/>
                      <a:gd name="T51" fmla="*/ 170 h 179"/>
                      <a:gd name="T52" fmla="*/ 16 w 16"/>
                      <a:gd name="T53" fmla="*/ 174 h 179"/>
                      <a:gd name="T54" fmla="*/ 16 w 16"/>
                      <a:gd name="T55" fmla="*/ 176 h 179"/>
                      <a:gd name="T56" fmla="*/ 16 w 16"/>
                      <a:gd name="T57" fmla="*/ 178 h 179"/>
                      <a:gd name="T58" fmla="*/ 16 w 16"/>
                      <a:gd name="T59" fmla="*/ 179 h 179"/>
                      <a:gd name="T60" fmla="*/ 16 w 16"/>
                      <a:gd name="T61" fmla="*/ 178 h 179"/>
                      <a:gd name="T62" fmla="*/ 16 w 16"/>
                      <a:gd name="T63" fmla="*/ 175 h 179"/>
                      <a:gd name="T64" fmla="*/ 16 w 16"/>
                      <a:gd name="T65" fmla="*/ 172 h 179"/>
                      <a:gd name="T66" fmla="*/ 15 w 16"/>
                      <a:gd name="T67" fmla="*/ 167 h 179"/>
                      <a:gd name="T68" fmla="*/ 15 w 16"/>
                      <a:gd name="T69" fmla="*/ 161 h 179"/>
                      <a:gd name="T70" fmla="*/ 13 w 16"/>
                      <a:gd name="T71" fmla="*/ 153 h 179"/>
                      <a:gd name="T72" fmla="*/ 12 w 16"/>
                      <a:gd name="T73" fmla="*/ 142 h 179"/>
                      <a:gd name="T74" fmla="*/ 12 w 16"/>
                      <a:gd name="T75" fmla="*/ 130 h 179"/>
                      <a:gd name="T76" fmla="*/ 10 w 16"/>
                      <a:gd name="T77" fmla="*/ 108 h 179"/>
                      <a:gd name="T78" fmla="*/ 8 w 16"/>
                      <a:gd name="T79" fmla="*/ 90 h 179"/>
                      <a:gd name="T80" fmla="*/ 7 w 16"/>
                      <a:gd name="T81" fmla="*/ 72 h 179"/>
                      <a:gd name="T82" fmla="*/ 6 w 16"/>
                      <a:gd name="T83" fmla="*/ 57 h 179"/>
                      <a:gd name="T84" fmla="*/ 4 w 16"/>
                      <a:gd name="T85" fmla="*/ 44 h 179"/>
                      <a:gd name="T86" fmla="*/ 3 w 16"/>
                      <a:gd name="T87" fmla="*/ 32 h 179"/>
                      <a:gd name="T88" fmla="*/ 2 w 16"/>
                      <a:gd name="T89" fmla="*/ 23 h 179"/>
                      <a:gd name="T90" fmla="*/ 2 w 16"/>
                      <a:gd name="T91" fmla="*/ 15 h 179"/>
                      <a:gd name="T92" fmla="*/ 0 w 16"/>
                      <a:gd name="T93" fmla="*/ 9 h 179"/>
                      <a:gd name="T94" fmla="*/ 0 w 16"/>
                      <a:gd name="T95" fmla="*/ 5 h 179"/>
                      <a:gd name="T96" fmla="*/ 0 w 16"/>
                      <a:gd name="T97" fmla="*/ 2 h 179"/>
                      <a:gd name="T98" fmla="*/ 0 w 16"/>
                      <a:gd name="T99" fmla="*/ 0 h 179"/>
                      <a:gd name="T100" fmla="*/ 0 w 16"/>
                      <a:gd name="T101" fmla="*/ 0 h 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</a:cxnLst>
                    <a:rect l="0" t="0" r="r" b="b"/>
                    <a:pathLst>
                      <a:path w="16" h="179">
                        <a:moveTo>
                          <a:pt x="0" y="0"/>
                        </a:moveTo>
                        <a:lnTo>
                          <a:pt x="0" y="1"/>
                        </a:lnTo>
                        <a:lnTo>
                          <a:pt x="0" y="3"/>
                        </a:lnTo>
                        <a:lnTo>
                          <a:pt x="0" y="6"/>
                        </a:lnTo>
                        <a:lnTo>
                          <a:pt x="0" y="10"/>
                        </a:lnTo>
                        <a:lnTo>
                          <a:pt x="2" y="15"/>
                        </a:lnTo>
                        <a:lnTo>
                          <a:pt x="2" y="20"/>
                        </a:lnTo>
                        <a:lnTo>
                          <a:pt x="3" y="27"/>
                        </a:lnTo>
                        <a:lnTo>
                          <a:pt x="3" y="35"/>
                        </a:lnTo>
                        <a:lnTo>
                          <a:pt x="4" y="43"/>
                        </a:lnTo>
                        <a:lnTo>
                          <a:pt x="4" y="51"/>
                        </a:lnTo>
                        <a:lnTo>
                          <a:pt x="6" y="58"/>
                        </a:lnTo>
                        <a:lnTo>
                          <a:pt x="6" y="68"/>
                        </a:lnTo>
                        <a:lnTo>
                          <a:pt x="7" y="77"/>
                        </a:lnTo>
                        <a:lnTo>
                          <a:pt x="8" y="86"/>
                        </a:lnTo>
                        <a:lnTo>
                          <a:pt x="8" y="95"/>
                        </a:lnTo>
                        <a:lnTo>
                          <a:pt x="10" y="104"/>
                        </a:lnTo>
                        <a:lnTo>
                          <a:pt x="11" y="113"/>
                        </a:lnTo>
                        <a:lnTo>
                          <a:pt x="11" y="121"/>
                        </a:lnTo>
                        <a:lnTo>
                          <a:pt x="12" y="130"/>
                        </a:lnTo>
                        <a:lnTo>
                          <a:pt x="12" y="138"/>
                        </a:lnTo>
                        <a:lnTo>
                          <a:pt x="13" y="146"/>
                        </a:lnTo>
                        <a:lnTo>
                          <a:pt x="13" y="153"/>
                        </a:lnTo>
                        <a:lnTo>
                          <a:pt x="15" y="159"/>
                        </a:lnTo>
                        <a:lnTo>
                          <a:pt x="15" y="164"/>
                        </a:lnTo>
                        <a:lnTo>
                          <a:pt x="15" y="170"/>
                        </a:lnTo>
                        <a:lnTo>
                          <a:pt x="16" y="174"/>
                        </a:lnTo>
                        <a:lnTo>
                          <a:pt x="16" y="176"/>
                        </a:lnTo>
                        <a:lnTo>
                          <a:pt x="16" y="178"/>
                        </a:lnTo>
                        <a:lnTo>
                          <a:pt x="16" y="179"/>
                        </a:lnTo>
                        <a:lnTo>
                          <a:pt x="16" y="178"/>
                        </a:lnTo>
                        <a:lnTo>
                          <a:pt x="16" y="175"/>
                        </a:lnTo>
                        <a:lnTo>
                          <a:pt x="16" y="172"/>
                        </a:lnTo>
                        <a:lnTo>
                          <a:pt x="15" y="167"/>
                        </a:lnTo>
                        <a:lnTo>
                          <a:pt x="15" y="161"/>
                        </a:lnTo>
                        <a:lnTo>
                          <a:pt x="13" y="153"/>
                        </a:lnTo>
                        <a:lnTo>
                          <a:pt x="12" y="142"/>
                        </a:lnTo>
                        <a:lnTo>
                          <a:pt x="12" y="130"/>
                        </a:lnTo>
                        <a:lnTo>
                          <a:pt x="10" y="108"/>
                        </a:lnTo>
                        <a:lnTo>
                          <a:pt x="8" y="90"/>
                        </a:lnTo>
                        <a:lnTo>
                          <a:pt x="7" y="72"/>
                        </a:lnTo>
                        <a:lnTo>
                          <a:pt x="6" y="57"/>
                        </a:lnTo>
                        <a:lnTo>
                          <a:pt x="4" y="44"/>
                        </a:lnTo>
                        <a:lnTo>
                          <a:pt x="3" y="32"/>
                        </a:lnTo>
                        <a:lnTo>
                          <a:pt x="2" y="23"/>
                        </a:lnTo>
                        <a:lnTo>
                          <a:pt x="2" y="15"/>
                        </a:lnTo>
                        <a:lnTo>
                          <a:pt x="0" y="9"/>
                        </a:lnTo>
                        <a:lnTo>
                          <a:pt x="0" y="5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12" tIns="45706" rIns="91412" bIns="4570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BE" dirty="0"/>
                  </a:p>
                </p:txBody>
              </p:sp>
              <p:sp>
                <p:nvSpPr>
                  <p:cNvPr id="531" name="Freeform 15"/>
                  <p:cNvSpPr>
                    <a:spLocks/>
                  </p:cNvSpPr>
                  <p:nvPr/>
                </p:nvSpPr>
                <p:spPr bwMode="auto">
                  <a:xfrm>
                    <a:off x="-1490" y="2592"/>
                    <a:ext cx="86" cy="264"/>
                  </a:xfrm>
                  <a:custGeom>
                    <a:avLst/>
                    <a:gdLst>
                      <a:gd name="T0" fmla="*/ 86 w 86"/>
                      <a:gd name="T1" fmla="*/ 0 h 264"/>
                      <a:gd name="T2" fmla="*/ 86 w 86"/>
                      <a:gd name="T3" fmla="*/ 264 h 264"/>
                      <a:gd name="T4" fmla="*/ 60 w 86"/>
                      <a:gd name="T5" fmla="*/ 247 h 264"/>
                      <a:gd name="T6" fmla="*/ 37 w 86"/>
                      <a:gd name="T7" fmla="*/ 227 h 264"/>
                      <a:gd name="T8" fmla="*/ 20 w 86"/>
                      <a:gd name="T9" fmla="*/ 207 h 264"/>
                      <a:gd name="T10" fmla="*/ 10 w 86"/>
                      <a:gd name="T11" fmla="*/ 185 h 264"/>
                      <a:gd name="T12" fmla="*/ 2 w 86"/>
                      <a:gd name="T13" fmla="*/ 159 h 264"/>
                      <a:gd name="T14" fmla="*/ 0 w 86"/>
                      <a:gd name="T15" fmla="*/ 131 h 264"/>
                      <a:gd name="T16" fmla="*/ 2 w 86"/>
                      <a:gd name="T17" fmla="*/ 104 h 264"/>
                      <a:gd name="T18" fmla="*/ 10 w 86"/>
                      <a:gd name="T19" fmla="*/ 79 h 264"/>
                      <a:gd name="T20" fmla="*/ 22 w 86"/>
                      <a:gd name="T21" fmla="*/ 55 h 264"/>
                      <a:gd name="T22" fmla="*/ 39 w 86"/>
                      <a:gd name="T23" fmla="*/ 33 h 264"/>
                      <a:gd name="T24" fmla="*/ 60 w 86"/>
                      <a:gd name="T25" fmla="*/ 15 h 264"/>
                      <a:gd name="T26" fmla="*/ 86 w 86"/>
                      <a:gd name="T27" fmla="*/ 0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6" h="264">
                        <a:moveTo>
                          <a:pt x="86" y="0"/>
                        </a:moveTo>
                        <a:lnTo>
                          <a:pt x="86" y="264"/>
                        </a:lnTo>
                        <a:lnTo>
                          <a:pt x="60" y="247"/>
                        </a:lnTo>
                        <a:lnTo>
                          <a:pt x="37" y="227"/>
                        </a:lnTo>
                        <a:lnTo>
                          <a:pt x="20" y="207"/>
                        </a:lnTo>
                        <a:lnTo>
                          <a:pt x="10" y="185"/>
                        </a:lnTo>
                        <a:lnTo>
                          <a:pt x="2" y="159"/>
                        </a:lnTo>
                        <a:lnTo>
                          <a:pt x="0" y="131"/>
                        </a:lnTo>
                        <a:lnTo>
                          <a:pt x="2" y="104"/>
                        </a:lnTo>
                        <a:lnTo>
                          <a:pt x="10" y="79"/>
                        </a:lnTo>
                        <a:lnTo>
                          <a:pt x="22" y="55"/>
                        </a:lnTo>
                        <a:lnTo>
                          <a:pt x="39" y="33"/>
                        </a:lnTo>
                        <a:lnTo>
                          <a:pt x="60" y="15"/>
                        </a:lnTo>
                        <a:lnTo>
                          <a:pt x="86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12" tIns="45706" rIns="91412" bIns="4570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BE" dirty="0"/>
                  </a:p>
                </p:txBody>
              </p:sp>
              <p:sp>
                <p:nvSpPr>
                  <p:cNvPr id="532" name="Freeform 16"/>
                  <p:cNvSpPr>
                    <a:spLocks/>
                  </p:cNvSpPr>
                  <p:nvPr/>
                </p:nvSpPr>
                <p:spPr bwMode="auto">
                  <a:xfrm>
                    <a:off x="-1239" y="3087"/>
                    <a:ext cx="115" cy="317"/>
                  </a:xfrm>
                  <a:custGeom>
                    <a:avLst/>
                    <a:gdLst>
                      <a:gd name="T0" fmla="*/ 0 w 115"/>
                      <a:gd name="T1" fmla="*/ 0 h 317"/>
                      <a:gd name="T2" fmla="*/ 36 w 115"/>
                      <a:gd name="T3" fmla="*/ 23 h 317"/>
                      <a:gd name="T4" fmla="*/ 65 w 115"/>
                      <a:gd name="T5" fmla="*/ 46 h 317"/>
                      <a:gd name="T6" fmla="*/ 88 w 115"/>
                      <a:gd name="T7" fmla="*/ 71 h 317"/>
                      <a:gd name="T8" fmla="*/ 103 w 115"/>
                      <a:gd name="T9" fmla="*/ 98 h 317"/>
                      <a:gd name="T10" fmla="*/ 111 w 115"/>
                      <a:gd name="T11" fmla="*/ 130 h 317"/>
                      <a:gd name="T12" fmla="*/ 115 w 115"/>
                      <a:gd name="T13" fmla="*/ 165 h 317"/>
                      <a:gd name="T14" fmla="*/ 112 w 115"/>
                      <a:gd name="T15" fmla="*/ 194 h 317"/>
                      <a:gd name="T16" fmla="*/ 105 w 115"/>
                      <a:gd name="T17" fmla="*/ 220 h 317"/>
                      <a:gd name="T18" fmla="*/ 94 w 115"/>
                      <a:gd name="T19" fmla="*/ 245 h 317"/>
                      <a:gd name="T20" fmla="*/ 77 w 115"/>
                      <a:gd name="T21" fmla="*/ 267 h 317"/>
                      <a:gd name="T22" fmla="*/ 56 w 115"/>
                      <a:gd name="T23" fmla="*/ 287 h 317"/>
                      <a:gd name="T24" fmla="*/ 30 w 115"/>
                      <a:gd name="T25" fmla="*/ 304 h 317"/>
                      <a:gd name="T26" fmla="*/ 0 w 115"/>
                      <a:gd name="T27" fmla="*/ 317 h 317"/>
                      <a:gd name="T28" fmla="*/ 0 w 115"/>
                      <a:gd name="T29" fmla="*/ 0 h 3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15" h="317">
                        <a:moveTo>
                          <a:pt x="0" y="0"/>
                        </a:moveTo>
                        <a:lnTo>
                          <a:pt x="36" y="23"/>
                        </a:lnTo>
                        <a:lnTo>
                          <a:pt x="65" y="46"/>
                        </a:lnTo>
                        <a:lnTo>
                          <a:pt x="88" y="71"/>
                        </a:lnTo>
                        <a:lnTo>
                          <a:pt x="103" y="98"/>
                        </a:lnTo>
                        <a:lnTo>
                          <a:pt x="111" y="130"/>
                        </a:lnTo>
                        <a:lnTo>
                          <a:pt x="115" y="165"/>
                        </a:lnTo>
                        <a:lnTo>
                          <a:pt x="112" y="194"/>
                        </a:lnTo>
                        <a:lnTo>
                          <a:pt x="105" y="220"/>
                        </a:lnTo>
                        <a:lnTo>
                          <a:pt x="94" y="245"/>
                        </a:lnTo>
                        <a:lnTo>
                          <a:pt x="77" y="267"/>
                        </a:lnTo>
                        <a:lnTo>
                          <a:pt x="56" y="287"/>
                        </a:lnTo>
                        <a:lnTo>
                          <a:pt x="30" y="304"/>
                        </a:lnTo>
                        <a:lnTo>
                          <a:pt x="0" y="31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12" tIns="45706" rIns="91412" bIns="4570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BE" dirty="0"/>
                  </a:p>
                </p:txBody>
              </p:sp>
            </p:grpSp>
          </p:grpSp>
          <p:sp>
            <p:nvSpPr>
              <p:cNvPr id="527" name="ZoneTexte 232"/>
              <p:cNvSpPr txBox="1"/>
              <p:nvPr/>
            </p:nvSpPr>
            <p:spPr>
              <a:xfrm>
                <a:off x="2251672" y="5876174"/>
                <a:ext cx="274480" cy="54869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endParaRPr lang="fr-BE" dirty="0"/>
              </a:p>
            </p:txBody>
          </p:sp>
        </p:grpSp>
        <p:sp>
          <p:nvSpPr>
            <p:cNvPr id="525" name="Freeform 47"/>
            <p:cNvSpPr>
              <a:spLocks noEditPoints="1"/>
            </p:cNvSpPr>
            <p:nvPr/>
          </p:nvSpPr>
          <p:spPr bwMode="auto">
            <a:xfrm>
              <a:off x="5560829" y="4710285"/>
              <a:ext cx="265814" cy="191916"/>
            </a:xfrm>
            <a:custGeom>
              <a:avLst/>
              <a:gdLst/>
              <a:ahLst/>
              <a:cxnLst>
                <a:cxn ang="0">
                  <a:pos x="688" y="403"/>
                </a:cxn>
                <a:cxn ang="0">
                  <a:pos x="670" y="384"/>
                </a:cxn>
                <a:cxn ang="0">
                  <a:pos x="616" y="344"/>
                </a:cxn>
                <a:cxn ang="0">
                  <a:pos x="582" y="322"/>
                </a:cxn>
                <a:cxn ang="0">
                  <a:pos x="117" y="322"/>
                </a:cxn>
                <a:cxn ang="0">
                  <a:pos x="79" y="343"/>
                </a:cxn>
                <a:cxn ang="0">
                  <a:pos x="25" y="384"/>
                </a:cxn>
                <a:cxn ang="0">
                  <a:pos x="3" y="406"/>
                </a:cxn>
                <a:cxn ang="0">
                  <a:pos x="25" y="429"/>
                </a:cxn>
                <a:cxn ang="0">
                  <a:pos x="670" y="429"/>
                </a:cxn>
                <a:cxn ang="0">
                  <a:pos x="688" y="403"/>
                </a:cxn>
                <a:cxn ang="0">
                  <a:pos x="127" y="181"/>
                </a:cxn>
                <a:cxn ang="0">
                  <a:pos x="154" y="154"/>
                </a:cxn>
                <a:cxn ang="0">
                  <a:pos x="127" y="126"/>
                </a:cxn>
                <a:cxn ang="0">
                  <a:pos x="100" y="154"/>
                </a:cxn>
                <a:cxn ang="0">
                  <a:pos x="127" y="181"/>
                </a:cxn>
                <a:cxn ang="0">
                  <a:pos x="599" y="224"/>
                </a:cxn>
                <a:cxn ang="0">
                  <a:pos x="487" y="80"/>
                </a:cxn>
                <a:cxn ang="0">
                  <a:pos x="387" y="79"/>
                </a:cxn>
                <a:cxn ang="0">
                  <a:pos x="371" y="57"/>
                </a:cxn>
                <a:cxn ang="0">
                  <a:pos x="382" y="32"/>
                </a:cxn>
                <a:cxn ang="0">
                  <a:pos x="350" y="0"/>
                </a:cxn>
                <a:cxn ang="0">
                  <a:pos x="317" y="32"/>
                </a:cxn>
                <a:cxn ang="0">
                  <a:pos x="330" y="58"/>
                </a:cxn>
                <a:cxn ang="0">
                  <a:pos x="314" y="79"/>
                </a:cxn>
                <a:cxn ang="0">
                  <a:pos x="216" y="80"/>
                </a:cxn>
                <a:cxn ang="0">
                  <a:pos x="166" y="99"/>
                </a:cxn>
                <a:cxn ang="0">
                  <a:pos x="192" y="153"/>
                </a:cxn>
                <a:cxn ang="0">
                  <a:pos x="120" y="225"/>
                </a:cxn>
                <a:cxn ang="0">
                  <a:pos x="98" y="221"/>
                </a:cxn>
                <a:cxn ang="0">
                  <a:pos x="116" y="289"/>
                </a:cxn>
                <a:cxn ang="0">
                  <a:pos x="579" y="289"/>
                </a:cxn>
                <a:cxn ang="0">
                  <a:pos x="599" y="224"/>
                </a:cxn>
              </a:cxnLst>
              <a:rect l="0" t="0" r="r" b="b"/>
              <a:pathLst>
                <a:path w="693" h="429">
                  <a:moveTo>
                    <a:pt x="688" y="403"/>
                  </a:moveTo>
                  <a:cubicBezTo>
                    <a:pt x="688" y="389"/>
                    <a:pt x="670" y="384"/>
                    <a:pt x="670" y="384"/>
                  </a:cubicBezTo>
                  <a:cubicBezTo>
                    <a:pt x="670" y="384"/>
                    <a:pt x="629" y="377"/>
                    <a:pt x="616" y="344"/>
                  </a:cubicBezTo>
                  <a:cubicBezTo>
                    <a:pt x="616" y="344"/>
                    <a:pt x="604" y="322"/>
                    <a:pt x="582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93" y="322"/>
                    <a:pt x="79" y="343"/>
                    <a:pt x="79" y="343"/>
                  </a:cubicBezTo>
                  <a:cubicBezTo>
                    <a:pt x="72" y="361"/>
                    <a:pt x="57" y="384"/>
                    <a:pt x="25" y="384"/>
                  </a:cubicBezTo>
                  <a:cubicBezTo>
                    <a:pt x="25" y="384"/>
                    <a:pt x="3" y="390"/>
                    <a:pt x="3" y="406"/>
                  </a:cubicBezTo>
                  <a:cubicBezTo>
                    <a:pt x="3" y="406"/>
                    <a:pt x="0" y="429"/>
                    <a:pt x="25" y="429"/>
                  </a:cubicBezTo>
                  <a:cubicBezTo>
                    <a:pt x="670" y="429"/>
                    <a:pt x="670" y="429"/>
                    <a:pt x="670" y="429"/>
                  </a:cubicBezTo>
                  <a:cubicBezTo>
                    <a:pt x="693" y="429"/>
                    <a:pt x="688" y="403"/>
                    <a:pt x="688" y="403"/>
                  </a:cubicBezTo>
                  <a:close/>
                  <a:moveTo>
                    <a:pt x="127" y="181"/>
                  </a:moveTo>
                  <a:cubicBezTo>
                    <a:pt x="142" y="181"/>
                    <a:pt x="154" y="169"/>
                    <a:pt x="154" y="154"/>
                  </a:cubicBezTo>
                  <a:cubicBezTo>
                    <a:pt x="154" y="139"/>
                    <a:pt x="142" y="126"/>
                    <a:pt x="127" y="126"/>
                  </a:cubicBezTo>
                  <a:cubicBezTo>
                    <a:pt x="112" y="126"/>
                    <a:pt x="100" y="139"/>
                    <a:pt x="100" y="154"/>
                  </a:cubicBezTo>
                  <a:cubicBezTo>
                    <a:pt x="100" y="169"/>
                    <a:pt x="112" y="181"/>
                    <a:pt x="127" y="181"/>
                  </a:cubicBezTo>
                  <a:close/>
                  <a:moveTo>
                    <a:pt x="599" y="224"/>
                  </a:moveTo>
                  <a:cubicBezTo>
                    <a:pt x="599" y="224"/>
                    <a:pt x="591" y="82"/>
                    <a:pt x="487" y="80"/>
                  </a:cubicBezTo>
                  <a:cubicBezTo>
                    <a:pt x="457" y="80"/>
                    <a:pt x="422" y="79"/>
                    <a:pt x="387" y="79"/>
                  </a:cubicBezTo>
                  <a:cubicBezTo>
                    <a:pt x="366" y="71"/>
                    <a:pt x="371" y="57"/>
                    <a:pt x="371" y="57"/>
                  </a:cubicBezTo>
                  <a:cubicBezTo>
                    <a:pt x="383" y="49"/>
                    <a:pt x="382" y="32"/>
                    <a:pt x="382" y="32"/>
                  </a:cubicBezTo>
                  <a:cubicBezTo>
                    <a:pt x="382" y="14"/>
                    <a:pt x="368" y="0"/>
                    <a:pt x="350" y="0"/>
                  </a:cubicBezTo>
                  <a:cubicBezTo>
                    <a:pt x="332" y="0"/>
                    <a:pt x="317" y="14"/>
                    <a:pt x="317" y="32"/>
                  </a:cubicBezTo>
                  <a:cubicBezTo>
                    <a:pt x="317" y="32"/>
                    <a:pt x="317" y="50"/>
                    <a:pt x="330" y="58"/>
                  </a:cubicBezTo>
                  <a:cubicBezTo>
                    <a:pt x="330" y="58"/>
                    <a:pt x="336" y="71"/>
                    <a:pt x="314" y="79"/>
                  </a:cubicBezTo>
                  <a:cubicBezTo>
                    <a:pt x="259" y="80"/>
                    <a:pt x="216" y="80"/>
                    <a:pt x="216" y="80"/>
                  </a:cubicBezTo>
                  <a:cubicBezTo>
                    <a:pt x="216" y="80"/>
                    <a:pt x="193" y="83"/>
                    <a:pt x="166" y="99"/>
                  </a:cubicBezTo>
                  <a:cubicBezTo>
                    <a:pt x="182" y="112"/>
                    <a:pt x="192" y="132"/>
                    <a:pt x="192" y="153"/>
                  </a:cubicBezTo>
                  <a:cubicBezTo>
                    <a:pt x="192" y="193"/>
                    <a:pt x="160" y="225"/>
                    <a:pt x="120" y="225"/>
                  </a:cubicBezTo>
                  <a:cubicBezTo>
                    <a:pt x="113" y="225"/>
                    <a:pt x="105" y="223"/>
                    <a:pt x="98" y="221"/>
                  </a:cubicBezTo>
                  <a:cubicBezTo>
                    <a:pt x="98" y="229"/>
                    <a:pt x="88" y="289"/>
                    <a:pt x="116" y="289"/>
                  </a:cubicBezTo>
                  <a:cubicBezTo>
                    <a:pt x="579" y="289"/>
                    <a:pt x="579" y="289"/>
                    <a:pt x="579" y="289"/>
                  </a:cubicBezTo>
                  <a:cubicBezTo>
                    <a:pt x="604" y="289"/>
                    <a:pt x="601" y="254"/>
                    <a:pt x="599" y="22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91430" tIns="45715" rIns="91430" bIns="45715"/>
            <a:lstStyle/>
            <a:p>
              <a:pPr>
                <a:buFont typeface="Times New Roman" pitchFamily="18" charset="0"/>
                <a:buNone/>
                <a:defRPr/>
              </a:pPr>
              <a:endParaRPr lang="en-US" dirty="0">
                <a:solidFill>
                  <a:srgbClr val="000000"/>
                </a:solidFill>
                <a:latin typeface="Trebuchet MS"/>
                <a:ea typeface="MS PGothic"/>
                <a:cs typeface="MS PGothic"/>
              </a:endParaRPr>
            </a:p>
          </p:txBody>
        </p:sp>
      </p:grpSp>
      <p:grpSp>
        <p:nvGrpSpPr>
          <p:cNvPr id="533" name="Group 195"/>
          <p:cNvGrpSpPr/>
          <p:nvPr/>
        </p:nvGrpSpPr>
        <p:grpSpPr>
          <a:xfrm>
            <a:off x="5991669" y="75413"/>
            <a:ext cx="396785" cy="396838"/>
            <a:chOff x="9520786" y="1314885"/>
            <a:chExt cx="396907" cy="396960"/>
          </a:xfrm>
        </p:grpSpPr>
        <p:sp>
          <p:nvSpPr>
            <p:cNvPr id="534" name="Ellipse 282"/>
            <p:cNvSpPr/>
            <p:nvPr/>
          </p:nvSpPr>
          <p:spPr>
            <a:xfrm>
              <a:off x="9520786" y="1314885"/>
              <a:ext cx="396907" cy="396960"/>
            </a:xfrm>
            <a:prstGeom prst="ellipse">
              <a:avLst/>
            </a:prstGeom>
            <a:solidFill>
              <a:srgbClr val="1289B4"/>
            </a:solidFill>
            <a:ln w="38100">
              <a:solidFill>
                <a:srgbClr val="29DBFF"/>
              </a:solidFill>
            </a:ln>
          </p:spPr>
          <p:txBody>
            <a:bodyPr wrap="none" rtlCol="0" anchor="ctr">
              <a:noAutofit/>
            </a:bodyPr>
            <a:lstStyle/>
            <a:p>
              <a:pPr algn="ctr"/>
              <a:endParaRPr lang="fr-BE" dirty="0"/>
            </a:p>
          </p:txBody>
        </p:sp>
        <p:grpSp>
          <p:nvGrpSpPr>
            <p:cNvPr id="535" name="Group 194"/>
            <p:cNvGrpSpPr/>
            <p:nvPr/>
          </p:nvGrpSpPr>
          <p:grpSpPr>
            <a:xfrm>
              <a:off x="9536070" y="1333274"/>
              <a:ext cx="371702" cy="371702"/>
              <a:chOff x="9353549" y="2847748"/>
              <a:chExt cx="478023" cy="478023"/>
            </a:xfrm>
          </p:grpSpPr>
          <p:sp>
            <p:nvSpPr>
              <p:cNvPr id="536" name="Oval 193"/>
              <p:cNvSpPr/>
              <p:nvPr/>
            </p:nvSpPr>
            <p:spPr bwMode="auto">
              <a:xfrm>
                <a:off x="9401175" y="2892185"/>
                <a:ext cx="389628" cy="389628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6" rIns="91412" bIns="45706" numCol="1" rtlCol="0" anchor="ctr" anchorCtr="0" compatLnSpc="1">
                <a:prstTxWarp prst="textNoShape">
                  <a:avLst/>
                </a:prstTxWarp>
                <a:normAutofit fontScale="55000" lnSpcReduction="20000"/>
              </a:bodyPr>
              <a:lstStyle/>
              <a:p>
                <a:pPr defTabSz="914126"/>
                <a:endParaRPr lang="en-US" sz="1799">
                  <a:solidFill>
                    <a:schemeClr val="bg1"/>
                  </a:solidFill>
                  <a:latin typeface="Trebuchet MS" pitchFamily="34" charset="0"/>
                </a:endParaRPr>
              </a:p>
            </p:txBody>
          </p:sp>
          <p:pic>
            <p:nvPicPr>
              <p:cNvPr id="537" name="Picture 3"/>
              <p:cNvPicPr>
                <a:picLocks noChangeAspect="1" noChangeArrowheads="1"/>
              </p:cNvPicPr>
              <p:nvPr/>
            </p:nvPicPr>
            <p:blipFill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9353549" y="2847748"/>
                <a:ext cx="478023" cy="4780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358977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3" name="Groupe 18"/>
          <p:cNvGrpSpPr/>
          <p:nvPr/>
        </p:nvGrpSpPr>
        <p:grpSpPr>
          <a:xfrm>
            <a:off x="6255415" y="2500395"/>
            <a:ext cx="410703" cy="390943"/>
            <a:chOff x="7275806" y="2844969"/>
            <a:chExt cx="590592" cy="640848"/>
          </a:xfrm>
          <a:solidFill>
            <a:schemeClr val="accent1"/>
          </a:solidFill>
        </p:grpSpPr>
        <p:sp>
          <p:nvSpPr>
            <p:cNvPr id="224" name="Oval 184"/>
            <p:cNvSpPr>
              <a:spLocks noChangeArrowheads="1"/>
            </p:cNvSpPr>
            <p:nvPr/>
          </p:nvSpPr>
          <p:spPr bwMode="auto">
            <a:xfrm>
              <a:off x="7336131" y="2847303"/>
              <a:ext cx="141288" cy="141287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225" name="Oval 189"/>
            <p:cNvSpPr>
              <a:spLocks noChangeArrowheads="1"/>
            </p:cNvSpPr>
            <p:nvPr/>
          </p:nvSpPr>
          <p:spPr bwMode="auto">
            <a:xfrm>
              <a:off x="7677486" y="2844969"/>
              <a:ext cx="142875" cy="1412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226" name="Freeform 183"/>
            <p:cNvSpPr>
              <a:spLocks/>
            </p:cNvSpPr>
            <p:nvPr/>
          </p:nvSpPr>
          <p:spPr bwMode="auto">
            <a:xfrm>
              <a:off x="7278206" y="3010798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227" name="Freeform 182"/>
            <p:cNvSpPr>
              <a:spLocks/>
            </p:cNvSpPr>
            <p:nvPr/>
          </p:nvSpPr>
          <p:spPr bwMode="auto">
            <a:xfrm>
              <a:off x="7275806" y="2965436"/>
              <a:ext cx="261938" cy="514350"/>
            </a:xfrm>
            <a:custGeom>
              <a:avLst/>
              <a:gdLst>
                <a:gd name="T0" fmla="*/ 78 w 92"/>
                <a:gd name="T1" fmla="*/ 79 h 182"/>
                <a:gd name="T2" fmla="*/ 86 w 92"/>
                <a:gd name="T3" fmla="*/ 59 h 182"/>
                <a:gd name="T4" fmla="*/ 86 w 92"/>
                <a:gd name="T5" fmla="*/ 29 h 182"/>
                <a:gd name="T6" fmla="*/ 86 w 92"/>
                <a:gd name="T7" fmla="*/ 24 h 182"/>
                <a:gd name="T8" fmla="*/ 65 w 92"/>
                <a:gd name="T9" fmla="*/ 1 h 182"/>
                <a:gd name="T10" fmla="*/ 57 w 92"/>
                <a:gd name="T11" fmla="*/ 0 h 182"/>
                <a:gd name="T12" fmla="*/ 36 w 92"/>
                <a:gd name="T13" fmla="*/ 0 h 182"/>
                <a:gd name="T14" fmla="*/ 17 w 92"/>
                <a:gd name="T15" fmla="*/ 7 h 182"/>
                <a:gd name="T16" fmla="*/ 18 w 92"/>
                <a:gd name="T17" fmla="*/ 8 h 182"/>
                <a:gd name="T18" fmla="*/ 32 w 92"/>
                <a:gd name="T19" fmla="*/ 19 h 182"/>
                <a:gd name="T20" fmla="*/ 22 w 92"/>
                <a:gd name="T21" fmla="*/ 52 h 182"/>
                <a:gd name="T22" fmla="*/ 7 w 92"/>
                <a:gd name="T23" fmla="*/ 54 h 182"/>
                <a:gd name="T24" fmla="*/ 7 w 92"/>
                <a:gd name="T25" fmla="*/ 59 h 182"/>
                <a:gd name="T26" fmla="*/ 14 w 92"/>
                <a:gd name="T27" fmla="*/ 79 h 182"/>
                <a:gd name="T28" fmla="*/ 0 w 92"/>
                <a:gd name="T29" fmla="*/ 130 h 182"/>
                <a:gd name="T30" fmla="*/ 3 w 92"/>
                <a:gd name="T31" fmla="*/ 134 h 182"/>
                <a:gd name="T32" fmla="*/ 21 w 92"/>
                <a:gd name="T33" fmla="*/ 134 h 182"/>
                <a:gd name="T34" fmla="*/ 21 w 92"/>
                <a:gd name="T35" fmla="*/ 179 h 182"/>
                <a:gd name="T36" fmla="*/ 25 w 92"/>
                <a:gd name="T37" fmla="*/ 182 h 182"/>
                <a:gd name="T38" fmla="*/ 68 w 92"/>
                <a:gd name="T39" fmla="*/ 182 h 182"/>
                <a:gd name="T40" fmla="*/ 72 w 92"/>
                <a:gd name="T41" fmla="*/ 179 h 182"/>
                <a:gd name="T42" fmla="*/ 72 w 92"/>
                <a:gd name="T43" fmla="*/ 134 h 182"/>
                <a:gd name="T44" fmla="*/ 89 w 92"/>
                <a:gd name="T45" fmla="*/ 134 h 182"/>
                <a:gd name="T46" fmla="*/ 92 w 92"/>
                <a:gd name="T47" fmla="*/ 130 h 182"/>
                <a:gd name="T48" fmla="*/ 78 w 92"/>
                <a:gd name="T49" fmla="*/ 7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2" h="182">
                  <a:moveTo>
                    <a:pt x="78" y="79"/>
                  </a:moveTo>
                  <a:cubicBezTo>
                    <a:pt x="83" y="74"/>
                    <a:pt x="86" y="67"/>
                    <a:pt x="86" y="5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7"/>
                    <a:pt x="86" y="26"/>
                    <a:pt x="86" y="24"/>
                  </a:cubicBezTo>
                  <a:cubicBezTo>
                    <a:pt x="84" y="17"/>
                    <a:pt x="81" y="6"/>
                    <a:pt x="65" y="1"/>
                  </a:cubicBezTo>
                  <a:cubicBezTo>
                    <a:pt x="62" y="0"/>
                    <a:pt x="60" y="0"/>
                    <a:pt x="5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9" y="0"/>
                    <a:pt x="22" y="3"/>
                    <a:pt x="17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24" y="9"/>
                    <a:pt x="29" y="13"/>
                    <a:pt x="32" y="19"/>
                  </a:cubicBezTo>
                  <a:cubicBezTo>
                    <a:pt x="38" y="31"/>
                    <a:pt x="34" y="45"/>
                    <a:pt x="22" y="52"/>
                  </a:cubicBezTo>
                  <a:cubicBezTo>
                    <a:pt x="17" y="54"/>
                    <a:pt x="12" y="55"/>
                    <a:pt x="7" y="54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7"/>
                    <a:pt x="9" y="73"/>
                    <a:pt x="14" y="7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2"/>
                    <a:pt x="2" y="134"/>
                    <a:pt x="3" y="134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1" y="181"/>
                    <a:pt x="23" y="182"/>
                    <a:pt x="25" y="182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70" y="182"/>
                    <a:pt x="72" y="181"/>
                    <a:pt x="72" y="179"/>
                  </a:cubicBezTo>
                  <a:cubicBezTo>
                    <a:pt x="72" y="134"/>
                    <a:pt x="72" y="134"/>
                    <a:pt x="72" y="134"/>
                  </a:cubicBezTo>
                  <a:cubicBezTo>
                    <a:pt x="89" y="134"/>
                    <a:pt x="89" y="134"/>
                    <a:pt x="89" y="134"/>
                  </a:cubicBezTo>
                  <a:cubicBezTo>
                    <a:pt x="91" y="134"/>
                    <a:pt x="92" y="132"/>
                    <a:pt x="92" y="130"/>
                  </a:cubicBezTo>
                  <a:lnTo>
                    <a:pt x="78" y="7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228" name="Freeform 188"/>
            <p:cNvSpPr>
              <a:spLocks/>
            </p:cNvSpPr>
            <p:nvPr/>
          </p:nvSpPr>
          <p:spPr bwMode="auto">
            <a:xfrm>
              <a:off x="7640973" y="2971467"/>
              <a:ext cx="225425" cy="514350"/>
            </a:xfrm>
            <a:custGeom>
              <a:avLst/>
              <a:gdLst>
                <a:gd name="T0" fmla="*/ 79 w 79"/>
                <a:gd name="T1" fmla="*/ 24 h 182"/>
                <a:gd name="T2" fmla="*/ 58 w 79"/>
                <a:gd name="T3" fmla="*/ 1 h 182"/>
                <a:gd name="T4" fmla="*/ 50 w 79"/>
                <a:gd name="T5" fmla="*/ 0 h 182"/>
                <a:gd name="T6" fmla="*/ 29 w 79"/>
                <a:gd name="T7" fmla="*/ 0 h 182"/>
                <a:gd name="T8" fmla="*/ 24 w 79"/>
                <a:gd name="T9" fmla="*/ 0 h 182"/>
                <a:gd name="T10" fmla="*/ 22 w 79"/>
                <a:gd name="T11" fmla="*/ 1 h 182"/>
                <a:gd name="T12" fmla="*/ 21 w 79"/>
                <a:gd name="T13" fmla="*/ 1 h 182"/>
                <a:gd name="T14" fmla="*/ 20 w 79"/>
                <a:gd name="T15" fmla="*/ 1 h 182"/>
                <a:gd name="T16" fmla="*/ 17 w 79"/>
                <a:gd name="T17" fmla="*/ 3 h 182"/>
                <a:gd name="T18" fmla="*/ 15 w 79"/>
                <a:gd name="T19" fmla="*/ 4 h 182"/>
                <a:gd name="T20" fmla="*/ 13 w 79"/>
                <a:gd name="T21" fmla="*/ 5 h 182"/>
                <a:gd name="T22" fmla="*/ 10 w 79"/>
                <a:gd name="T23" fmla="*/ 7 h 182"/>
                <a:gd name="T24" fmla="*/ 25 w 79"/>
                <a:gd name="T25" fmla="*/ 18 h 182"/>
                <a:gd name="T26" fmla="*/ 15 w 79"/>
                <a:gd name="T27" fmla="*/ 51 h 182"/>
                <a:gd name="T28" fmla="*/ 0 w 79"/>
                <a:gd name="T29" fmla="*/ 54 h 182"/>
                <a:gd name="T30" fmla="*/ 0 w 79"/>
                <a:gd name="T31" fmla="*/ 71 h 182"/>
                <a:gd name="T32" fmla="*/ 14 w 79"/>
                <a:gd name="T33" fmla="*/ 97 h 182"/>
                <a:gd name="T34" fmla="*/ 14 w 79"/>
                <a:gd name="T35" fmla="*/ 179 h 182"/>
                <a:gd name="T36" fmla="*/ 17 w 79"/>
                <a:gd name="T37" fmla="*/ 182 h 182"/>
                <a:gd name="T38" fmla="*/ 61 w 79"/>
                <a:gd name="T39" fmla="*/ 182 h 182"/>
                <a:gd name="T40" fmla="*/ 65 w 79"/>
                <a:gd name="T41" fmla="*/ 179 h 182"/>
                <a:gd name="T42" fmla="*/ 65 w 79"/>
                <a:gd name="T43" fmla="*/ 97 h 182"/>
                <a:gd name="T44" fmla="*/ 79 w 79"/>
                <a:gd name="T45" fmla="*/ 71 h 182"/>
                <a:gd name="T46" fmla="*/ 79 w 79"/>
                <a:gd name="T47" fmla="*/ 29 h 182"/>
                <a:gd name="T48" fmla="*/ 79 w 79"/>
                <a:gd name="T49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182">
                  <a:moveTo>
                    <a:pt x="79" y="24"/>
                  </a:moveTo>
                  <a:cubicBezTo>
                    <a:pt x="77" y="17"/>
                    <a:pt x="73" y="6"/>
                    <a:pt x="58" y="1"/>
                  </a:cubicBezTo>
                  <a:cubicBezTo>
                    <a:pt x="55" y="0"/>
                    <a:pt x="53" y="0"/>
                    <a:pt x="5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0"/>
                    <a:pt x="26" y="0"/>
                    <a:pt x="24" y="0"/>
                  </a:cubicBezTo>
                  <a:cubicBezTo>
                    <a:pt x="24" y="0"/>
                    <a:pt x="23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9" y="2"/>
                    <a:pt x="18" y="2"/>
                    <a:pt x="17" y="3"/>
                  </a:cubicBezTo>
                  <a:cubicBezTo>
                    <a:pt x="16" y="3"/>
                    <a:pt x="15" y="3"/>
                    <a:pt x="15" y="4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2" y="5"/>
                    <a:pt x="11" y="6"/>
                    <a:pt x="10" y="7"/>
                  </a:cubicBezTo>
                  <a:cubicBezTo>
                    <a:pt x="16" y="8"/>
                    <a:pt x="22" y="12"/>
                    <a:pt x="25" y="18"/>
                  </a:cubicBezTo>
                  <a:cubicBezTo>
                    <a:pt x="31" y="30"/>
                    <a:pt x="27" y="45"/>
                    <a:pt x="15" y="51"/>
                  </a:cubicBezTo>
                  <a:cubicBezTo>
                    <a:pt x="10" y="54"/>
                    <a:pt x="5" y="55"/>
                    <a:pt x="0" y="5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2"/>
                    <a:pt x="5" y="91"/>
                    <a:pt x="14" y="97"/>
                  </a:cubicBezTo>
                  <a:cubicBezTo>
                    <a:pt x="14" y="179"/>
                    <a:pt x="14" y="179"/>
                    <a:pt x="14" y="179"/>
                  </a:cubicBezTo>
                  <a:cubicBezTo>
                    <a:pt x="14" y="181"/>
                    <a:pt x="16" y="182"/>
                    <a:pt x="17" y="182"/>
                  </a:cubicBezTo>
                  <a:cubicBezTo>
                    <a:pt x="61" y="182"/>
                    <a:pt x="61" y="182"/>
                    <a:pt x="61" y="182"/>
                  </a:cubicBezTo>
                  <a:cubicBezTo>
                    <a:pt x="63" y="182"/>
                    <a:pt x="65" y="181"/>
                    <a:pt x="65" y="179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74" y="91"/>
                    <a:pt x="79" y="82"/>
                    <a:pt x="79" y="71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7"/>
                    <a:pt x="79" y="26"/>
                    <a:pt x="79" y="2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229" name="Freeform 183"/>
            <p:cNvSpPr>
              <a:spLocks/>
            </p:cNvSpPr>
            <p:nvPr/>
          </p:nvSpPr>
          <p:spPr bwMode="auto">
            <a:xfrm>
              <a:off x="7620104" y="3016376"/>
              <a:ext cx="75562" cy="75561"/>
            </a:xfrm>
            <a:custGeom>
              <a:avLst/>
              <a:gdLst>
                <a:gd name="T0" fmla="*/ 15 w 21"/>
                <a:gd name="T1" fmla="*/ 18 h 21"/>
                <a:gd name="T2" fmla="*/ 18 w 21"/>
                <a:gd name="T3" fmla="*/ 6 h 21"/>
                <a:gd name="T4" fmla="*/ 6 w 21"/>
                <a:gd name="T5" fmla="*/ 2 h 21"/>
                <a:gd name="T6" fmla="*/ 2 w 21"/>
                <a:gd name="T7" fmla="*/ 15 h 21"/>
                <a:gd name="T8" fmla="*/ 15 w 21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5" y="18"/>
                  </a:moveTo>
                  <a:cubicBezTo>
                    <a:pt x="19" y="16"/>
                    <a:pt x="21" y="10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1" y="5"/>
                    <a:pt x="0" y="10"/>
                    <a:pt x="2" y="15"/>
                  </a:cubicBezTo>
                  <a:cubicBezTo>
                    <a:pt x="5" y="19"/>
                    <a:pt x="10" y="21"/>
                    <a:pt x="15" y="1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Trebuchet MS"/>
              </a:endParaRPr>
            </a:p>
          </p:txBody>
        </p:sp>
      </p:grpSp>
      <p:pic>
        <p:nvPicPr>
          <p:cNvPr id="222" name="Image 22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549441" y="2498524"/>
            <a:ext cx="186267" cy="419100"/>
          </a:xfrm>
          <a:prstGeom prst="rect">
            <a:avLst/>
          </a:prstGeom>
        </p:spPr>
      </p:pic>
      <p:sp>
        <p:nvSpPr>
          <p:cNvPr id="201" name="Oval 13"/>
          <p:cNvSpPr>
            <a:spLocks noChangeAspect="1"/>
          </p:cNvSpPr>
          <p:nvPr/>
        </p:nvSpPr>
        <p:spPr>
          <a:xfrm>
            <a:off x="6444404" y="1488626"/>
            <a:ext cx="2594359" cy="2529495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202" name="Oval 13"/>
          <p:cNvSpPr>
            <a:spLocks noChangeAspect="1"/>
          </p:cNvSpPr>
          <p:nvPr/>
        </p:nvSpPr>
        <p:spPr>
          <a:xfrm>
            <a:off x="92373" y="1485478"/>
            <a:ext cx="2594359" cy="2529495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199" name="Titre 15"/>
          <p:cNvSpPr txBox="1">
            <a:spLocks/>
          </p:cNvSpPr>
          <p:nvPr/>
        </p:nvSpPr>
        <p:spPr>
          <a:xfrm>
            <a:off x="7141713" y="3452315"/>
            <a:ext cx="1345363" cy="23874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CUSTOMERS</a:t>
            </a:r>
            <a:endParaRPr lang="fr-FR" sz="1400" kern="0" cap="all" baseline="30000" dirty="0">
              <a:solidFill>
                <a:srgbClr val="FFFFFF"/>
              </a:solidFill>
            </a:endParaRPr>
          </a:p>
        </p:txBody>
      </p:sp>
      <p:pic>
        <p:nvPicPr>
          <p:cNvPr id="183" name="Image 18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582277" y="2498524"/>
            <a:ext cx="186267" cy="419100"/>
          </a:xfrm>
          <a:prstGeom prst="rect">
            <a:avLst/>
          </a:prstGeom>
        </p:spPr>
      </p:pic>
      <p:pic>
        <p:nvPicPr>
          <p:cNvPr id="187" name="Image 18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778990" y="2498524"/>
            <a:ext cx="186267" cy="419100"/>
          </a:xfrm>
          <a:prstGeom prst="rect">
            <a:avLst/>
          </a:prstGeom>
        </p:spPr>
      </p:pic>
      <p:pic>
        <p:nvPicPr>
          <p:cNvPr id="188" name="Image 18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108029" y="2501133"/>
            <a:ext cx="186267" cy="419100"/>
          </a:xfrm>
          <a:prstGeom prst="rect">
            <a:avLst/>
          </a:prstGeom>
        </p:spPr>
      </p:pic>
      <p:pic>
        <p:nvPicPr>
          <p:cNvPr id="189" name="Image 18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453185" y="2499716"/>
            <a:ext cx="186267" cy="419100"/>
          </a:xfrm>
          <a:prstGeom prst="rect">
            <a:avLst/>
          </a:prstGeom>
        </p:spPr>
      </p:pic>
      <p:pic>
        <p:nvPicPr>
          <p:cNvPr id="190" name="Image 18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727875" y="2501133"/>
            <a:ext cx="186267" cy="419100"/>
          </a:xfrm>
          <a:prstGeom prst="rect">
            <a:avLst/>
          </a:prstGeom>
        </p:spPr>
      </p:pic>
      <p:sp>
        <p:nvSpPr>
          <p:cNvPr id="47" name="Titre 15"/>
          <p:cNvSpPr txBox="1">
            <a:spLocks/>
          </p:cNvSpPr>
          <p:nvPr/>
        </p:nvSpPr>
        <p:spPr>
          <a:xfrm>
            <a:off x="172667" y="170260"/>
            <a:ext cx="8778230" cy="6806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r>
              <a:rPr lang="fr-FR" sz="1800" b="0" dirty="0" smtClean="0">
                <a:solidFill>
                  <a:srgbClr val="FFFFFF"/>
                </a:solidFill>
              </a:rPr>
              <a:t>RAINBOW API HUB: BUILD THE BRIDGE FOR THE DEVELOPERS AND MORE</a:t>
            </a:r>
            <a:endParaRPr lang="fr-FR" sz="1800" b="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7558" y="1939191"/>
            <a:ext cx="4917989" cy="1423758"/>
          </a:xfrm>
          <a:prstGeom prst="rect">
            <a:avLst/>
          </a:prstGeom>
        </p:spPr>
      </p:pic>
      <p:grpSp>
        <p:nvGrpSpPr>
          <p:cNvPr id="5" name="Grouper 4"/>
          <p:cNvGrpSpPr/>
          <p:nvPr/>
        </p:nvGrpSpPr>
        <p:grpSpPr>
          <a:xfrm>
            <a:off x="7697213" y="2004572"/>
            <a:ext cx="715065" cy="1283908"/>
            <a:chOff x="7497932" y="1882648"/>
            <a:chExt cx="715065" cy="1283908"/>
          </a:xfrm>
        </p:grpSpPr>
        <p:pic>
          <p:nvPicPr>
            <p:cNvPr id="181" name="Picture 4" descr="Résultat de recherche d'images pour &quot;smartphone png&quot;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497932" y="1882648"/>
              <a:ext cx="715065" cy="1283908"/>
            </a:xfrm>
            <a:prstGeom prst="rect">
              <a:avLst/>
            </a:prstGeom>
            <a:noFill/>
          </p:spPr>
        </p:pic>
        <p:pic>
          <p:nvPicPr>
            <p:cNvPr id="182" name="Picture 2" descr="Y:\1- Direction Concept\6 - Digital\6 - Application mobile\Carrefour&amp;Moi\Screenshots\Screen appli\Screenshot_2017-06-26-17-35-28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541891" y="1998950"/>
              <a:ext cx="624605" cy="1041007"/>
            </a:xfrm>
            <a:prstGeom prst="rect">
              <a:avLst/>
            </a:prstGeom>
            <a:noFill/>
          </p:spPr>
        </p:pic>
      </p:grpSp>
      <p:sp>
        <p:nvSpPr>
          <p:cNvPr id="184" name="Titre 15"/>
          <p:cNvSpPr txBox="1">
            <a:spLocks/>
          </p:cNvSpPr>
          <p:nvPr/>
        </p:nvSpPr>
        <p:spPr>
          <a:xfrm>
            <a:off x="6534312" y="2922057"/>
            <a:ext cx="1345363" cy="23874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000" dirty="0" smtClean="0">
                <a:solidFill>
                  <a:srgbClr val="FFFFFF"/>
                </a:solidFill>
              </a:rPr>
              <a:t>DEVELOPERS</a:t>
            </a:r>
            <a:endParaRPr lang="fr-FR" sz="1000" kern="0" cap="all" baseline="30000" dirty="0">
              <a:solidFill>
                <a:srgbClr val="FFFFFF"/>
              </a:solidFill>
            </a:endParaRPr>
          </a:p>
        </p:txBody>
      </p:sp>
      <p:pic>
        <p:nvPicPr>
          <p:cNvPr id="185" name="Image 18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25952" y="2441520"/>
            <a:ext cx="186267" cy="419100"/>
          </a:xfrm>
          <a:prstGeom prst="rect">
            <a:avLst/>
          </a:prstGeom>
        </p:spPr>
      </p:pic>
      <p:pic>
        <p:nvPicPr>
          <p:cNvPr id="186" name="Image 18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005843" y="2506877"/>
            <a:ext cx="186267" cy="419100"/>
          </a:xfrm>
          <a:prstGeom prst="rect">
            <a:avLst/>
          </a:prstGeom>
        </p:spPr>
      </p:pic>
      <p:pic>
        <p:nvPicPr>
          <p:cNvPr id="191" name="Picture 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2918" y="1605294"/>
            <a:ext cx="1337899" cy="1801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Flèche vers la droite 9"/>
          <p:cNvSpPr/>
          <p:nvPr/>
        </p:nvSpPr>
        <p:spPr>
          <a:xfrm>
            <a:off x="1890290" y="3485006"/>
            <a:ext cx="1507374" cy="255540"/>
          </a:xfrm>
          <a:prstGeom prst="rightArrow">
            <a:avLst/>
          </a:prstGeom>
          <a:solidFill>
            <a:schemeClr val="bg1">
              <a:lumMod val="65000"/>
              <a:alpha val="25000"/>
            </a:schemeClr>
          </a:solidFill>
          <a:ln w="25400">
            <a:solidFill>
              <a:schemeClr val="bg1">
                <a:lumMod val="65000"/>
                <a:alpha val="25000"/>
              </a:scheme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 lang="fr-FR"/>
          </a:p>
        </p:txBody>
      </p:sp>
      <p:sp>
        <p:nvSpPr>
          <p:cNvPr id="198" name="Flèche vers la droite 197"/>
          <p:cNvSpPr/>
          <p:nvPr/>
        </p:nvSpPr>
        <p:spPr>
          <a:xfrm flipH="1">
            <a:off x="5740760" y="3485006"/>
            <a:ext cx="1507374" cy="255540"/>
          </a:xfrm>
          <a:prstGeom prst="rightArrow">
            <a:avLst/>
          </a:prstGeom>
          <a:solidFill>
            <a:schemeClr val="bg1">
              <a:lumMod val="65000"/>
              <a:alpha val="25000"/>
            </a:schemeClr>
          </a:solidFill>
          <a:ln w="25400">
            <a:solidFill>
              <a:schemeClr val="bg1">
                <a:lumMod val="65000"/>
                <a:alpha val="25000"/>
              </a:schemeClr>
            </a:solidFill>
          </a:ln>
        </p:spPr>
        <p:txBody>
          <a:bodyPr lIns="45720" tIns="45720" rIns="45720" bIns="45720"/>
          <a:lstStyle/>
          <a:p>
            <a:pPr>
              <a:spcBef>
                <a:spcPts val="0"/>
              </a:spcBef>
            </a:pPr>
            <a:endParaRPr lang="fr-FR"/>
          </a:p>
        </p:txBody>
      </p:sp>
      <p:sp>
        <p:nvSpPr>
          <p:cNvPr id="203" name="Oval 13"/>
          <p:cNvSpPr>
            <a:spLocks noChangeAspect="1"/>
          </p:cNvSpPr>
          <p:nvPr/>
        </p:nvSpPr>
        <p:spPr>
          <a:xfrm>
            <a:off x="6444404" y="678312"/>
            <a:ext cx="1321945" cy="1288894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pic>
        <p:nvPicPr>
          <p:cNvPr id="204" name="Image 20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061867" y="881629"/>
            <a:ext cx="186267" cy="419100"/>
          </a:xfrm>
          <a:prstGeom prst="rect">
            <a:avLst/>
          </a:prstGeom>
        </p:spPr>
      </p:pic>
      <p:pic>
        <p:nvPicPr>
          <p:cNvPr id="205" name="Image 20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44288" y="926529"/>
            <a:ext cx="186267" cy="419100"/>
          </a:xfrm>
          <a:prstGeom prst="rect">
            <a:avLst/>
          </a:prstGeom>
        </p:spPr>
      </p:pic>
      <p:sp>
        <p:nvSpPr>
          <p:cNvPr id="206" name="Titre 15"/>
          <p:cNvSpPr txBox="1">
            <a:spLocks/>
          </p:cNvSpPr>
          <p:nvPr/>
        </p:nvSpPr>
        <p:spPr>
          <a:xfrm>
            <a:off x="6426307" y="1298930"/>
            <a:ext cx="1345363" cy="23874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400" smtClean="0">
                <a:solidFill>
                  <a:srgbClr val="FFFFFF"/>
                </a:solidFill>
              </a:rPr>
              <a:t>ISV</a:t>
            </a:r>
            <a:endParaRPr lang="fr-FR" sz="1400" kern="0" cap="all" baseline="30000" dirty="0">
              <a:solidFill>
                <a:srgbClr val="FFFFFF"/>
              </a:solidFill>
            </a:endParaRPr>
          </a:p>
        </p:txBody>
      </p:sp>
      <p:pic>
        <p:nvPicPr>
          <p:cNvPr id="207" name="Image 20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72104" y="1058264"/>
            <a:ext cx="186267" cy="419100"/>
          </a:xfrm>
          <a:prstGeom prst="rect">
            <a:avLst/>
          </a:prstGeom>
        </p:spPr>
      </p:pic>
      <p:sp>
        <p:nvSpPr>
          <p:cNvPr id="208" name="Oval 13"/>
          <p:cNvSpPr>
            <a:spLocks noChangeAspect="1"/>
          </p:cNvSpPr>
          <p:nvPr/>
        </p:nvSpPr>
        <p:spPr>
          <a:xfrm>
            <a:off x="7697213" y="970362"/>
            <a:ext cx="812885" cy="792561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210" name="Oval 13"/>
          <p:cNvSpPr>
            <a:spLocks noChangeAspect="1"/>
          </p:cNvSpPr>
          <p:nvPr/>
        </p:nvSpPr>
        <p:spPr>
          <a:xfrm>
            <a:off x="8412278" y="3292019"/>
            <a:ext cx="552494" cy="538680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211" name="Oval 13"/>
          <p:cNvSpPr>
            <a:spLocks noChangeAspect="1"/>
          </p:cNvSpPr>
          <p:nvPr/>
        </p:nvSpPr>
        <p:spPr>
          <a:xfrm>
            <a:off x="6630839" y="1661616"/>
            <a:ext cx="426897" cy="416223"/>
          </a:xfrm>
          <a:prstGeom prst="ellipse">
            <a:avLst/>
          </a:prstGeom>
          <a:solidFill>
            <a:schemeClr val="bg1">
              <a:alpha val="12000"/>
            </a:schemeClr>
          </a:solidFill>
          <a:ln w="76200"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200" name="Titre 15"/>
          <p:cNvSpPr txBox="1">
            <a:spLocks/>
          </p:cNvSpPr>
          <p:nvPr/>
        </p:nvSpPr>
        <p:spPr>
          <a:xfrm>
            <a:off x="720602" y="3452315"/>
            <a:ext cx="1345363" cy="23874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400" dirty="0" smtClean="0">
                <a:solidFill>
                  <a:schemeClr val="accent1"/>
                </a:solidFill>
              </a:rPr>
              <a:t>RAINBOW</a:t>
            </a:r>
            <a:endParaRPr lang="fr-FR" sz="1000" kern="0" cap="all" baseline="30000" dirty="0">
              <a:solidFill>
                <a:schemeClr val="accent1"/>
              </a:solidFill>
            </a:endParaRPr>
          </a:p>
        </p:txBody>
      </p:sp>
      <p:pic>
        <p:nvPicPr>
          <p:cNvPr id="212" name="Image 21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035258" y="1136043"/>
            <a:ext cx="186267" cy="4191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213" name="Image 21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625765" y="3351809"/>
            <a:ext cx="186267" cy="419100"/>
          </a:xfrm>
          <a:prstGeom prst="rect">
            <a:avLst/>
          </a:prstGeom>
        </p:spPr>
      </p:pic>
      <p:sp>
        <p:nvSpPr>
          <p:cNvPr id="215" name="Rectangle 214"/>
          <p:cNvSpPr/>
          <p:nvPr/>
        </p:nvSpPr>
        <p:spPr>
          <a:xfrm>
            <a:off x="1890293" y="3652020"/>
            <a:ext cx="14246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Insure product </a:t>
            </a:r>
            <a:r>
              <a:rPr lang="en-US" sz="1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 pitchFamily="34" charset="0"/>
              </a:rPr>
              <a:t>stickiness</a:t>
            </a:r>
          </a:p>
        </p:txBody>
      </p:sp>
      <p:sp>
        <p:nvSpPr>
          <p:cNvPr id="217" name="Rectangle 216"/>
          <p:cNvSpPr/>
          <p:nvPr/>
        </p:nvSpPr>
        <p:spPr>
          <a:xfrm>
            <a:off x="5845292" y="3652020"/>
            <a:ext cx="153027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Trebuchet MS" pitchFamily="34" charset="0"/>
              </a:rPr>
              <a:t>Improve the connected customer experience</a:t>
            </a:r>
            <a:endParaRPr lang="en-US" sz="10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18" name="Rectangle 217"/>
          <p:cNvSpPr/>
          <p:nvPr/>
        </p:nvSpPr>
        <p:spPr>
          <a:xfrm>
            <a:off x="5859925" y="4217826"/>
            <a:ext cx="151563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Trebuchet MS" pitchFamily="34" charset="0"/>
              </a:rPr>
              <a:t>Increase employee efficiency</a:t>
            </a:r>
            <a:endParaRPr lang="en-US" sz="10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5859925" y="4619249"/>
            <a:ext cx="15845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Trebuchet MS" pitchFamily="34" charset="0"/>
              </a:rPr>
              <a:t>Accelerate decision making</a:t>
            </a:r>
            <a:endParaRPr lang="en-US" sz="10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162" y="2972437"/>
            <a:ext cx="1362290" cy="379372"/>
          </a:xfrm>
          <a:prstGeom prst="rect">
            <a:avLst/>
          </a:prstGeom>
        </p:spPr>
      </p:pic>
      <p:sp>
        <p:nvSpPr>
          <p:cNvPr id="221" name="Titre 15"/>
          <p:cNvSpPr txBox="1">
            <a:spLocks/>
          </p:cNvSpPr>
          <p:nvPr/>
        </p:nvSpPr>
        <p:spPr>
          <a:xfrm>
            <a:off x="3780503" y="2121333"/>
            <a:ext cx="1345363" cy="23874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 algn="ctr">
              <a:defRPr/>
            </a:pPr>
            <a:r>
              <a:rPr lang="en-US" sz="1000" smtClean="0">
                <a:solidFill>
                  <a:srgbClr val="FFFFFF"/>
                </a:solidFill>
              </a:rPr>
              <a:t>ENGAGED</a:t>
            </a:r>
            <a:br>
              <a:rPr lang="en-US" sz="1000" smtClean="0">
                <a:solidFill>
                  <a:srgbClr val="FFFFFF"/>
                </a:solidFill>
              </a:rPr>
            </a:br>
            <a:r>
              <a:rPr lang="en-US" sz="1000" smtClean="0">
                <a:solidFill>
                  <a:srgbClr val="FFFFFF"/>
                </a:solidFill>
              </a:rPr>
              <a:t>DEVELOPERS</a:t>
            </a:r>
            <a:endParaRPr lang="fr-FR" sz="1000" kern="0" cap="all" baseline="30000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995363" y="2260112"/>
            <a:ext cx="87876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 smtClean="0">
                <a:solidFill>
                  <a:schemeClr val="accent1"/>
                </a:solidFill>
                <a:latin typeface="Trebuchet MS" pitchFamily="34" charset="0"/>
              </a:rPr>
              <a:t>AMBASSADORS</a:t>
            </a:r>
            <a:endParaRPr lang="fr-FR" sz="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25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08"/>
          <p:cNvGrpSpPr/>
          <p:nvPr/>
        </p:nvGrpSpPr>
        <p:grpSpPr>
          <a:xfrm>
            <a:off x="2417767" y="868847"/>
            <a:ext cx="4199730" cy="3376239"/>
            <a:chOff x="2372521" y="727075"/>
            <a:chExt cx="4199730" cy="3376239"/>
          </a:xfrm>
        </p:grpSpPr>
        <p:cxnSp>
          <p:nvCxnSpPr>
            <p:cNvPr id="118" name="Straight Connector 56"/>
            <p:cNvCxnSpPr>
              <a:stCxn id="148" idx="2"/>
            </p:cNvCxnSpPr>
            <p:nvPr/>
          </p:nvCxnSpPr>
          <p:spPr>
            <a:xfrm flipH="1" flipV="1">
              <a:off x="2372521" y="2888147"/>
              <a:ext cx="3860279" cy="187515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59"/>
            <p:cNvCxnSpPr/>
            <p:nvPr/>
          </p:nvCxnSpPr>
          <p:spPr>
            <a:xfrm flipH="1" flipV="1">
              <a:off x="4876800" y="825500"/>
              <a:ext cx="1695451" cy="949326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62"/>
            <p:cNvCxnSpPr/>
            <p:nvPr/>
          </p:nvCxnSpPr>
          <p:spPr>
            <a:xfrm>
              <a:off x="4772025" y="727075"/>
              <a:ext cx="1689100" cy="2581275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1" name="Picture 9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9665" y="1028348"/>
              <a:ext cx="3159824" cy="3074966"/>
            </a:xfrm>
            <a:prstGeom prst="rect">
              <a:avLst/>
            </a:prstGeom>
          </p:spPr>
        </p:pic>
      </p:grpSp>
      <p:grpSp>
        <p:nvGrpSpPr>
          <p:cNvPr id="107" name="Group 109"/>
          <p:cNvGrpSpPr/>
          <p:nvPr/>
        </p:nvGrpSpPr>
        <p:grpSpPr>
          <a:xfrm>
            <a:off x="2601121" y="859322"/>
            <a:ext cx="3999979" cy="3533776"/>
            <a:chOff x="2422525" y="717550"/>
            <a:chExt cx="3999979" cy="3533776"/>
          </a:xfrm>
        </p:grpSpPr>
        <p:cxnSp>
          <p:nvCxnSpPr>
            <p:cNvPr id="108" name="Straight Connector 110"/>
            <p:cNvCxnSpPr/>
            <p:nvPr/>
          </p:nvCxnSpPr>
          <p:spPr>
            <a:xfrm rot="5400000">
              <a:off x="5614822" y="2456218"/>
              <a:ext cx="1498410" cy="116954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12"/>
            <p:cNvCxnSpPr>
              <a:stCxn id="148" idx="2"/>
            </p:cNvCxnSpPr>
            <p:nvPr/>
          </p:nvCxnSpPr>
          <p:spPr>
            <a:xfrm flipH="1" flipV="1">
              <a:off x="2480471" y="1433997"/>
              <a:ext cx="3618979" cy="1641665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4"/>
            <p:cNvCxnSpPr/>
            <p:nvPr/>
          </p:nvCxnSpPr>
          <p:spPr>
            <a:xfrm flipH="1" flipV="1">
              <a:off x="2441575" y="3127375"/>
              <a:ext cx="1552576" cy="1123951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6"/>
            <p:cNvCxnSpPr/>
            <p:nvPr/>
          </p:nvCxnSpPr>
          <p:spPr>
            <a:xfrm flipH="1">
              <a:off x="2422525" y="717550"/>
              <a:ext cx="2228851" cy="2400300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8"/>
            <p:cNvCxnSpPr/>
            <p:nvPr/>
          </p:nvCxnSpPr>
          <p:spPr>
            <a:xfrm flipH="1">
              <a:off x="2451100" y="1765491"/>
              <a:ext cx="3965055" cy="1361887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12"/>
            <p:cNvCxnSpPr/>
            <p:nvPr/>
          </p:nvCxnSpPr>
          <p:spPr>
            <a:xfrm flipH="1">
              <a:off x="2536825" y="717550"/>
              <a:ext cx="2085975" cy="885825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112"/>
            <p:cNvCxnSpPr/>
            <p:nvPr/>
          </p:nvCxnSpPr>
          <p:spPr>
            <a:xfrm flipV="1">
              <a:off x="2444751" y="1593850"/>
              <a:ext cx="92074" cy="1473200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114"/>
            <p:cNvCxnSpPr/>
            <p:nvPr/>
          </p:nvCxnSpPr>
          <p:spPr>
            <a:xfrm flipH="1">
              <a:off x="4021180" y="3324469"/>
              <a:ext cx="2224535" cy="887399"/>
            </a:xfrm>
            <a:prstGeom prst="line">
              <a:avLst/>
            </a:prstGeom>
            <a:ln w="12700">
              <a:solidFill>
                <a:schemeClr val="accent6">
                  <a:lumMod val="40000"/>
                  <a:lumOff val="6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5" name="Group 4"/>
          <p:cNvGrpSpPr/>
          <p:nvPr/>
        </p:nvGrpSpPr>
        <p:grpSpPr>
          <a:xfrm>
            <a:off x="6268466" y="1585042"/>
            <a:ext cx="578966" cy="578966"/>
            <a:chOff x="4365077" y="544671"/>
            <a:chExt cx="1238248" cy="1238248"/>
          </a:xfrm>
        </p:grpSpPr>
        <p:sp>
          <p:nvSpPr>
            <p:cNvPr id="126" name="Oval 18"/>
            <p:cNvSpPr/>
            <p:nvPr/>
          </p:nvSpPr>
          <p:spPr>
            <a:xfrm>
              <a:off x="4365077" y="544671"/>
              <a:ext cx="1238248" cy="1238248"/>
            </a:xfrm>
            <a:prstGeom prst="ellipse">
              <a:avLst/>
            </a:prstGeom>
            <a:solidFill>
              <a:schemeClr val="accent5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27" name="Oval 23"/>
            <p:cNvSpPr/>
            <p:nvPr/>
          </p:nvSpPr>
          <p:spPr>
            <a:xfrm>
              <a:off x="4501382" y="680976"/>
              <a:ext cx="964237" cy="964237"/>
            </a:xfrm>
            <a:prstGeom prst="ellipse">
              <a:avLst/>
            </a:prstGeom>
            <a:solidFill>
              <a:schemeClr val="accent5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28" name="TextBox 26"/>
            <p:cNvSpPr txBox="1"/>
            <p:nvPr/>
          </p:nvSpPr>
          <p:spPr>
            <a:xfrm>
              <a:off x="4398751" y="716269"/>
              <a:ext cx="1151234" cy="430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1</a:t>
              </a:r>
            </a:p>
          </p:txBody>
        </p:sp>
      </p:grpSp>
      <p:grpSp>
        <p:nvGrpSpPr>
          <p:cNvPr id="129" name="Group 12"/>
          <p:cNvGrpSpPr/>
          <p:nvPr/>
        </p:nvGrpSpPr>
        <p:grpSpPr>
          <a:xfrm>
            <a:off x="3840668" y="4039115"/>
            <a:ext cx="576232" cy="576232"/>
            <a:chOff x="4871871" y="2527436"/>
            <a:chExt cx="576232" cy="576232"/>
          </a:xfrm>
        </p:grpSpPr>
        <p:sp>
          <p:nvSpPr>
            <p:cNvPr id="130" name="Oval 28"/>
            <p:cNvSpPr/>
            <p:nvPr/>
          </p:nvSpPr>
          <p:spPr>
            <a:xfrm>
              <a:off x="4871871" y="2527436"/>
              <a:ext cx="576232" cy="576232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31" name="Oval 29"/>
            <p:cNvSpPr/>
            <p:nvPr/>
          </p:nvSpPr>
          <p:spPr>
            <a:xfrm>
              <a:off x="4935302" y="2590867"/>
              <a:ext cx="448718" cy="448718"/>
            </a:xfrm>
            <a:prstGeom prst="ellipse">
              <a:avLst/>
            </a:prstGeom>
            <a:solidFill>
              <a:schemeClr val="accent3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32" name="TextBox 30"/>
            <p:cNvSpPr txBox="1"/>
            <p:nvPr/>
          </p:nvSpPr>
          <p:spPr>
            <a:xfrm>
              <a:off x="4887542" y="260729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3</a:t>
              </a:r>
            </a:p>
          </p:txBody>
        </p:sp>
      </p:grpSp>
      <p:grpSp>
        <p:nvGrpSpPr>
          <p:cNvPr id="133" name="Group 11"/>
          <p:cNvGrpSpPr/>
          <p:nvPr/>
        </p:nvGrpSpPr>
        <p:grpSpPr>
          <a:xfrm>
            <a:off x="2454135" y="1409729"/>
            <a:ext cx="576232" cy="576232"/>
            <a:chOff x="3729025" y="2595668"/>
            <a:chExt cx="576232" cy="576232"/>
          </a:xfrm>
        </p:grpSpPr>
        <p:sp>
          <p:nvSpPr>
            <p:cNvPr id="134" name="Oval 34"/>
            <p:cNvSpPr/>
            <p:nvPr/>
          </p:nvSpPr>
          <p:spPr>
            <a:xfrm>
              <a:off x="3729025" y="2595668"/>
              <a:ext cx="576232" cy="576232"/>
            </a:xfrm>
            <a:prstGeom prst="ellipse">
              <a:avLst/>
            </a:prstGeom>
            <a:solidFill>
              <a:schemeClr val="bg2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35" name="Oval 35"/>
            <p:cNvSpPr/>
            <p:nvPr/>
          </p:nvSpPr>
          <p:spPr>
            <a:xfrm>
              <a:off x="3792456" y="2659099"/>
              <a:ext cx="448718" cy="448718"/>
            </a:xfrm>
            <a:prstGeom prst="ellipse">
              <a:avLst/>
            </a:prstGeom>
            <a:solidFill>
              <a:schemeClr val="bg2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36" name="TextBox 36"/>
            <p:cNvSpPr txBox="1"/>
            <p:nvPr/>
          </p:nvSpPr>
          <p:spPr>
            <a:xfrm>
              <a:off x="3750611" y="2661211"/>
              <a:ext cx="535739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5</a:t>
              </a:r>
            </a:p>
          </p:txBody>
        </p:sp>
      </p:grpSp>
      <p:grpSp>
        <p:nvGrpSpPr>
          <p:cNvPr id="137" name="Group 92"/>
          <p:cNvGrpSpPr/>
          <p:nvPr/>
        </p:nvGrpSpPr>
        <p:grpSpPr>
          <a:xfrm>
            <a:off x="2335086" y="2916641"/>
            <a:ext cx="576232" cy="576232"/>
            <a:chOff x="2156490" y="2774869"/>
            <a:chExt cx="576232" cy="576232"/>
          </a:xfrm>
        </p:grpSpPr>
        <p:sp>
          <p:nvSpPr>
            <p:cNvPr id="138" name="Oval 38"/>
            <p:cNvSpPr/>
            <p:nvPr/>
          </p:nvSpPr>
          <p:spPr>
            <a:xfrm>
              <a:off x="2156490" y="2774869"/>
              <a:ext cx="576232" cy="576232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39" name="Oval 39"/>
            <p:cNvSpPr/>
            <p:nvPr/>
          </p:nvSpPr>
          <p:spPr>
            <a:xfrm>
              <a:off x="2221795" y="2837993"/>
              <a:ext cx="448718" cy="448718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40" name="TextBox 40"/>
            <p:cNvSpPr txBox="1"/>
            <p:nvPr/>
          </p:nvSpPr>
          <p:spPr>
            <a:xfrm>
              <a:off x="2172398" y="2835799"/>
              <a:ext cx="526415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4</a:t>
              </a:r>
            </a:p>
          </p:txBody>
        </p:sp>
      </p:grpSp>
      <p:sp>
        <p:nvSpPr>
          <p:cNvPr id="144" name="TextBox 44"/>
          <p:cNvSpPr txBox="1"/>
          <p:nvPr/>
        </p:nvSpPr>
        <p:spPr>
          <a:xfrm>
            <a:off x="2261781" y="1199767"/>
            <a:ext cx="535739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endParaRPr lang="en-US" sz="2200" b="1" dirty="0" smtClean="0">
              <a:solidFill>
                <a:schemeClr val="bg1"/>
              </a:solidFill>
              <a:latin typeface="Trebuchet MS" charset="0"/>
              <a:ea typeface="Trebuchet MS" charset="0"/>
              <a:cs typeface="Trebuchet MS" charset="0"/>
            </a:endParaRPr>
          </a:p>
        </p:txBody>
      </p:sp>
      <p:grpSp>
        <p:nvGrpSpPr>
          <p:cNvPr id="145" name="Group 2"/>
          <p:cNvGrpSpPr/>
          <p:nvPr/>
        </p:nvGrpSpPr>
        <p:grpSpPr>
          <a:xfrm>
            <a:off x="6127059" y="3125489"/>
            <a:ext cx="576232" cy="576232"/>
            <a:chOff x="423422" y="446725"/>
            <a:chExt cx="1238248" cy="1238248"/>
          </a:xfrm>
        </p:grpSpPr>
        <p:sp>
          <p:nvSpPr>
            <p:cNvPr id="146" name="Oval 13"/>
            <p:cNvSpPr/>
            <p:nvPr/>
          </p:nvSpPr>
          <p:spPr>
            <a:xfrm>
              <a:off x="423422" y="446725"/>
              <a:ext cx="1238248" cy="1238248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47" name="Oval 14"/>
            <p:cNvSpPr/>
            <p:nvPr/>
          </p:nvSpPr>
          <p:spPr>
            <a:xfrm>
              <a:off x="559728" y="583031"/>
              <a:ext cx="964236" cy="964236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en-US">
                <a:latin typeface="Trebuchet MS"/>
                <a:cs typeface="Trebuchet MS"/>
              </a:endParaRPr>
            </a:p>
          </p:txBody>
        </p:sp>
        <p:sp>
          <p:nvSpPr>
            <p:cNvPr id="148" name="TextBox 15"/>
            <p:cNvSpPr txBox="1"/>
            <p:nvPr/>
          </p:nvSpPr>
          <p:spPr>
            <a:xfrm>
              <a:off x="457097" y="618324"/>
              <a:ext cx="115123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rPr>
                <a:t>2</a:t>
              </a:r>
            </a:p>
          </p:txBody>
        </p:sp>
      </p:grpSp>
      <p:sp>
        <p:nvSpPr>
          <p:cNvPr id="156" name="Titre 15"/>
          <p:cNvSpPr txBox="1">
            <a:spLocks/>
          </p:cNvSpPr>
          <p:nvPr/>
        </p:nvSpPr>
        <p:spPr>
          <a:xfrm>
            <a:off x="172666" y="170260"/>
            <a:ext cx="8717061" cy="52216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cap="none">
                <a:solidFill>
                  <a:srgbClr val="0085AA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5pPr>
            <a:lvl6pPr marL="34843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6pPr>
            <a:lvl7pPr marL="69686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7pPr>
            <a:lvl8pPr marL="104529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8pPr>
            <a:lvl9pPr marL="139372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404040"/>
                </a:solidFill>
                <a:latin typeface="Tahoma" pitchFamily="34" charset="0"/>
              </a:defRPr>
            </a:lvl9pPr>
          </a:lstStyle>
          <a:p>
            <a:pPr lvl="0">
              <a:defRPr/>
            </a:pPr>
            <a:r>
              <a:rPr lang="fr-FR" sz="1800" b="0" kern="0" dirty="0" smtClean="0">
                <a:solidFill>
                  <a:schemeClr val="bg1"/>
                </a:solidFill>
              </a:rPr>
              <a:t>WELCOME TO THE RAINBOW DEVELOPER’S JOURNEY</a:t>
            </a:r>
            <a:endParaRPr lang="fr-FR" sz="1800" b="0" kern="0" baseline="30000" dirty="0">
              <a:solidFill>
                <a:schemeClr val="bg1"/>
              </a:solidFill>
            </a:endParaRPr>
          </a:p>
        </p:txBody>
      </p:sp>
      <p:sp>
        <p:nvSpPr>
          <p:cNvPr id="157" name="ZoneTexte 156"/>
          <p:cNvSpPr txBox="1"/>
          <p:nvPr/>
        </p:nvSpPr>
        <p:spPr>
          <a:xfrm>
            <a:off x="6844719" y="1662816"/>
            <a:ext cx="219973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REGISTER A DEVELOPER ACCOUNT</a:t>
            </a:r>
            <a:endParaRPr lang="fr-FR" sz="1200" b="1" i="1" dirty="0">
              <a:solidFill>
                <a:srgbClr val="FFFFFF"/>
              </a:solidFill>
              <a:latin typeface="Trebuchet MS" pitchFamily="34" charset="0"/>
            </a:endParaRPr>
          </a:p>
          <a:p>
            <a:pPr marL="171450" indent="-171450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Ask</a:t>
            </a:r>
            <a:r>
              <a:rPr lang="fr-FR" sz="900" i="1" dirty="0" smtClean="0">
                <a:solidFill>
                  <a:schemeClr val="bg1"/>
                </a:solidFill>
                <a:latin typeface="Trebuchet MS" pitchFamily="34" charset="0"/>
              </a:rPr>
              <a:t> for an </a:t>
            </a: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account</a:t>
            </a:r>
            <a:endParaRPr lang="fr-FR" sz="900" i="1" dirty="0" smtClean="0">
              <a:solidFill>
                <a:schemeClr val="bg1"/>
              </a:solidFill>
              <a:latin typeface="Trebuchet MS" pitchFamily="34" charset="0"/>
            </a:endParaRPr>
          </a:p>
          <a:p>
            <a:pPr marL="171450" indent="-171450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Discover</a:t>
            </a:r>
            <a:r>
              <a:rPr lang="fr-FR" sz="9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prerequisites</a:t>
            </a:r>
            <a:endParaRPr lang="fr-FR" sz="900" i="1" dirty="0" smtClean="0">
              <a:solidFill>
                <a:schemeClr val="bg1"/>
              </a:solidFill>
              <a:latin typeface="Trebuchet MS" pitchFamily="34" charset="0"/>
            </a:endParaRPr>
          </a:p>
          <a:p>
            <a:pPr marL="171450" indent="-171450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Subscribe</a:t>
            </a:r>
            <a:r>
              <a:rPr lang="fr-FR" sz="900" i="1" dirty="0" smtClean="0">
                <a:solidFill>
                  <a:schemeClr val="bg1"/>
                </a:solidFill>
                <a:latin typeface="Trebuchet MS" pitchFamily="34" charset="0"/>
              </a:rPr>
              <a:t> to </a:t>
            </a: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our</a:t>
            </a:r>
            <a:r>
              <a:rPr lang="fr-FR" sz="900" i="1" dirty="0" smtClean="0">
                <a:solidFill>
                  <a:schemeClr val="bg1"/>
                </a:solidFill>
                <a:latin typeface="Trebuchet MS" pitchFamily="34" charset="0"/>
              </a:rPr>
              <a:t> newsletter</a:t>
            </a:r>
          </a:p>
          <a:p>
            <a:pPr marL="171450" indent="-171450">
              <a:spcBef>
                <a:spcPts val="0"/>
              </a:spcBef>
              <a:buFontTx/>
              <a:buChar char="-"/>
            </a:pPr>
            <a:endParaRPr lang="en-US" sz="900" i="1" dirty="0" smtClean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58" name="ZoneTexte 157"/>
          <p:cNvSpPr txBox="1"/>
          <p:nvPr/>
        </p:nvSpPr>
        <p:spPr>
          <a:xfrm>
            <a:off x="6694140" y="3279222"/>
            <a:ext cx="23228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DISCOVER POSSIBILITIES</a:t>
            </a:r>
            <a:endParaRPr lang="fr-FR" sz="1200" b="1" dirty="0">
              <a:solidFill>
                <a:srgbClr val="FFFFFF"/>
              </a:solidFill>
              <a:latin typeface="Trebuchet MS" pitchFamily="34" charset="0"/>
            </a:endParaRPr>
          </a:p>
          <a:p>
            <a:pPr marL="171450" indent="-171450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rgbClr val="FFFFFF"/>
                </a:solidFill>
                <a:latin typeface="Trebuchet MS" pitchFamily="34" charset="0"/>
              </a:rPr>
              <a:t>Understand</a:t>
            </a: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 Rainbow concepts</a:t>
            </a:r>
          </a:p>
          <a:p>
            <a:pPr marL="171450" indent="-171450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Access the documentation, </a:t>
            </a:r>
          </a:p>
          <a:p>
            <a:pPr marL="171450" indent="-171450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rgbClr val="FFFFFF"/>
                </a:solidFill>
                <a:latin typeface="Trebuchet MS" pitchFamily="34" charset="0"/>
              </a:rPr>
              <a:t>Download</a:t>
            </a: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 posters and </a:t>
            </a:r>
            <a:r>
              <a:rPr lang="fr-FR" sz="900" i="1" dirty="0" err="1" smtClean="0">
                <a:solidFill>
                  <a:srgbClr val="FFFFFF"/>
                </a:solidFill>
                <a:latin typeface="Trebuchet MS" pitchFamily="34" charset="0"/>
              </a:rPr>
              <a:t>samples</a:t>
            </a:r>
            <a:endParaRPr lang="fr-FR" sz="900" i="1" dirty="0" smtClean="0">
              <a:solidFill>
                <a:srgbClr val="FFFFFF"/>
              </a:solidFill>
              <a:latin typeface="Trebuchet MS" pitchFamily="34" charset="0"/>
            </a:endParaRPr>
          </a:p>
          <a:p>
            <a:pPr marL="171450" indent="-171450">
              <a:spcBef>
                <a:spcPts val="0"/>
              </a:spcBef>
              <a:buFont typeface="Arial" charset="0"/>
              <a:buChar char="•"/>
            </a:pPr>
            <a:endParaRPr lang="fr-FR" sz="900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59" name="ZoneTexte 158"/>
          <p:cNvSpPr txBox="1"/>
          <p:nvPr/>
        </p:nvSpPr>
        <p:spPr>
          <a:xfrm>
            <a:off x="749153" y="4213067"/>
            <a:ext cx="309086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fr-FR" sz="1200" b="1" dirty="0" smtClean="0">
                <a:solidFill>
                  <a:srgbClr val="FFFFFF"/>
                </a:solidFill>
                <a:latin typeface="Trebuchet MS" pitchFamily="34" charset="0"/>
              </a:rPr>
              <a:t>CONNECT YOUR APP</a:t>
            </a:r>
          </a:p>
          <a:p>
            <a:pPr marL="171450" indent="-171450" algn="r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rgbClr val="FFFFFF"/>
                </a:solidFill>
                <a:latin typeface="Trebuchet MS" pitchFamily="34" charset="0"/>
              </a:rPr>
              <a:t>Register</a:t>
            </a: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 an application</a:t>
            </a:r>
          </a:p>
          <a:p>
            <a:pPr marL="171450" indent="-171450" algn="r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rgbClr val="FFFFFF"/>
                </a:solidFill>
                <a:latin typeface="Trebuchet MS" pitchFamily="34" charset="0"/>
              </a:rPr>
              <a:t>Integrate</a:t>
            </a: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900" i="1" dirty="0" err="1" smtClean="0">
                <a:solidFill>
                  <a:srgbClr val="FFFFFF"/>
                </a:solidFill>
                <a:latin typeface="Trebuchet MS" pitchFamily="34" charset="0"/>
              </a:rPr>
              <a:t>our</a:t>
            </a: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 SDKs, API and keys</a:t>
            </a:r>
          </a:p>
          <a:p>
            <a:pPr marL="171450" indent="-171450" algn="r">
              <a:spcBef>
                <a:spcPts val="0"/>
              </a:spcBef>
              <a:buFont typeface="Arial" charset="0"/>
              <a:buChar char="•"/>
            </a:pPr>
            <a:r>
              <a:rPr lang="fr-FR" sz="900" i="1" dirty="0">
                <a:solidFill>
                  <a:schemeClr val="bg1"/>
                </a:solidFill>
                <a:latin typeface="Trebuchet MS" pitchFamily="34" charset="0"/>
              </a:rPr>
              <a:t>Access to the </a:t>
            </a:r>
            <a:r>
              <a:rPr lang="fr-FR" sz="900" i="1" dirty="0" err="1">
                <a:solidFill>
                  <a:schemeClr val="bg1"/>
                </a:solidFill>
                <a:latin typeface="Trebuchet MS" pitchFamily="34" charset="0"/>
              </a:rPr>
              <a:t>Developer</a:t>
            </a:r>
            <a:r>
              <a:rPr lang="fr-FR" sz="900" i="1" dirty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900" i="1" dirty="0" err="1">
                <a:solidFill>
                  <a:schemeClr val="bg1"/>
                </a:solidFill>
                <a:latin typeface="Trebuchet MS" pitchFamily="34" charset="0"/>
              </a:rPr>
              <a:t>Sandboxed</a:t>
            </a:r>
            <a:r>
              <a:rPr lang="fr-FR" sz="900" i="1" dirty="0">
                <a:solidFill>
                  <a:schemeClr val="bg1"/>
                </a:solidFill>
                <a:latin typeface="Trebuchet MS" pitchFamily="34" charset="0"/>
              </a:rPr>
              <a:t> Platform</a:t>
            </a:r>
          </a:p>
        </p:txBody>
      </p:sp>
      <p:sp>
        <p:nvSpPr>
          <p:cNvPr id="163" name="ZoneTexte 162"/>
          <p:cNvSpPr txBox="1"/>
          <p:nvPr/>
        </p:nvSpPr>
        <p:spPr>
          <a:xfrm>
            <a:off x="82979" y="1558337"/>
            <a:ext cx="23685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fr-FR" sz="1200" b="1" dirty="0" smtClean="0">
                <a:solidFill>
                  <a:schemeClr val="bg1"/>
                </a:solidFill>
                <a:latin typeface="Trebuchet MS" pitchFamily="34" charset="0"/>
              </a:rPr>
              <a:t>GROW YOUR APP</a:t>
            </a:r>
          </a:p>
          <a:p>
            <a:pPr marL="171450" indent="-171450" algn="r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Follow</a:t>
            </a:r>
            <a:r>
              <a:rPr lang="fr-FR" sz="9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your</a:t>
            </a:r>
            <a:r>
              <a:rPr lang="fr-FR" sz="900" i="1" dirty="0" smtClean="0">
                <a:solidFill>
                  <a:schemeClr val="bg1"/>
                </a:solidFill>
                <a:latin typeface="Trebuchet MS" pitchFamily="34" charset="0"/>
              </a:rPr>
              <a:t> API usage and </a:t>
            </a: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fees</a:t>
            </a:r>
            <a:endParaRPr lang="fr-FR" sz="900" i="1" dirty="0" smtClean="0">
              <a:solidFill>
                <a:schemeClr val="bg1"/>
              </a:solidFill>
              <a:latin typeface="Trebuchet MS" pitchFamily="34" charset="0"/>
            </a:endParaRPr>
          </a:p>
          <a:p>
            <a:pPr marL="171450" indent="-171450" algn="r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Analyze</a:t>
            </a:r>
            <a:r>
              <a:rPr lang="fr-FR" sz="900" i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900" i="1" dirty="0" err="1" smtClean="0">
                <a:solidFill>
                  <a:schemeClr val="bg1"/>
                </a:solidFill>
                <a:latin typeface="Trebuchet MS" pitchFamily="34" charset="0"/>
              </a:rPr>
              <a:t>your</a:t>
            </a:r>
            <a:r>
              <a:rPr lang="fr-FR" sz="900" i="1" dirty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fr-FR" sz="900" i="1" dirty="0" smtClean="0">
                <a:solidFill>
                  <a:schemeClr val="bg1"/>
                </a:solidFill>
                <a:latin typeface="Trebuchet MS" pitchFamily="34" charset="0"/>
              </a:rPr>
              <a:t>application</a:t>
            </a:r>
            <a:endParaRPr lang="fr-FR" sz="900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65" name="ZoneTexte 164"/>
          <p:cNvSpPr txBox="1"/>
          <p:nvPr/>
        </p:nvSpPr>
        <p:spPr>
          <a:xfrm>
            <a:off x="33775" y="3061040"/>
            <a:ext cx="231507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fr-FR" sz="1200" b="1" dirty="0" smtClean="0">
                <a:solidFill>
                  <a:schemeClr val="bg1"/>
                </a:solidFill>
                <a:latin typeface="Trebuchet MS" pitchFamily="34" charset="0"/>
              </a:rPr>
              <a:t>DEPLOY IT</a:t>
            </a:r>
          </a:p>
          <a:p>
            <a:pPr marL="171450" indent="-171450" algn="r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err="1" smtClean="0">
                <a:solidFill>
                  <a:srgbClr val="FFFFFF"/>
                </a:solidFill>
                <a:latin typeface="Trebuchet MS" pitchFamily="34" charset="0"/>
              </a:rPr>
              <a:t>Send</a:t>
            </a: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 a </a:t>
            </a:r>
            <a:r>
              <a:rPr lang="fr-FR" sz="900" i="1" dirty="0" err="1" smtClean="0">
                <a:solidFill>
                  <a:srgbClr val="FFFFFF"/>
                </a:solidFill>
                <a:latin typeface="Trebuchet MS" pitchFamily="34" charset="0"/>
              </a:rPr>
              <a:t>deployment</a:t>
            </a: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fr-FR" sz="900" i="1" dirty="0" err="1" smtClean="0">
                <a:solidFill>
                  <a:srgbClr val="FFFFFF"/>
                </a:solidFill>
                <a:latin typeface="Trebuchet MS" pitchFamily="34" charset="0"/>
              </a:rPr>
              <a:t>request</a:t>
            </a:r>
            <a:endParaRPr lang="fr-FR" sz="900" i="1" dirty="0" smtClean="0">
              <a:solidFill>
                <a:srgbClr val="FFFFFF"/>
              </a:solidFill>
              <a:latin typeface="Trebuchet MS" pitchFamily="34" charset="0"/>
            </a:endParaRPr>
          </a:p>
          <a:p>
            <a:pPr marL="171450" indent="-171450" algn="r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Access to Rainbow « Live » Platform</a:t>
            </a:r>
          </a:p>
          <a:p>
            <a:pPr marL="171450" indent="-171450" algn="r">
              <a:spcBef>
                <a:spcPts val="0"/>
              </a:spcBef>
              <a:buFont typeface="Arial" charset="0"/>
              <a:buChar char="•"/>
            </a:pPr>
            <a:r>
              <a:rPr lang="fr-FR" sz="900" i="1" dirty="0" smtClean="0">
                <a:solidFill>
                  <a:srgbClr val="FFFFFF"/>
                </a:solidFill>
                <a:latin typeface="Trebuchet MS" pitchFamily="34" charset="0"/>
              </a:rPr>
              <a:t>Switch to SDK ESR version</a:t>
            </a:r>
            <a:endParaRPr lang="en-US" sz="900" i="1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grpSp>
        <p:nvGrpSpPr>
          <p:cNvPr id="23" name="Groupe 22"/>
          <p:cNvGrpSpPr/>
          <p:nvPr/>
        </p:nvGrpSpPr>
        <p:grpSpPr>
          <a:xfrm>
            <a:off x="3466380" y="1606357"/>
            <a:ext cx="2138890" cy="2138890"/>
            <a:chOff x="3598934" y="1794785"/>
            <a:chExt cx="2138890" cy="2138890"/>
          </a:xfrm>
        </p:grpSpPr>
        <p:sp>
          <p:nvSpPr>
            <p:cNvPr id="123" name="Oval 45"/>
            <p:cNvSpPr/>
            <p:nvPr/>
          </p:nvSpPr>
          <p:spPr>
            <a:xfrm>
              <a:off x="3598934" y="1794785"/>
              <a:ext cx="2138890" cy="2138890"/>
            </a:xfrm>
            <a:prstGeom prst="ellipse">
              <a:avLst/>
            </a:prstGeom>
            <a:solidFill>
              <a:schemeClr val="tx1">
                <a:alpha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9686" tIns="34843" rIns="69686" bIns="34843" numCol="1" rtlCol="0" anchor="ctr" anchorCtr="0" compatLnSpc="1">
              <a:prstTxWarp prst="textNoShape">
                <a:avLst/>
              </a:prstTxWarp>
              <a:normAutofit/>
            </a:bodyPr>
            <a:lstStyle/>
            <a:p>
              <a:pPr defTabSz="696864"/>
              <a:endParaRPr lang="en-GB" sz="1400">
                <a:solidFill>
                  <a:srgbClr val="00B2AA"/>
                </a:solidFill>
                <a:latin typeface="Trebuchet MS" pitchFamily="34" charset="0"/>
              </a:endParaRPr>
            </a:p>
          </p:txBody>
        </p:sp>
        <p:sp>
          <p:nvSpPr>
            <p:cNvPr id="185" name="Titre 15"/>
            <p:cNvSpPr txBox="1">
              <a:spLocks/>
            </p:cNvSpPr>
            <p:nvPr/>
          </p:nvSpPr>
          <p:spPr>
            <a:xfrm>
              <a:off x="3602836" y="2261921"/>
              <a:ext cx="2132383" cy="1296590"/>
            </a:xfrm>
            <a:prstGeom prst="rect">
              <a:avLst/>
            </a:prstGeom>
          </p:spPr>
          <p:txBody>
            <a:bodyPr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100" b="1" cap="none">
                  <a:solidFill>
                    <a:srgbClr val="0085AA"/>
                  </a:solidFill>
                  <a:latin typeface="Trebuchet MS" pitchFamily="34" charset="0"/>
                  <a:ea typeface="+mj-ea"/>
                  <a:cs typeface="+mj-cs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404040"/>
                  </a:solidFill>
                  <a:latin typeface="Tahoma" pitchFamily="34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404040"/>
                  </a:solidFill>
                  <a:latin typeface="Tahoma" pitchFamily="34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404040"/>
                  </a:solidFill>
                  <a:latin typeface="Tahoma" pitchFamily="34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404040"/>
                  </a:solidFill>
                  <a:latin typeface="Tahoma" pitchFamily="34" charset="0"/>
                </a:defRPr>
              </a:lvl5pPr>
              <a:lvl6pPr marL="348432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404040"/>
                  </a:solidFill>
                  <a:latin typeface="Tahoma" pitchFamily="34" charset="0"/>
                </a:defRPr>
              </a:lvl6pPr>
              <a:lvl7pPr marL="696864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404040"/>
                  </a:solidFill>
                  <a:latin typeface="Tahoma" pitchFamily="34" charset="0"/>
                </a:defRPr>
              </a:lvl7pPr>
              <a:lvl8pPr marL="1045296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404040"/>
                  </a:solidFill>
                  <a:latin typeface="Tahoma" pitchFamily="34" charset="0"/>
                </a:defRPr>
              </a:lvl8pPr>
              <a:lvl9pPr marL="1393728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rgbClr val="404040"/>
                  </a:solidFill>
                  <a:latin typeface="Tahoma" pitchFamily="34" charset="0"/>
                </a:defRPr>
              </a:lvl9pPr>
            </a:lstStyle>
            <a:p>
              <a:pPr algn="ctr"/>
              <a:r>
                <a:rPr lang="fr-FR" sz="1600" b="0" dirty="0" smtClean="0">
                  <a:solidFill>
                    <a:schemeClr val="bg1"/>
                  </a:solidFill>
                </a:rPr>
                <a:t/>
              </a:r>
              <a:br>
                <a:rPr lang="fr-FR" sz="1600" b="0" dirty="0" smtClean="0">
                  <a:solidFill>
                    <a:schemeClr val="bg1"/>
                  </a:solidFill>
                </a:rPr>
              </a:br>
              <a:r>
                <a:rPr lang="fr-FR" sz="1600" b="0" dirty="0" err="1" smtClean="0">
                  <a:solidFill>
                    <a:schemeClr val="bg1"/>
                  </a:solidFill>
                </a:rPr>
                <a:t>Reimagine</a:t>
              </a:r>
              <a:endParaRPr lang="fr-FR" sz="1600" b="0" dirty="0" smtClean="0">
                <a:solidFill>
                  <a:schemeClr val="bg1"/>
                </a:solidFill>
              </a:endParaRPr>
            </a:p>
            <a:p>
              <a:pPr algn="ctr"/>
              <a:r>
                <a:rPr lang="fr-FR" sz="1600" b="0" dirty="0" smtClean="0">
                  <a:solidFill>
                    <a:schemeClr val="bg1"/>
                  </a:solidFill>
                </a:rPr>
                <a:t>The </a:t>
              </a:r>
              <a:r>
                <a:rPr lang="fr-FR" sz="1600" b="0" dirty="0" err="1" smtClean="0">
                  <a:solidFill>
                    <a:schemeClr val="bg1"/>
                  </a:solidFill>
                </a:rPr>
                <a:t>developer’s</a:t>
              </a:r>
              <a:r>
                <a:rPr lang="fr-FR" sz="1600" b="0" dirty="0" smtClean="0">
                  <a:solidFill>
                    <a:schemeClr val="bg1"/>
                  </a:solidFill>
                </a:rPr>
                <a:t> </a:t>
              </a:r>
              <a:r>
                <a:rPr lang="fr-FR" sz="1600" b="0" dirty="0" err="1" smtClean="0">
                  <a:solidFill>
                    <a:schemeClr val="bg1"/>
                  </a:solidFill>
                </a:rPr>
                <a:t>journey</a:t>
              </a:r>
              <a:endParaRPr lang="en-US" sz="1600" b="0" dirty="0" smtClean="0">
                <a:solidFill>
                  <a:schemeClr val="bg1"/>
                </a:solidFill>
              </a:endParaRPr>
            </a:p>
          </p:txBody>
        </p:sp>
      </p:grpSp>
      <p:pic>
        <p:nvPicPr>
          <p:cNvPr id="55" name="Image 54" descr="logo.ale.bw_HD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2292" y="4545097"/>
            <a:ext cx="1114882" cy="298788"/>
          </a:xfrm>
          <a:prstGeom prst="rect">
            <a:avLst/>
          </a:prstGeom>
        </p:spPr>
      </p:pic>
      <p:pic>
        <p:nvPicPr>
          <p:cNvPr id="54" name="Picture 2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301" y="516228"/>
            <a:ext cx="3459202" cy="963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182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7|1.6|5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J3sGWv3kieIGowZhyqbw"/>
</p:tagLst>
</file>

<file path=ppt/theme/theme1.xml><?xml version="1.0" encoding="utf-8"?>
<a:theme xmlns:a="http://schemas.openxmlformats.org/drawingml/2006/main" name="ALE_16x9_OPEN_2015">
  <a:themeElements>
    <a:clrScheme name="ALE Custom Colors Nov 2015">
      <a:dk1>
        <a:srgbClr val="000000"/>
      </a:dk1>
      <a:lt1>
        <a:srgbClr val="FFFFFF"/>
      </a:lt1>
      <a:dk2>
        <a:srgbClr val="7F7F7F"/>
      </a:dk2>
      <a:lt2>
        <a:srgbClr val="CF0072"/>
      </a:lt2>
      <a:accent1>
        <a:srgbClr val="00B9E1"/>
      </a:accent1>
      <a:accent2>
        <a:srgbClr val="C2C2C2"/>
      </a:accent2>
      <a:accent3>
        <a:srgbClr val="34B233"/>
      </a:accent3>
      <a:accent4>
        <a:srgbClr val="6639B7"/>
      </a:accent4>
      <a:accent5>
        <a:srgbClr val="FF4500"/>
      </a:accent5>
      <a:accent6>
        <a:srgbClr val="921B9B"/>
      </a:accent6>
      <a:hlink>
        <a:srgbClr val="0085CA"/>
      </a:hlink>
      <a:folHlink>
        <a:srgbClr val="00B2AA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0"/>
          </a:spcBef>
          <a:defRPr>
            <a:latin typeface="Trebuchet MS"/>
            <a:cs typeface="Trebuchet MS"/>
          </a:defRPr>
        </a:defPPr>
      </a:lstStyle>
    </a:spDef>
    <a:lnDef>
      <a:spPr bwMode="auto"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smtClean="0">
            <a:latin typeface="Trebuchet MS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34B233"/>
        </a:dk2>
        <a:lt2>
          <a:srgbClr val="CF0072"/>
        </a:lt2>
        <a:accent1>
          <a:srgbClr val="34B4E4"/>
        </a:accent1>
        <a:accent2>
          <a:srgbClr val="AA9C8F"/>
        </a:accent2>
        <a:accent3>
          <a:srgbClr val="FFFFFF"/>
        </a:accent3>
        <a:accent4>
          <a:srgbClr val="000000"/>
        </a:accent4>
        <a:accent5>
          <a:srgbClr val="AED6EF"/>
        </a:accent5>
        <a:accent6>
          <a:srgbClr val="9A8D81"/>
        </a:accent6>
        <a:hlink>
          <a:srgbClr val="00549F"/>
        </a:hlink>
        <a:folHlink>
          <a:srgbClr val="FFC82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elestial</Template>
  <TotalTime>35156</TotalTime>
  <Words>2470</Words>
  <Application>Microsoft Macintosh PowerPoint</Application>
  <PresentationFormat>Présentation à l'écran (16:9)</PresentationFormat>
  <Paragraphs>1099</Paragraphs>
  <Slides>44</Slides>
  <Notes>44</Notes>
  <HiddenSlides>0</HiddenSlides>
  <MMClips>0</MMClips>
  <ScaleCrop>false</ScaleCrop>
  <HeadingPairs>
    <vt:vector size="6" baseType="variant">
      <vt:variant>
        <vt:lpstr>Polices utilisées</vt:lpstr>
      </vt:variant>
      <vt:variant>
        <vt:i4>17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44</vt:i4>
      </vt:variant>
    </vt:vector>
  </HeadingPairs>
  <TitlesOfParts>
    <vt:vector size="62" baseType="lpstr">
      <vt:lpstr>Abadi MT Condensed Light</vt:lpstr>
      <vt:lpstr>Al Bayan Plain</vt:lpstr>
      <vt:lpstr>Bangla MN</vt:lpstr>
      <vt:lpstr>Calibri</vt:lpstr>
      <vt:lpstr>Cooper Black</vt:lpstr>
      <vt:lpstr>Courier</vt:lpstr>
      <vt:lpstr>Impact</vt:lpstr>
      <vt:lpstr>Kozuka Gothic Pr6N EL</vt:lpstr>
      <vt:lpstr>Lucida Grande</vt:lpstr>
      <vt:lpstr>Microsoft JhengHei UI</vt:lpstr>
      <vt:lpstr>MS PGothic</vt:lpstr>
      <vt:lpstr>STHupo</vt:lpstr>
      <vt:lpstr>Tahoma</vt:lpstr>
      <vt:lpstr>Times New Roman</vt:lpstr>
      <vt:lpstr>Trebuchet MS</vt:lpstr>
      <vt:lpstr>Wingdings</vt:lpstr>
      <vt:lpstr>Arial</vt:lpstr>
      <vt:lpstr>ALE_16x9_OPEN_2015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RAINBOW: THE GAME-CHANGING PLATFORM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ackie Morris</dc:creator>
  <cp:lastModifiedBy>Anguenot Olivier</cp:lastModifiedBy>
  <cp:revision>1469</cp:revision>
  <dcterms:created xsi:type="dcterms:W3CDTF">2011-08-29T20:41:33Z</dcterms:created>
  <dcterms:modified xsi:type="dcterms:W3CDTF">2017-10-03T07:2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